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wmf" ContentType="image/x-wmf"/>
  <Default Extension="xml" ContentType="application/xml"/>
  <Default Extension="wdp" ContentType="image/vnd.ms-photo"/>
  <Default Extension="vml" ContentType="application/vnd.openxmlformats-officedocument.vmlDrawing"/>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diagrams/data1.xml" ContentType="application/vnd.openxmlformats-officedocument.drawingml.diagramData+xml"/>
  <Override PartName="/ppt/presentation.xml" ContentType="application/vnd.openxmlformats-officedocument.presentationml.presentation.main+xml"/>
  <Override PartName="/ppt/diagrams/data2.xml" ContentType="application/vnd.openxmlformats-officedocument.drawingml.diagramData+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notesSlides/notesSlide17.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7.xml" ContentType="application/vnd.openxmlformats-officedocument.presentationml.tags+xml"/>
  <Override PartName="/docProps/app.xml" ContentType="application/vnd.openxmlformats-officedocument.extended-properties+xml"/>
  <Override PartName="/ppt/tags/tag4.xml" ContentType="application/vnd.openxmlformats-officedocument.presentationml.tags+xml"/>
  <Override PartName="/docProps/core.xml" ContentType="application/vnd.openxmlformats-package.core-properties+xml"/>
  <Override PartName="/ppt/tags/tag5.xml" ContentType="application/vnd.openxmlformats-officedocument.presentationml.tags+xml"/>
  <Override PartName="/ppt/tags/tag6.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860" r:id="rId2"/>
  </p:sldMasterIdLst>
  <p:notesMasterIdLst>
    <p:notesMasterId r:id="rId30"/>
  </p:notesMasterIdLst>
  <p:sldIdLst>
    <p:sldId id="601" r:id="rId3"/>
    <p:sldId id="676" r:id="rId4"/>
    <p:sldId id="678" r:id="rId5"/>
    <p:sldId id="706" r:id="rId6"/>
    <p:sldId id="679" r:id="rId7"/>
    <p:sldId id="691" r:id="rId8"/>
    <p:sldId id="399" r:id="rId9"/>
    <p:sldId id="417" r:id="rId10"/>
    <p:sldId id="395" r:id="rId11"/>
    <p:sldId id="408" r:id="rId12"/>
    <p:sldId id="409" r:id="rId13"/>
    <p:sldId id="418" r:id="rId14"/>
    <p:sldId id="406" r:id="rId15"/>
    <p:sldId id="380" r:id="rId16"/>
    <p:sldId id="381" r:id="rId17"/>
    <p:sldId id="412" r:id="rId18"/>
    <p:sldId id="411" r:id="rId19"/>
    <p:sldId id="421" r:id="rId20"/>
    <p:sldId id="423" r:id="rId21"/>
    <p:sldId id="414" r:id="rId22"/>
    <p:sldId id="419" r:id="rId23"/>
    <p:sldId id="289" r:id="rId24"/>
    <p:sldId id="265" r:id="rId25"/>
    <p:sldId id="709" r:id="rId26"/>
    <p:sldId id="309" r:id="rId27"/>
    <p:sldId id="710" r:id="rId28"/>
    <p:sldId id="699" r:id="rId29"/>
  </p:sldIdLst>
  <p:sldSz cx="12192000" cy="6858000"/>
  <p:notesSz cx="6858000" cy="9144000"/>
  <p:defaultTextStyle>
    <a:defPPr>
      <a:defRPr lang="de-DE"/>
    </a:defPPr>
    <a:lvl1pPr marL="0" algn="l" defTabSz="914300" rtl="0" eaLnBrk="1" latinLnBrk="0" hangingPunct="1">
      <a:defRPr sz="1800" kern="1200">
        <a:solidFill>
          <a:schemeClr val="tx1"/>
        </a:solidFill>
        <a:latin typeface="+mn-lt"/>
        <a:ea typeface="+mn-ea"/>
        <a:cs typeface="+mn-cs"/>
      </a:defRPr>
    </a:lvl1pPr>
    <a:lvl2pPr marL="457150" algn="l" defTabSz="914300" rtl="0" eaLnBrk="1" latinLnBrk="0" hangingPunct="1">
      <a:defRPr sz="1800" kern="1200">
        <a:solidFill>
          <a:schemeClr val="tx1"/>
        </a:solidFill>
        <a:latin typeface="+mn-lt"/>
        <a:ea typeface="+mn-ea"/>
        <a:cs typeface="+mn-cs"/>
      </a:defRPr>
    </a:lvl2pPr>
    <a:lvl3pPr marL="914300" algn="l" defTabSz="914300" rtl="0" eaLnBrk="1" latinLnBrk="0" hangingPunct="1">
      <a:defRPr sz="1800" kern="1200">
        <a:solidFill>
          <a:schemeClr val="tx1"/>
        </a:solidFill>
        <a:latin typeface="+mn-lt"/>
        <a:ea typeface="+mn-ea"/>
        <a:cs typeface="+mn-cs"/>
      </a:defRPr>
    </a:lvl3pPr>
    <a:lvl4pPr marL="1371451" algn="l" defTabSz="914300" rtl="0" eaLnBrk="1" latinLnBrk="0" hangingPunct="1">
      <a:defRPr sz="1800" kern="1200">
        <a:solidFill>
          <a:schemeClr val="tx1"/>
        </a:solidFill>
        <a:latin typeface="+mn-lt"/>
        <a:ea typeface="+mn-ea"/>
        <a:cs typeface="+mn-cs"/>
      </a:defRPr>
    </a:lvl4pPr>
    <a:lvl5pPr marL="1828602" algn="l" defTabSz="914300" rtl="0" eaLnBrk="1" latinLnBrk="0" hangingPunct="1">
      <a:defRPr sz="1800" kern="1200">
        <a:solidFill>
          <a:schemeClr val="tx1"/>
        </a:solidFill>
        <a:latin typeface="+mn-lt"/>
        <a:ea typeface="+mn-ea"/>
        <a:cs typeface="+mn-cs"/>
      </a:defRPr>
    </a:lvl5pPr>
    <a:lvl6pPr marL="2285752" algn="l" defTabSz="914300" rtl="0" eaLnBrk="1" latinLnBrk="0" hangingPunct="1">
      <a:defRPr sz="1800" kern="1200">
        <a:solidFill>
          <a:schemeClr val="tx1"/>
        </a:solidFill>
        <a:latin typeface="+mn-lt"/>
        <a:ea typeface="+mn-ea"/>
        <a:cs typeface="+mn-cs"/>
      </a:defRPr>
    </a:lvl6pPr>
    <a:lvl7pPr marL="2742902" algn="l" defTabSz="914300" rtl="0" eaLnBrk="1" latinLnBrk="0" hangingPunct="1">
      <a:defRPr sz="1800" kern="1200">
        <a:solidFill>
          <a:schemeClr val="tx1"/>
        </a:solidFill>
        <a:latin typeface="+mn-lt"/>
        <a:ea typeface="+mn-ea"/>
        <a:cs typeface="+mn-cs"/>
      </a:defRPr>
    </a:lvl7pPr>
    <a:lvl8pPr marL="3200053" algn="l" defTabSz="914300" rtl="0" eaLnBrk="1" latinLnBrk="0" hangingPunct="1">
      <a:defRPr sz="1800" kern="1200">
        <a:solidFill>
          <a:schemeClr val="tx1"/>
        </a:solidFill>
        <a:latin typeface="+mn-lt"/>
        <a:ea typeface="+mn-ea"/>
        <a:cs typeface="+mn-cs"/>
      </a:defRPr>
    </a:lvl8pPr>
    <a:lvl9pPr marL="3657205" algn="l" defTabSz="9143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pos="3840" userDrawn="1">
          <p15:clr>
            <a:srgbClr val="A4A3A4"/>
          </p15:clr>
        </p15:guide>
        <p15:guide id="5" orient="horz" pos="21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rechsel, Julia GIZ" initials="DJG" lastIdx="1" clrIdx="0">
    <p:extLst>
      <p:ext uri="{19B8F6BF-5375-455C-9EA6-DF929625EA0E}">
        <p15:presenceInfo xmlns:p15="http://schemas.microsoft.com/office/powerpoint/2012/main" userId="S-1-5-21-3211005450-2565063988-1429816208-98754" providerId="AD"/>
      </p:ext>
    </p:extLst>
  </p:cmAuthor>
  <p:cmAuthor id="2" name="Strobel, Chiara GIZ" initials="SCG" lastIdx="15" clrIdx="1">
    <p:extLst>
      <p:ext uri="{19B8F6BF-5375-455C-9EA6-DF929625EA0E}">
        <p15:presenceInfo xmlns:p15="http://schemas.microsoft.com/office/powerpoint/2012/main" userId="S-1-5-21-3211005450-2565063988-1429816208-146432" providerId="AD"/>
      </p:ext>
    </p:extLst>
  </p:cmAuthor>
  <p:cmAuthor id="3" name="Bauer, Vanessa GIZ" initials="BVG" lastIdx="18" clrIdx="2">
    <p:extLst>
      <p:ext uri="{19B8F6BF-5375-455C-9EA6-DF929625EA0E}">
        <p15:presenceInfo xmlns:p15="http://schemas.microsoft.com/office/powerpoint/2012/main" userId="S-1-5-21-3211005450-2565063988-1429816208-9733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B859"/>
    <a:srgbClr val="F8E946"/>
    <a:srgbClr val="E6E6E6"/>
    <a:srgbClr val="C80F0F"/>
    <a:srgbClr val="C00000"/>
    <a:srgbClr val="CC00CC"/>
    <a:srgbClr val="232120"/>
    <a:srgbClr val="FFFFFF"/>
    <a:srgbClr val="E7E6E6"/>
    <a:srgbClr val="D6B9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862" autoAdjust="0"/>
    <p:restoredTop sz="90717" autoAdjust="0"/>
  </p:normalViewPr>
  <p:slideViewPr>
    <p:cSldViewPr snapToGrid="0">
      <p:cViewPr varScale="1">
        <p:scale>
          <a:sx n="60" d="100"/>
          <a:sy n="60" d="100"/>
        </p:scale>
        <p:origin x="1068" y="56"/>
      </p:cViewPr>
      <p:guideLst>
        <p:guide pos="3840"/>
        <p:guide orient="horz" pos="2160"/>
      </p:guideLst>
    </p:cSldViewPr>
  </p:slideViewPr>
  <p:outlineViewPr>
    <p:cViewPr>
      <p:scale>
        <a:sx n="33" d="100"/>
        <a:sy n="33" d="100"/>
      </p:scale>
      <p:origin x="0" y="-3078"/>
    </p:cViewPr>
  </p:outlineViewPr>
  <p:notesTextViewPr>
    <p:cViewPr>
      <p:scale>
        <a:sx n="176" d="100"/>
        <a:sy n="176"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38" Type="http://schemas.openxmlformats.org/officeDocument/2006/relationships/customXml" Target="../customXml/item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37" Type="http://schemas.openxmlformats.org/officeDocument/2006/relationships/customXml" Target="../customXml/item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customXml" Target="../customXml/item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88BB956-DACC-41FD-85BB-D92D14FA8419}" type="doc">
      <dgm:prSet loTypeId="urn:microsoft.com/office/officeart/2005/8/layout/venn1" loCatId="relationship" qsTypeId="urn:microsoft.com/office/officeart/2005/8/quickstyle/simple1" qsCatId="simple" csTypeId="urn:microsoft.com/office/officeart/2005/8/colors/accent1_3" csCatId="accent1" phldr="1"/>
      <dgm:spPr/>
    </dgm:pt>
    <dgm:pt modelId="{D36DE996-86D7-46C1-A3BC-302B67692A0C}">
      <dgm:prSet phldrT="[Texto]" custT="1"/>
      <dgm:spPr/>
      <dgm:t>
        <a:bodyPr/>
        <a:lstStyle/>
        <a:p>
          <a:r>
            <a:rPr lang="es-MX" sz="3600" dirty="0"/>
            <a:t>Socio A</a:t>
          </a:r>
        </a:p>
      </dgm:t>
    </dgm:pt>
    <dgm:pt modelId="{557B47FE-65EF-4F0E-BC30-8E8DD0CA40E4}" type="parTrans" cxnId="{61C3582D-7740-40FD-89FF-02D6375C4ADE}">
      <dgm:prSet/>
      <dgm:spPr/>
      <dgm:t>
        <a:bodyPr/>
        <a:lstStyle/>
        <a:p>
          <a:endParaRPr lang="es-MX"/>
        </a:p>
      </dgm:t>
    </dgm:pt>
    <dgm:pt modelId="{2E6633D6-2A07-490E-BBC3-854AB1C64867}" type="sibTrans" cxnId="{61C3582D-7740-40FD-89FF-02D6375C4ADE}">
      <dgm:prSet/>
      <dgm:spPr/>
      <dgm:t>
        <a:bodyPr/>
        <a:lstStyle/>
        <a:p>
          <a:endParaRPr lang="es-MX"/>
        </a:p>
      </dgm:t>
    </dgm:pt>
    <dgm:pt modelId="{056AE682-9553-4579-BDCE-95530A08ED76}">
      <dgm:prSet phldrT="[Texto]" custT="1"/>
      <dgm:spPr/>
      <dgm:t>
        <a:bodyPr/>
        <a:lstStyle/>
        <a:p>
          <a:r>
            <a:rPr lang="es-MX" sz="2800" dirty="0"/>
            <a:t>Terceras partes</a:t>
          </a:r>
        </a:p>
      </dgm:t>
    </dgm:pt>
    <dgm:pt modelId="{A2D2821D-DD13-4529-BD5B-D0EEED30BE37}" type="parTrans" cxnId="{AF7EB8B2-2E22-4D44-B774-418D74A3F30A}">
      <dgm:prSet/>
      <dgm:spPr/>
      <dgm:t>
        <a:bodyPr/>
        <a:lstStyle/>
        <a:p>
          <a:endParaRPr lang="es-MX"/>
        </a:p>
      </dgm:t>
    </dgm:pt>
    <dgm:pt modelId="{4926689C-2E26-48D0-A7A8-60300F85D41E}" type="sibTrans" cxnId="{AF7EB8B2-2E22-4D44-B774-418D74A3F30A}">
      <dgm:prSet/>
      <dgm:spPr/>
      <dgm:t>
        <a:bodyPr/>
        <a:lstStyle/>
        <a:p>
          <a:endParaRPr lang="es-MX"/>
        </a:p>
      </dgm:t>
    </dgm:pt>
    <dgm:pt modelId="{C9A625D4-3B10-4DFA-9781-204D9713093F}">
      <dgm:prSet phldrT="[Texto]" custT="1"/>
      <dgm:spPr/>
      <dgm:t>
        <a:bodyPr/>
        <a:lstStyle/>
        <a:p>
          <a:r>
            <a:rPr lang="es-MX" sz="3600" dirty="0"/>
            <a:t>   GIZ</a:t>
          </a:r>
        </a:p>
      </dgm:t>
    </dgm:pt>
    <dgm:pt modelId="{E7B605C4-6465-4CAB-863D-DAC80858F882}" type="parTrans" cxnId="{92D1BFCF-4C67-4B50-B88A-AA3C1AEDF559}">
      <dgm:prSet/>
      <dgm:spPr/>
      <dgm:t>
        <a:bodyPr/>
        <a:lstStyle/>
        <a:p>
          <a:endParaRPr lang="es-MX"/>
        </a:p>
      </dgm:t>
    </dgm:pt>
    <dgm:pt modelId="{9CC54B8B-E6B9-488D-8A43-C8EF7BAC553C}" type="sibTrans" cxnId="{92D1BFCF-4C67-4B50-B88A-AA3C1AEDF559}">
      <dgm:prSet/>
      <dgm:spPr/>
      <dgm:t>
        <a:bodyPr/>
        <a:lstStyle/>
        <a:p>
          <a:endParaRPr lang="es-MX"/>
        </a:p>
      </dgm:t>
    </dgm:pt>
    <dgm:pt modelId="{C36A8BE8-902C-4CE7-854F-76E51B6A7760}" type="pres">
      <dgm:prSet presAssocID="{988BB956-DACC-41FD-85BB-D92D14FA8419}" presName="compositeShape" presStyleCnt="0">
        <dgm:presLayoutVars>
          <dgm:chMax val="7"/>
          <dgm:dir/>
          <dgm:resizeHandles val="exact"/>
        </dgm:presLayoutVars>
      </dgm:prSet>
      <dgm:spPr/>
    </dgm:pt>
    <dgm:pt modelId="{240C814A-98F6-4C80-BD69-1F1C34E92771}" type="pres">
      <dgm:prSet presAssocID="{D36DE996-86D7-46C1-A3BC-302B67692A0C}" presName="circ1" presStyleLbl="vennNode1" presStyleIdx="0" presStyleCnt="3"/>
      <dgm:spPr/>
    </dgm:pt>
    <dgm:pt modelId="{B9A21AEA-378A-4947-BA9F-872301B13AFB}" type="pres">
      <dgm:prSet presAssocID="{D36DE996-86D7-46C1-A3BC-302B67692A0C}" presName="circ1Tx" presStyleLbl="revTx" presStyleIdx="0" presStyleCnt="0">
        <dgm:presLayoutVars>
          <dgm:chMax val="0"/>
          <dgm:chPref val="0"/>
          <dgm:bulletEnabled val="1"/>
        </dgm:presLayoutVars>
      </dgm:prSet>
      <dgm:spPr/>
    </dgm:pt>
    <dgm:pt modelId="{87C70601-1252-41D7-AFF9-79A3503DC24E}" type="pres">
      <dgm:prSet presAssocID="{056AE682-9553-4579-BDCE-95530A08ED76}" presName="circ2" presStyleLbl="vennNode1" presStyleIdx="1" presStyleCnt="3"/>
      <dgm:spPr/>
    </dgm:pt>
    <dgm:pt modelId="{307CB9B8-BDC0-4936-9F7A-5AC62A28A3E5}" type="pres">
      <dgm:prSet presAssocID="{056AE682-9553-4579-BDCE-95530A08ED76}" presName="circ2Tx" presStyleLbl="revTx" presStyleIdx="0" presStyleCnt="0">
        <dgm:presLayoutVars>
          <dgm:chMax val="0"/>
          <dgm:chPref val="0"/>
          <dgm:bulletEnabled val="1"/>
        </dgm:presLayoutVars>
      </dgm:prSet>
      <dgm:spPr/>
    </dgm:pt>
    <dgm:pt modelId="{609F83ED-75CB-467F-8921-4D34D69E317D}" type="pres">
      <dgm:prSet presAssocID="{C9A625D4-3B10-4DFA-9781-204D9713093F}" presName="circ3" presStyleLbl="vennNode1" presStyleIdx="2" presStyleCnt="3"/>
      <dgm:spPr/>
    </dgm:pt>
    <dgm:pt modelId="{FDA88392-C2D3-465C-9F7F-CDBA44502E14}" type="pres">
      <dgm:prSet presAssocID="{C9A625D4-3B10-4DFA-9781-204D9713093F}" presName="circ3Tx" presStyleLbl="revTx" presStyleIdx="0" presStyleCnt="0">
        <dgm:presLayoutVars>
          <dgm:chMax val="0"/>
          <dgm:chPref val="0"/>
          <dgm:bulletEnabled val="1"/>
        </dgm:presLayoutVars>
      </dgm:prSet>
      <dgm:spPr/>
    </dgm:pt>
  </dgm:ptLst>
  <dgm:cxnLst>
    <dgm:cxn modelId="{9E098A07-97F5-4168-AAB7-CDF399507407}" type="presOf" srcId="{056AE682-9553-4579-BDCE-95530A08ED76}" destId="{307CB9B8-BDC0-4936-9F7A-5AC62A28A3E5}" srcOrd="1" destOrd="0" presId="urn:microsoft.com/office/officeart/2005/8/layout/venn1"/>
    <dgm:cxn modelId="{61C3582D-7740-40FD-89FF-02D6375C4ADE}" srcId="{988BB956-DACC-41FD-85BB-D92D14FA8419}" destId="{D36DE996-86D7-46C1-A3BC-302B67692A0C}" srcOrd="0" destOrd="0" parTransId="{557B47FE-65EF-4F0E-BC30-8E8DD0CA40E4}" sibTransId="{2E6633D6-2A07-490E-BBC3-854AB1C64867}"/>
    <dgm:cxn modelId="{7D873166-6A40-40BB-9797-CA2D81BC3CFF}" type="presOf" srcId="{C9A625D4-3B10-4DFA-9781-204D9713093F}" destId="{FDA88392-C2D3-465C-9F7F-CDBA44502E14}" srcOrd="1" destOrd="0" presId="urn:microsoft.com/office/officeart/2005/8/layout/venn1"/>
    <dgm:cxn modelId="{2E2FEE87-C6B8-4A8C-AE87-8412C381CA60}" type="presOf" srcId="{988BB956-DACC-41FD-85BB-D92D14FA8419}" destId="{C36A8BE8-902C-4CE7-854F-76E51B6A7760}" srcOrd="0" destOrd="0" presId="urn:microsoft.com/office/officeart/2005/8/layout/venn1"/>
    <dgm:cxn modelId="{7374E49E-D3C1-4735-9247-593AFDB03C5E}" type="presOf" srcId="{C9A625D4-3B10-4DFA-9781-204D9713093F}" destId="{609F83ED-75CB-467F-8921-4D34D69E317D}" srcOrd="0" destOrd="0" presId="urn:microsoft.com/office/officeart/2005/8/layout/venn1"/>
    <dgm:cxn modelId="{D41A91A5-AAEF-4F14-B9B5-19DA20676D72}" type="presOf" srcId="{D36DE996-86D7-46C1-A3BC-302B67692A0C}" destId="{B9A21AEA-378A-4947-BA9F-872301B13AFB}" srcOrd="1" destOrd="0" presId="urn:microsoft.com/office/officeart/2005/8/layout/venn1"/>
    <dgm:cxn modelId="{AF7EB8B2-2E22-4D44-B774-418D74A3F30A}" srcId="{988BB956-DACC-41FD-85BB-D92D14FA8419}" destId="{056AE682-9553-4579-BDCE-95530A08ED76}" srcOrd="1" destOrd="0" parTransId="{A2D2821D-DD13-4529-BD5B-D0EEED30BE37}" sibTransId="{4926689C-2E26-48D0-A7A8-60300F85D41E}"/>
    <dgm:cxn modelId="{7918E7C8-D8BD-46ED-BFB2-9C6B4FF41160}" type="presOf" srcId="{056AE682-9553-4579-BDCE-95530A08ED76}" destId="{87C70601-1252-41D7-AFF9-79A3503DC24E}" srcOrd="0" destOrd="0" presId="urn:microsoft.com/office/officeart/2005/8/layout/venn1"/>
    <dgm:cxn modelId="{E22FC9CC-BF72-4FEB-B230-77EF18639294}" type="presOf" srcId="{D36DE996-86D7-46C1-A3BC-302B67692A0C}" destId="{240C814A-98F6-4C80-BD69-1F1C34E92771}" srcOrd="0" destOrd="0" presId="urn:microsoft.com/office/officeart/2005/8/layout/venn1"/>
    <dgm:cxn modelId="{92D1BFCF-4C67-4B50-B88A-AA3C1AEDF559}" srcId="{988BB956-DACC-41FD-85BB-D92D14FA8419}" destId="{C9A625D4-3B10-4DFA-9781-204D9713093F}" srcOrd="2" destOrd="0" parTransId="{E7B605C4-6465-4CAB-863D-DAC80858F882}" sibTransId="{9CC54B8B-E6B9-488D-8A43-C8EF7BAC553C}"/>
    <dgm:cxn modelId="{2EAFECE3-7187-4AE3-9938-FFC38E9B15FA}" type="presParOf" srcId="{C36A8BE8-902C-4CE7-854F-76E51B6A7760}" destId="{240C814A-98F6-4C80-BD69-1F1C34E92771}" srcOrd="0" destOrd="0" presId="urn:microsoft.com/office/officeart/2005/8/layout/venn1"/>
    <dgm:cxn modelId="{20D51CFE-7522-4B84-B7FD-43B6975BFD0D}" type="presParOf" srcId="{C36A8BE8-902C-4CE7-854F-76E51B6A7760}" destId="{B9A21AEA-378A-4947-BA9F-872301B13AFB}" srcOrd="1" destOrd="0" presId="urn:microsoft.com/office/officeart/2005/8/layout/venn1"/>
    <dgm:cxn modelId="{AD7265C7-7C2A-43A9-9370-55E37561C03B}" type="presParOf" srcId="{C36A8BE8-902C-4CE7-854F-76E51B6A7760}" destId="{87C70601-1252-41D7-AFF9-79A3503DC24E}" srcOrd="2" destOrd="0" presId="urn:microsoft.com/office/officeart/2005/8/layout/venn1"/>
    <dgm:cxn modelId="{65FBE7EA-6949-4748-9747-F201BD37C16D}" type="presParOf" srcId="{C36A8BE8-902C-4CE7-854F-76E51B6A7760}" destId="{307CB9B8-BDC0-4936-9F7A-5AC62A28A3E5}" srcOrd="3" destOrd="0" presId="urn:microsoft.com/office/officeart/2005/8/layout/venn1"/>
    <dgm:cxn modelId="{E84059D9-7888-4117-818D-D95E305097EB}" type="presParOf" srcId="{C36A8BE8-902C-4CE7-854F-76E51B6A7760}" destId="{609F83ED-75CB-467F-8921-4D34D69E317D}" srcOrd="4" destOrd="0" presId="urn:microsoft.com/office/officeart/2005/8/layout/venn1"/>
    <dgm:cxn modelId="{85CC5758-2C37-4F41-BEF4-8933D469A9D9}" type="presParOf" srcId="{C36A8BE8-902C-4CE7-854F-76E51B6A7760}" destId="{FDA88392-C2D3-465C-9F7F-CDBA44502E14}" srcOrd="5" destOrd="0" presId="urn:microsoft.com/office/officeart/2005/8/layout/ven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A94EFF7-A132-4AF7-A07F-15B9B3994070}" type="doc">
      <dgm:prSet loTypeId="urn:microsoft.com/office/officeart/2005/8/layout/hierarchy2" loCatId="hierarchy" qsTypeId="urn:microsoft.com/office/officeart/2005/8/quickstyle/simple1" qsCatId="simple" csTypeId="urn:microsoft.com/office/officeart/2005/8/colors/colorful1" csCatId="colorful" phldr="1"/>
      <dgm:spPr/>
      <dgm:t>
        <a:bodyPr/>
        <a:lstStyle/>
        <a:p>
          <a:endParaRPr lang="es-MX"/>
        </a:p>
      </dgm:t>
    </dgm:pt>
    <dgm:pt modelId="{11705747-5EBC-4E6D-BE83-9E9782FC201D}">
      <dgm:prSet phldrT="[Texto]" custT="1"/>
      <dgm:spPr/>
      <dgm:t>
        <a:bodyPr/>
        <a:lstStyle/>
        <a:p>
          <a:r>
            <a:rPr lang="es-ES" sz="1050" dirty="0"/>
            <a:t>Cooperaciones de desarrollo con sector privado</a:t>
          </a:r>
          <a:endParaRPr lang="es-MX" sz="1050" dirty="0"/>
        </a:p>
      </dgm:t>
    </dgm:pt>
    <dgm:pt modelId="{EF613DD7-E01B-4383-8A66-F1BFAB7A4246}" type="parTrans" cxnId="{CB3FBAF7-B29B-4F30-9B0B-7A74C7342495}">
      <dgm:prSet/>
      <dgm:spPr/>
      <dgm:t>
        <a:bodyPr/>
        <a:lstStyle/>
        <a:p>
          <a:endParaRPr lang="es-MX"/>
        </a:p>
      </dgm:t>
    </dgm:pt>
    <dgm:pt modelId="{B78B64A1-60D6-4D67-97F0-8322BB10DB59}" type="sibTrans" cxnId="{CB3FBAF7-B29B-4F30-9B0B-7A74C7342495}">
      <dgm:prSet/>
      <dgm:spPr/>
      <dgm:t>
        <a:bodyPr/>
        <a:lstStyle/>
        <a:p>
          <a:endParaRPr lang="es-MX"/>
        </a:p>
      </dgm:t>
    </dgm:pt>
    <dgm:pt modelId="{39856817-8F6F-44AC-AEFE-BC3EA602998E}">
      <dgm:prSet phldrT="[Texto]" custT="1"/>
      <dgm:spPr/>
      <dgm:t>
        <a:bodyPr/>
        <a:lstStyle/>
        <a:p>
          <a:r>
            <a:rPr lang="es-ES" sz="1600" b="1" dirty="0" err="1"/>
            <a:t>develoPPP.de</a:t>
          </a:r>
          <a:endParaRPr lang="es-ES" sz="1600" b="1" dirty="0"/>
        </a:p>
        <a:p>
          <a:r>
            <a:rPr lang="es-ES" sz="900" dirty="0"/>
            <a:t>concurso de ideas</a:t>
          </a:r>
        </a:p>
        <a:p>
          <a:endParaRPr lang="es-MX" sz="900" dirty="0"/>
        </a:p>
      </dgm:t>
    </dgm:pt>
    <dgm:pt modelId="{429501B4-8BCC-4B33-A960-A5CCFFE23A74}" type="parTrans" cxnId="{DE39E098-90A9-45A9-BB99-B6BD8ABC901C}">
      <dgm:prSet/>
      <dgm:spPr/>
      <dgm:t>
        <a:bodyPr/>
        <a:lstStyle/>
        <a:p>
          <a:endParaRPr lang="es-MX"/>
        </a:p>
      </dgm:t>
    </dgm:pt>
    <dgm:pt modelId="{25482926-252D-463B-B545-3806B0DE1438}" type="sibTrans" cxnId="{DE39E098-90A9-45A9-BB99-B6BD8ABC901C}">
      <dgm:prSet/>
      <dgm:spPr/>
      <dgm:t>
        <a:bodyPr/>
        <a:lstStyle/>
        <a:p>
          <a:endParaRPr lang="es-MX"/>
        </a:p>
      </dgm:t>
    </dgm:pt>
    <dgm:pt modelId="{4480B566-EDD3-421D-AEFB-ACED4F40B317}">
      <dgm:prSet phldrT="[Texto]" custT="1"/>
      <dgm:spPr/>
      <dgm:t>
        <a:bodyPr/>
        <a:lstStyle/>
        <a:p>
          <a:r>
            <a:rPr lang="es-ES" sz="1050" kern="1200" dirty="0">
              <a:latin typeface="Arial" panose="020B0604020202020204" pitchFamily="34" charset="0"/>
              <a:cs typeface="Arial" panose="020B0604020202020204" pitchFamily="34" charset="0"/>
            </a:rPr>
            <a:t>Contrato de implementación</a:t>
          </a:r>
        </a:p>
        <a:p>
          <a:r>
            <a:rPr lang="es-ES" sz="1050" kern="1200" dirty="0">
              <a:solidFill>
                <a:prstClr val="white"/>
              </a:solidFill>
              <a:latin typeface="BundesSans Office"/>
              <a:ea typeface="+mn-ea"/>
              <a:cs typeface="+mn-cs"/>
            </a:rPr>
            <a:t>Max 200.000 EUR de fondos públicos </a:t>
          </a:r>
          <a:endParaRPr lang="es-MX" sz="1050" kern="1200" dirty="0">
            <a:solidFill>
              <a:prstClr val="white"/>
            </a:solidFill>
            <a:latin typeface="BundesSans Office"/>
            <a:ea typeface="+mn-ea"/>
            <a:cs typeface="+mn-cs"/>
          </a:endParaRPr>
        </a:p>
      </dgm:t>
    </dgm:pt>
    <dgm:pt modelId="{1CF46A6A-0666-4799-87C3-F5E2D9D59D5D}" type="parTrans" cxnId="{D1AB2DDA-E4C4-4AF8-B21A-D422000E11BB}">
      <dgm:prSet/>
      <dgm:spPr/>
      <dgm:t>
        <a:bodyPr/>
        <a:lstStyle/>
        <a:p>
          <a:endParaRPr lang="es-MX"/>
        </a:p>
      </dgm:t>
    </dgm:pt>
    <dgm:pt modelId="{8D6AFEBB-2D3F-4E37-8828-68A510541269}" type="sibTrans" cxnId="{D1AB2DDA-E4C4-4AF8-B21A-D422000E11BB}">
      <dgm:prSet/>
      <dgm:spPr/>
      <dgm:t>
        <a:bodyPr/>
        <a:lstStyle/>
        <a:p>
          <a:endParaRPr lang="es-MX"/>
        </a:p>
      </dgm:t>
    </dgm:pt>
    <dgm:pt modelId="{EAA5C370-0044-4900-B084-74C269844A6B}">
      <dgm:prSet phldrT="[Texto]" custT="1"/>
      <dgm:spPr/>
      <dgm:t>
        <a:bodyPr/>
        <a:lstStyle/>
        <a:p>
          <a:r>
            <a:rPr lang="es-ES" sz="1050" dirty="0">
              <a:latin typeface="Arial" panose="020B0604020202020204" pitchFamily="34" charset="0"/>
              <a:cs typeface="Arial" panose="020B0604020202020204" pitchFamily="34" charset="0"/>
            </a:rPr>
            <a:t>Contrato de cooperación</a:t>
          </a:r>
        </a:p>
        <a:p>
          <a:r>
            <a:rPr lang="es-ES" sz="1050" dirty="0"/>
            <a:t>min. EUR 100 mil </a:t>
          </a:r>
          <a:endParaRPr lang="es-MX" sz="1050" dirty="0"/>
        </a:p>
        <a:p>
          <a:r>
            <a:rPr lang="es-ES" sz="1050" dirty="0" err="1"/>
            <a:t>max</a:t>
          </a:r>
          <a:r>
            <a:rPr lang="es-ES" sz="1050" dirty="0"/>
            <a:t>. 2 millones de fondos públicos</a:t>
          </a:r>
          <a:endParaRPr lang="es-MX" sz="1050" dirty="0"/>
        </a:p>
      </dgm:t>
    </dgm:pt>
    <dgm:pt modelId="{AE97D4D3-C925-4E90-B747-DAD7124A1370}" type="parTrans" cxnId="{A971CD90-3E1A-4C85-B538-4AB06F4BF5C4}">
      <dgm:prSet/>
      <dgm:spPr/>
      <dgm:t>
        <a:bodyPr/>
        <a:lstStyle/>
        <a:p>
          <a:endParaRPr lang="es-MX"/>
        </a:p>
      </dgm:t>
    </dgm:pt>
    <dgm:pt modelId="{4C715546-A485-4AE2-9324-DD899E19EAB7}" type="sibTrans" cxnId="{A971CD90-3E1A-4C85-B538-4AB06F4BF5C4}">
      <dgm:prSet/>
      <dgm:spPr/>
      <dgm:t>
        <a:bodyPr/>
        <a:lstStyle/>
        <a:p>
          <a:endParaRPr lang="es-MX"/>
        </a:p>
      </dgm:t>
    </dgm:pt>
    <dgm:pt modelId="{86897926-A693-4C27-B08D-114F324C48B6}">
      <dgm:prSet phldrT="[Texto]" custT="1"/>
      <dgm:spPr/>
      <dgm:t>
        <a:bodyPr/>
        <a:lstStyle/>
        <a:p>
          <a:r>
            <a:rPr lang="es-ES" sz="1100" b="1" dirty="0" err="1"/>
            <a:t>iPPP</a:t>
          </a:r>
          <a:r>
            <a:rPr lang="es-ES" sz="1100" b="1" dirty="0"/>
            <a:t> </a:t>
          </a:r>
        </a:p>
        <a:p>
          <a:r>
            <a:rPr lang="es-ES" sz="1100" b="1" dirty="0"/>
            <a:t>Cooperación integrada con sector privado</a:t>
          </a:r>
        </a:p>
        <a:p>
          <a:r>
            <a:rPr lang="es-MX" sz="900" dirty="0"/>
            <a:t>Max. EUR  200.000 de fondos públicos</a:t>
          </a:r>
        </a:p>
        <a:p>
          <a:endParaRPr lang="es-MX" sz="900" dirty="0"/>
        </a:p>
      </dgm:t>
    </dgm:pt>
    <dgm:pt modelId="{31F83C7B-5488-4D96-ACD6-63B344E408C1}" type="parTrans" cxnId="{08FC7253-5BBD-47A3-BDAA-CB0A5C9DBE13}">
      <dgm:prSet/>
      <dgm:spPr/>
      <dgm:t>
        <a:bodyPr/>
        <a:lstStyle/>
        <a:p>
          <a:endParaRPr lang="es-MX"/>
        </a:p>
      </dgm:t>
    </dgm:pt>
    <dgm:pt modelId="{681327F3-E24C-42D3-85C5-FF8361260F42}" type="sibTrans" cxnId="{08FC7253-5BBD-47A3-BDAA-CB0A5C9DBE13}">
      <dgm:prSet/>
      <dgm:spPr/>
      <dgm:t>
        <a:bodyPr/>
        <a:lstStyle/>
        <a:p>
          <a:endParaRPr lang="es-MX"/>
        </a:p>
      </dgm:t>
    </dgm:pt>
    <dgm:pt modelId="{B7B1F863-0F34-4ED0-BBAC-EECCB079D79B}">
      <dgm:prSet phldrT="[Texto]" custT="1"/>
      <dgm:spPr/>
      <dgm:t>
        <a:bodyPr/>
        <a:lstStyle/>
        <a:p>
          <a:r>
            <a:rPr lang="es-ES" sz="1050" dirty="0">
              <a:latin typeface="Arial" panose="020B0604020202020204" pitchFamily="34" charset="0"/>
              <a:cs typeface="Arial" panose="020B0604020202020204" pitchFamily="34" charset="0"/>
            </a:rPr>
            <a:t>Contrato de cooperación,</a:t>
          </a:r>
        </a:p>
        <a:p>
          <a:r>
            <a:rPr lang="es-ES" sz="1050" dirty="0">
              <a:latin typeface="Arial" panose="020B0604020202020204" pitchFamily="34" charset="0"/>
              <a:cs typeface="Arial" panose="020B0604020202020204" pitchFamily="34" charset="0"/>
            </a:rPr>
            <a:t>Contrato de implementación o</a:t>
          </a:r>
        </a:p>
        <a:p>
          <a:r>
            <a:rPr lang="es-ES" sz="1050" dirty="0">
              <a:latin typeface="Arial" panose="020B0604020202020204" pitchFamily="34" charset="0"/>
              <a:cs typeface="Arial" panose="020B0604020202020204" pitchFamily="34" charset="0"/>
            </a:rPr>
            <a:t>Memorando de Entendimiento</a:t>
          </a:r>
          <a:endParaRPr lang="es-MX" sz="1050" dirty="0"/>
        </a:p>
      </dgm:t>
    </dgm:pt>
    <dgm:pt modelId="{2F24EA40-8C15-4807-A2E0-3D933964C873}" type="parTrans" cxnId="{E41A602E-71CD-4057-8FA8-C805FD3DFD96}">
      <dgm:prSet/>
      <dgm:spPr/>
      <dgm:t>
        <a:bodyPr/>
        <a:lstStyle/>
        <a:p>
          <a:endParaRPr lang="es-MX"/>
        </a:p>
      </dgm:t>
    </dgm:pt>
    <dgm:pt modelId="{3C01C282-744A-467B-A748-E7853BB410FF}" type="sibTrans" cxnId="{E41A602E-71CD-4057-8FA8-C805FD3DFD96}">
      <dgm:prSet/>
      <dgm:spPr/>
      <dgm:t>
        <a:bodyPr/>
        <a:lstStyle/>
        <a:p>
          <a:endParaRPr lang="es-MX"/>
        </a:p>
      </dgm:t>
    </dgm:pt>
    <dgm:pt modelId="{5A08980D-F141-4F4C-A4A5-622E29A472ED}">
      <dgm:prSet custT="1"/>
      <dgm:spPr>
        <a:solidFill>
          <a:srgbClr val="0078D2"/>
        </a:solidFill>
      </dgm:spPr>
      <dgm:t>
        <a:bodyPr/>
        <a:lstStyle/>
        <a:p>
          <a:r>
            <a:rPr lang="es-ES" sz="1050" dirty="0">
              <a:solidFill>
                <a:schemeClr val="bg1"/>
              </a:solidFill>
              <a:latin typeface="+mn-lt"/>
              <a:cs typeface="Calibri" panose="020F0502020204030204" pitchFamily="34" charset="0"/>
            </a:rPr>
            <a:t>La empresa implementa el proyecto de forma más independiente y presenta evidencia de costos y servicios</a:t>
          </a:r>
        </a:p>
      </dgm:t>
    </dgm:pt>
    <dgm:pt modelId="{2E5E05D3-FC92-4001-859E-BF246137FC32}" type="parTrans" cxnId="{AD38D1E8-0B48-4CFD-AF9F-A9F64C528016}">
      <dgm:prSet/>
      <dgm:spPr/>
      <dgm:t>
        <a:bodyPr/>
        <a:lstStyle/>
        <a:p>
          <a:endParaRPr lang="es-MX"/>
        </a:p>
      </dgm:t>
    </dgm:pt>
    <dgm:pt modelId="{C7DD27E7-E366-46BE-B024-EA59FC6D249E}" type="sibTrans" cxnId="{AD38D1E8-0B48-4CFD-AF9F-A9F64C528016}">
      <dgm:prSet/>
      <dgm:spPr/>
      <dgm:t>
        <a:bodyPr/>
        <a:lstStyle/>
        <a:p>
          <a:endParaRPr lang="es-MX"/>
        </a:p>
      </dgm:t>
    </dgm:pt>
    <dgm:pt modelId="{E94140E1-DD7E-4D68-9D9A-D61F206D0D2F}">
      <dgm:prSet phldrT="[Texto]" custT="1"/>
      <dgm:spPr>
        <a:solidFill>
          <a:srgbClr val="0078D2"/>
        </a:solidFill>
      </dgm:spPr>
      <dgm:t>
        <a:bodyPr/>
        <a:lstStyle/>
        <a:p>
          <a:r>
            <a:rPr lang="es-ES" sz="1050" dirty="0">
              <a:solidFill>
                <a:schemeClr val="bg1"/>
              </a:solidFill>
            </a:rPr>
            <a:t>Planificación conjunta. </a:t>
          </a:r>
        </a:p>
        <a:p>
          <a:r>
            <a:rPr lang="es-ES" sz="1050" dirty="0">
              <a:solidFill>
                <a:schemeClr val="bg1"/>
              </a:solidFill>
              <a:latin typeface="+mn-lt"/>
              <a:cs typeface="Calibri" panose="020F0502020204030204" pitchFamily="34" charset="0"/>
            </a:rPr>
            <a:t>Los paquetes de trabajo claramente definidos se manejan de forma autónoma y por cuenta propia.</a:t>
          </a:r>
        </a:p>
        <a:p>
          <a:r>
            <a:rPr lang="es-ES" sz="1050" dirty="0">
              <a:solidFill>
                <a:schemeClr val="bg1"/>
              </a:solidFill>
              <a:latin typeface="+mn-lt"/>
              <a:cs typeface="Calibri" panose="020F0502020204030204" pitchFamily="34" charset="0"/>
            </a:rPr>
            <a:t>No hay flujos de dinero entre los socios</a:t>
          </a:r>
          <a:endParaRPr lang="es-MX" sz="1050" dirty="0">
            <a:solidFill>
              <a:schemeClr val="bg1"/>
            </a:solidFill>
          </a:endParaRPr>
        </a:p>
      </dgm:t>
    </dgm:pt>
    <dgm:pt modelId="{524ED90E-EDD9-473B-A1F4-5810232C248E}" type="parTrans" cxnId="{3904070F-12A4-457B-9935-2A7E6C8E1FDE}">
      <dgm:prSet/>
      <dgm:spPr/>
      <dgm:t>
        <a:bodyPr/>
        <a:lstStyle/>
        <a:p>
          <a:endParaRPr lang="es-MX"/>
        </a:p>
      </dgm:t>
    </dgm:pt>
    <dgm:pt modelId="{5590488D-4810-4109-91AD-C2AF81285748}" type="sibTrans" cxnId="{3904070F-12A4-457B-9935-2A7E6C8E1FDE}">
      <dgm:prSet/>
      <dgm:spPr/>
      <dgm:t>
        <a:bodyPr/>
        <a:lstStyle/>
        <a:p>
          <a:endParaRPr lang="es-MX"/>
        </a:p>
      </dgm:t>
    </dgm:pt>
    <dgm:pt modelId="{C0AAB68F-3A08-4CA2-B57C-75283BA6B4DB}">
      <dgm:prSet custT="1"/>
      <dgm:spPr>
        <a:solidFill>
          <a:srgbClr val="0078D2"/>
        </a:solidFill>
      </dgm:spPr>
      <dgm:t>
        <a:bodyPr/>
        <a:lstStyle/>
        <a:p>
          <a:r>
            <a:rPr lang="es-ES" sz="1050" dirty="0">
              <a:solidFill>
                <a:schemeClr val="bg1"/>
              </a:solidFill>
              <a:cs typeface="Calibri" panose="020F0502020204030204" pitchFamily="34" charset="0"/>
            </a:rPr>
            <a:t>Orientación hacia </a:t>
          </a:r>
          <a:r>
            <a:rPr lang="es-ES" sz="1050" dirty="0" err="1">
              <a:solidFill>
                <a:schemeClr val="bg1"/>
              </a:solidFill>
              <a:cs typeface="Calibri" panose="020F0502020204030204" pitchFamily="34" charset="0"/>
            </a:rPr>
            <a:t>develoPPP.de</a:t>
          </a:r>
          <a:r>
            <a:rPr lang="es-ES" sz="1050" dirty="0">
              <a:solidFill>
                <a:schemeClr val="bg1"/>
              </a:solidFill>
              <a:cs typeface="Calibri" panose="020F0502020204030204" pitchFamily="34" charset="0"/>
            </a:rPr>
            <a:t> pero, de hecho, un proceso de diseño más flexible para ambos tipos de contratos</a:t>
          </a:r>
        </a:p>
      </dgm:t>
    </dgm:pt>
    <dgm:pt modelId="{FA923FD6-7883-43CB-9166-2C1280DAFC7F}" type="parTrans" cxnId="{10D62401-F3A1-4BAF-9D3E-BBACA5F77F02}">
      <dgm:prSet/>
      <dgm:spPr/>
      <dgm:t>
        <a:bodyPr/>
        <a:lstStyle/>
        <a:p>
          <a:endParaRPr lang="es-MX"/>
        </a:p>
      </dgm:t>
    </dgm:pt>
    <dgm:pt modelId="{30EC4B08-A65A-4C8C-B212-14CD434CA770}" type="sibTrans" cxnId="{10D62401-F3A1-4BAF-9D3E-BBACA5F77F02}">
      <dgm:prSet/>
      <dgm:spPr/>
      <dgm:t>
        <a:bodyPr/>
        <a:lstStyle/>
        <a:p>
          <a:endParaRPr lang="es-MX"/>
        </a:p>
      </dgm:t>
    </dgm:pt>
    <dgm:pt modelId="{030C2557-C4C4-4F14-A692-D5965003CDC6}" type="pres">
      <dgm:prSet presAssocID="{AA94EFF7-A132-4AF7-A07F-15B9B3994070}" presName="diagram" presStyleCnt="0">
        <dgm:presLayoutVars>
          <dgm:chPref val="1"/>
          <dgm:dir/>
          <dgm:animOne val="branch"/>
          <dgm:animLvl val="lvl"/>
          <dgm:resizeHandles val="exact"/>
        </dgm:presLayoutVars>
      </dgm:prSet>
      <dgm:spPr/>
    </dgm:pt>
    <dgm:pt modelId="{38789AB8-FF48-4C00-83CA-0C529F9F8BAB}" type="pres">
      <dgm:prSet presAssocID="{11705747-5EBC-4E6D-BE83-9E9782FC201D}" presName="root1" presStyleCnt="0"/>
      <dgm:spPr/>
    </dgm:pt>
    <dgm:pt modelId="{1952A1D3-F943-4C09-B8E4-787D5E9F7779}" type="pres">
      <dgm:prSet presAssocID="{11705747-5EBC-4E6D-BE83-9E9782FC201D}" presName="LevelOneTextNode" presStyleLbl="node0" presStyleIdx="0" presStyleCnt="1">
        <dgm:presLayoutVars>
          <dgm:chPref val="3"/>
        </dgm:presLayoutVars>
      </dgm:prSet>
      <dgm:spPr/>
    </dgm:pt>
    <dgm:pt modelId="{5383B309-021B-4FEB-B940-BF48FB23448B}" type="pres">
      <dgm:prSet presAssocID="{11705747-5EBC-4E6D-BE83-9E9782FC201D}" presName="level2hierChild" presStyleCnt="0"/>
      <dgm:spPr/>
    </dgm:pt>
    <dgm:pt modelId="{8DD5A825-C238-4B04-897A-D730219BB5F3}" type="pres">
      <dgm:prSet presAssocID="{429501B4-8BCC-4B33-A960-A5CCFFE23A74}" presName="conn2-1" presStyleLbl="parChTrans1D2" presStyleIdx="0" presStyleCnt="2"/>
      <dgm:spPr/>
    </dgm:pt>
    <dgm:pt modelId="{4F07F796-DCBB-499E-BCDD-13CA167BBEF4}" type="pres">
      <dgm:prSet presAssocID="{429501B4-8BCC-4B33-A960-A5CCFFE23A74}" presName="connTx" presStyleLbl="parChTrans1D2" presStyleIdx="0" presStyleCnt="2"/>
      <dgm:spPr/>
    </dgm:pt>
    <dgm:pt modelId="{7FB2ABDA-4D82-4B19-882B-4AC128E42259}" type="pres">
      <dgm:prSet presAssocID="{39856817-8F6F-44AC-AEFE-BC3EA602998E}" presName="root2" presStyleCnt="0"/>
      <dgm:spPr/>
    </dgm:pt>
    <dgm:pt modelId="{B9D0BDA9-0AF5-4465-AC50-445BE7D1459C}" type="pres">
      <dgm:prSet presAssocID="{39856817-8F6F-44AC-AEFE-BC3EA602998E}" presName="LevelTwoTextNode" presStyleLbl="node2" presStyleIdx="0" presStyleCnt="2" custScaleY="136542">
        <dgm:presLayoutVars>
          <dgm:chPref val="3"/>
        </dgm:presLayoutVars>
      </dgm:prSet>
      <dgm:spPr/>
    </dgm:pt>
    <dgm:pt modelId="{2ED284F3-0A05-425C-81A2-40FA1F9A4394}" type="pres">
      <dgm:prSet presAssocID="{39856817-8F6F-44AC-AEFE-BC3EA602998E}" presName="level3hierChild" presStyleCnt="0"/>
      <dgm:spPr/>
    </dgm:pt>
    <dgm:pt modelId="{497989A6-485A-47DC-B445-1CE1D7091F22}" type="pres">
      <dgm:prSet presAssocID="{1CF46A6A-0666-4799-87C3-F5E2D9D59D5D}" presName="conn2-1" presStyleLbl="parChTrans1D3" presStyleIdx="0" presStyleCnt="3"/>
      <dgm:spPr/>
    </dgm:pt>
    <dgm:pt modelId="{1C5AA80E-151F-44A5-BF24-86755931026F}" type="pres">
      <dgm:prSet presAssocID="{1CF46A6A-0666-4799-87C3-F5E2D9D59D5D}" presName="connTx" presStyleLbl="parChTrans1D3" presStyleIdx="0" presStyleCnt="3"/>
      <dgm:spPr/>
    </dgm:pt>
    <dgm:pt modelId="{77120A5B-8D85-4A6B-9586-11E594161E3E}" type="pres">
      <dgm:prSet presAssocID="{4480B566-EDD3-421D-AEFB-ACED4F40B317}" presName="root2" presStyleCnt="0"/>
      <dgm:spPr/>
    </dgm:pt>
    <dgm:pt modelId="{15B574B4-E09C-4960-9C5D-30723B549758}" type="pres">
      <dgm:prSet presAssocID="{4480B566-EDD3-421D-AEFB-ACED4F40B317}" presName="LevelTwoTextNode" presStyleLbl="node3" presStyleIdx="0" presStyleCnt="3">
        <dgm:presLayoutVars>
          <dgm:chPref val="3"/>
        </dgm:presLayoutVars>
      </dgm:prSet>
      <dgm:spPr/>
    </dgm:pt>
    <dgm:pt modelId="{D4475C86-5922-48EF-AE2C-4503A4B07D86}" type="pres">
      <dgm:prSet presAssocID="{4480B566-EDD3-421D-AEFB-ACED4F40B317}" presName="level3hierChild" presStyleCnt="0"/>
      <dgm:spPr/>
    </dgm:pt>
    <dgm:pt modelId="{103C40C6-10B2-4D25-8236-E4FEE1891E51}" type="pres">
      <dgm:prSet presAssocID="{2E5E05D3-FC92-4001-859E-BF246137FC32}" presName="conn2-1" presStyleLbl="parChTrans1D4" presStyleIdx="0" presStyleCnt="3"/>
      <dgm:spPr/>
    </dgm:pt>
    <dgm:pt modelId="{7842FC2C-2212-46C4-A8CC-5BC224ACC051}" type="pres">
      <dgm:prSet presAssocID="{2E5E05D3-FC92-4001-859E-BF246137FC32}" presName="connTx" presStyleLbl="parChTrans1D4" presStyleIdx="0" presStyleCnt="3"/>
      <dgm:spPr/>
    </dgm:pt>
    <dgm:pt modelId="{02219CC9-C5CE-41C4-8AF6-84B352AB1146}" type="pres">
      <dgm:prSet presAssocID="{5A08980D-F141-4F4C-A4A5-622E29A472ED}" presName="root2" presStyleCnt="0"/>
      <dgm:spPr/>
    </dgm:pt>
    <dgm:pt modelId="{8BA95CDF-6C14-4C19-8A85-545494941069}" type="pres">
      <dgm:prSet presAssocID="{5A08980D-F141-4F4C-A4A5-622E29A472ED}" presName="LevelTwoTextNode" presStyleLbl="node4" presStyleIdx="0" presStyleCnt="3" custScaleY="143818">
        <dgm:presLayoutVars>
          <dgm:chPref val="3"/>
        </dgm:presLayoutVars>
      </dgm:prSet>
      <dgm:spPr/>
    </dgm:pt>
    <dgm:pt modelId="{D7CC689C-8B7A-4541-A715-E670EE2F8DAB}" type="pres">
      <dgm:prSet presAssocID="{5A08980D-F141-4F4C-A4A5-622E29A472ED}" presName="level3hierChild" presStyleCnt="0"/>
      <dgm:spPr/>
    </dgm:pt>
    <dgm:pt modelId="{B2D0F198-6FB5-4346-A471-6EFDCE49A29B}" type="pres">
      <dgm:prSet presAssocID="{AE97D4D3-C925-4E90-B747-DAD7124A1370}" presName="conn2-1" presStyleLbl="parChTrans1D3" presStyleIdx="1" presStyleCnt="3"/>
      <dgm:spPr/>
    </dgm:pt>
    <dgm:pt modelId="{26DCE4BE-0E6F-4A70-88CE-3E9DF2902457}" type="pres">
      <dgm:prSet presAssocID="{AE97D4D3-C925-4E90-B747-DAD7124A1370}" presName="connTx" presStyleLbl="parChTrans1D3" presStyleIdx="1" presStyleCnt="3"/>
      <dgm:spPr/>
    </dgm:pt>
    <dgm:pt modelId="{F371A743-C6B2-44C2-A5E9-0FF3A1646331}" type="pres">
      <dgm:prSet presAssocID="{EAA5C370-0044-4900-B084-74C269844A6B}" presName="root2" presStyleCnt="0"/>
      <dgm:spPr/>
    </dgm:pt>
    <dgm:pt modelId="{F4F262D3-E1C9-4341-AD5F-5FF0F4AAD18F}" type="pres">
      <dgm:prSet presAssocID="{EAA5C370-0044-4900-B084-74C269844A6B}" presName="LevelTwoTextNode" presStyleLbl="node3" presStyleIdx="1" presStyleCnt="3">
        <dgm:presLayoutVars>
          <dgm:chPref val="3"/>
        </dgm:presLayoutVars>
      </dgm:prSet>
      <dgm:spPr/>
    </dgm:pt>
    <dgm:pt modelId="{207E3352-A806-4EE3-AEDD-F7CABF5FDD2C}" type="pres">
      <dgm:prSet presAssocID="{EAA5C370-0044-4900-B084-74C269844A6B}" presName="level3hierChild" presStyleCnt="0"/>
      <dgm:spPr/>
    </dgm:pt>
    <dgm:pt modelId="{60E3A15B-2CEF-414E-8F96-52F15D27BE15}" type="pres">
      <dgm:prSet presAssocID="{524ED90E-EDD9-473B-A1F4-5810232C248E}" presName="conn2-1" presStyleLbl="parChTrans1D4" presStyleIdx="1" presStyleCnt="3"/>
      <dgm:spPr/>
    </dgm:pt>
    <dgm:pt modelId="{4253D433-72FA-4AF5-A43A-6440D6AD258E}" type="pres">
      <dgm:prSet presAssocID="{524ED90E-EDD9-473B-A1F4-5810232C248E}" presName="connTx" presStyleLbl="parChTrans1D4" presStyleIdx="1" presStyleCnt="3"/>
      <dgm:spPr/>
    </dgm:pt>
    <dgm:pt modelId="{4468F6A2-2F74-429B-9CA8-B73BFEF10C00}" type="pres">
      <dgm:prSet presAssocID="{E94140E1-DD7E-4D68-9D9A-D61F206D0D2F}" presName="root2" presStyleCnt="0"/>
      <dgm:spPr/>
    </dgm:pt>
    <dgm:pt modelId="{91F9EE65-78CD-4016-ADAD-B9838F77563D}" type="pres">
      <dgm:prSet presAssocID="{E94140E1-DD7E-4D68-9D9A-D61F206D0D2F}" presName="LevelTwoTextNode" presStyleLbl="node4" presStyleIdx="1" presStyleCnt="3" custScaleY="192922">
        <dgm:presLayoutVars>
          <dgm:chPref val="3"/>
        </dgm:presLayoutVars>
      </dgm:prSet>
      <dgm:spPr/>
    </dgm:pt>
    <dgm:pt modelId="{FC0B2B92-D54A-4403-A1F7-9D3BE7871B05}" type="pres">
      <dgm:prSet presAssocID="{E94140E1-DD7E-4D68-9D9A-D61F206D0D2F}" presName="level3hierChild" presStyleCnt="0"/>
      <dgm:spPr/>
    </dgm:pt>
    <dgm:pt modelId="{C3785887-1016-48CB-AAA7-66C6E48B5BB9}" type="pres">
      <dgm:prSet presAssocID="{31F83C7B-5488-4D96-ACD6-63B344E408C1}" presName="conn2-1" presStyleLbl="parChTrans1D2" presStyleIdx="1" presStyleCnt="2"/>
      <dgm:spPr/>
    </dgm:pt>
    <dgm:pt modelId="{86FA7ED3-5210-4FF0-B1FF-AAB771CFD248}" type="pres">
      <dgm:prSet presAssocID="{31F83C7B-5488-4D96-ACD6-63B344E408C1}" presName="connTx" presStyleLbl="parChTrans1D2" presStyleIdx="1" presStyleCnt="2"/>
      <dgm:spPr/>
    </dgm:pt>
    <dgm:pt modelId="{643914FB-E3BF-4963-A8A5-195FA15B92BF}" type="pres">
      <dgm:prSet presAssocID="{86897926-A693-4C27-B08D-114F324C48B6}" presName="root2" presStyleCnt="0"/>
      <dgm:spPr/>
    </dgm:pt>
    <dgm:pt modelId="{660E1E0B-0528-4F9B-BA8F-0DADE327E116}" type="pres">
      <dgm:prSet presAssocID="{86897926-A693-4C27-B08D-114F324C48B6}" presName="LevelTwoTextNode" presStyleLbl="node2" presStyleIdx="1" presStyleCnt="2" custScaleY="181469" custLinFactNeighborX="2382" custLinFactNeighborY="7940">
        <dgm:presLayoutVars>
          <dgm:chPref val="3"/>
        </dgm:presLayoutVars>
      </dgm:prSet>
      <dgm:spPr/>
    </dgm:pt>
    <dgm:pt modelId="{4B3D130C-9483-406F-9C39-3F3A826279E1}" type="pres">
      <dgm:prSet presAssocID="{86897926-A693-4C27-B08D-114F324C48B6}" presName="level3hierChild" presStyleCnt="0"/>
      <dgm:spPr/>
    </dgm:pt>
    <dgm:pt modelId="{959956EE-AFFB-444A-BC85-CEA7F578C158}" type="pres">
      <dgm:prSet presAssocID="{2F24EA40-8C15-4807-A2E0-3D933964C873}" presName="conn2-1" presStyleLbl="parChTrans1D3" presStyleIdx="2" presStyleCnt="3"/>
      <dgm:spPr/>
    </dgm:pt>
    <dgm:pt modelId="{54DC93B4-695E-444E-911E-60593DA4DF18}" type="pres">
      <dgm:prSet presAssocID="{2F24EA40-8C15-4807-A2E0-3D933964C873}" presName="connTx" presStyleLbl="parChTrans1D3" presStyleIdx="2" presStyleCnt="3"/>
      <dgm:spPr/>
    </dgm:pt>
    <dgm:pt modelId="{02368403-8591-4C0B-822C-9D9315BEB0DA}" type="pres">
      <dgm:prSet presAssocID="{B7B1F863-0F34-4ED0-BBAC-EECCB079D79B}" presName="root2" presStyleCnt="0"/>
      <dgm:spPr/>
    </dgm:pt>
    <dgm:pt modelId="{AABF6F83-FB4D-4469-8B07-14C25572098E}" type="pres">
      <dgm:prSet presAssocID="{B7B1F863-0F34-4ED0-BBAC-EECCB079D79B}" presName="LevelTwoTextNode" presStyleLbl="node3" presStyleIdx="2" presStyleCnt="3" custScaleY="153768" custLinFactNeighborX="-2640" custLinFactNeighborY="9069">
        <dgm:presLayoutVars>
          <dgm:chPref val="3"/>
        </dgm:presLayoutVars>
      </dgm:prSet>
      <dgm:spPr/>
    </dgm:pt>
    <dgm:pt modelId="{C2F1BBB9-BD9C-4E34-BC74-08C58094F2F3}" type="pres">
      <dgm:prSet presAssocID="{B7B1F863-0F34-4ED0-BBAC-EECCB079D79B}" presName="level3hierChild" presStyleCnt="0"/>
      <dgm:spPr/>
    </dgm:pt>
    <dgm:pt modelId="{A9DE26B5-6429-4D86-A79A-3D40770E9A4D}" type="pres">
      <dgm:prSet presAssocID="{FA923FD6-7883-43CB-9166-2C1280DAFC7F}" presName="conn2-1" presStyleLbl="parChTrans1D4" presStyleIdx="2" presStyleCnt="3"/>
      <dgm:spPr/>
    </dgm:pt>
    <dgm:pt modelId="{E42E2DDC-BD44-4ADD-942A-7D692F150740}" type="pres">
      <dgm:prSet presAssocID="{FA923FD6-7883-43CB-9166-2C1280DAFC7F}" presName="connTx" presStyleLbl="parChTrans1D4" presStyleIdx="2" presStyleCnt="3"/>
      <dgm:spPr/>
    </dgm:pt>
    <dgm:pt modelId="{FA5C14A9-FA3A-45FF-8D8D-A7EA61851431}" type="pres">
      <dgm:prSet presAssocID="{C0AAB68F-3A08-4CA2-B57C-75283BA6B4DB}" presName="root2" presStyleCnt="0"/>
      <dgm:spPr/>
    </dgm:pt>
    <dgm:pt modelId="{EE27366F-B3FF-4A32-A176-92A21C720819}" type="pres">
      <dgm:prSet presAssocID="{C0AAB68F-3A08-4CA2-B57C-75283BA6B4DB}" presName="LevelTwoTextNode" presStyleLbl="node4" presStyleIdx="2" presStyleCnt="3" custScaleY="126490" custLinFactNeighborX="-610" custLinFactNeighborY="10196">
        <dgm:presLayoutVars>
          <dgm:chPref val="3"/>
        </dgm:presLayoutVars>
      </dgm:prSet>
      <dgm:spPr/>
    </dgm:pt>
    <dgm:pt modelId="{827F51A3-EBCB-43EC-B216-0A066FF9CB76}" type="pres">
      <dgm:prSet presAssocID="{C0AAB68F-3A08-4CA2-B57C-75283BA6B4DB}" presName="level3hierChild" presStyleCnt="0"/>
      <dgm:spPr/>
    </dgm:pt>
  </dgm:ptLst>
  <dgm:cxnLst>
    <dgm:cxn modelId="{65080701-D399-454E-B51E-F260AC57EEDC}" type="presOf" srcId="{C0AAB68F-3A08-4CA2-B57C-75283BA6B4DB}" destId="{EE27366F-B3FF-4A32-A176-92A21C720819}" srcOrd="0" destOrd="0" presId="urn:microsoft.com/office/officeart/2005/8/layout/hierarchy2"/>
    <dgm:cxn modelId="{10D62401-F3A1-4BAF-9D3E-BBACA5F77F02}" srcId="{B7B1F863-0F34-4ED0-BBAC-EECCB079D79B}" destId="{C0AAB68F-3A08-4CA2-B57C-75283BA6B4DB}" srcOrd="0" destOrd="0" parTransId="{FA923FD6-7883-43CB-9166-2C1280DAFC7F}" sibTransId="{30EC4B08-A65A-4C8C-B212-14CD434CA770}"/>
    <dgm:cxn modelId="{3904070F-12A4-457B-9935-2A7E6C8E1FDE}" srcId="{EAA5C370-0044-4900-B084-74C269844A6B}" destId="{E94140E1-DD7E-4D68-9D9A-D61F206D0D2F}" srcOrd="0" destOrd="0" parTransId="{524ED90E-EDD9-473B-A1F4-5810232C248E}" sibTransId="{5590488D-4810-4109-91AD-C2AF81285748}"/>
    <dgm:cxn modelId="{BBE7A322-A8EB-4317-8D0A-0BFD1C02D597}" type="presOf" srcId="{39856817-8F6F-44AC-AEFE-BC3EA602998E}" destId="{B9D0BDA9-0AF5-4465-AC50-445BE7D1459C}" srcOrd="0" destOrd="0" presId="urn:microsoft.com/office/officeart/2005/8/layout/hierarchy2"/>
    <dgm:cxn modelId="{E41A602E-71CD-4057-8FA8-C805FD3DFD96}" srcId="{86897926-A693-4C27-B08D-114F324C48B6}" destId="{B7B1F863-0F34-4ED0-BBAC-EECCB079D79B}" srcOrd="0" destOrd="0" parTransId="{2F24EA40-8C15-4807-A2E0-3D933964C873}" sibTransId="{3C01C282-744A-467B-A748-E7853BB410FF}"/>
    <dgm:cxn modelId="{FD45362F-E07A-4BB2-B971-3CD5CDA2F3CC}" type="presOf" srcId="{AE97D4D3-C925-4E90-B747-DAD7124A1370}" destId="{26DCE4BE-0E6F-4A70-88CE-3E9DF2902457}" srcOrd="1" destOrd="0" presId="urn:microsoft.com/office/officeart/2005/8/layout/hierarchy2"/>
    <dgm:cxn modelId="{9CDD3049-A042-4563-997C-F43E3E66C206}" type="presOf" srcId="{1CF46A6A-0666-4799-87C3-F5E2D9D59D5D}" destId="{497989A6-485A-47DC-B445-1CE1D7091F22}" srcOrd="0" destOrd="0" presId="urn:microsoft.com/office/officeart/2005/8/layout/hierarchy2"/>
    <dgm:cxn modelId="{CE7F7069-DC99-4A3C-9329-8142AD022F94}" type="presOf" srcId="{FA923FD6-7883-43CB-9166-2C1280DAFC7F}" destId="{A9DE26B5-6429-4D86-A79A-3D40770E9A4D}" srcOrd="0" destOrd="0" presId="urn:microsoft.com/office/officeart/2005/8/layout/hierarchy2"/>
    <dgm:cxn modelId="{08FC7253-5BBD-47A3-BDAA-CB0A5C9DBE13}" srcId="{11705747-5EBC-4E6D-BE83-9E9782FC201D}" destId="{86897926-A693-4C27-B08D-114F324C48B6}" srcOrd="1" destOrd="0" parTransId="{31F83C7B-5488-4D96-ACD6-63B344E408C1}" sibTransId="{681327F3-E24C-42D3-85C5-FF8361260F42}"/>
    <dgm:cxn modelId="{5AAD7975-1D34-4321-A730-50C0C787DA30}" type="presOf" srcId="{524ED90E-EDD9-473B-A1F4-5810232C248E}" destId="{4253D433-72FA-4AF5-A43A-6440D6AD258E}" srcOrd="1" destOrd="0" presId="urn:microsoft.com/office/officeart/2005/8/layout/hierarchy2"/>
    <dgm:cxn modelId="{BC8BF155-7BF0-431C-A466-244DB216B241}" type="presOf" srcId="{1CF46A6A-0666-4799-87C3-F5E2D9D59D5D}" destId="{1C5AA80E-151F-44A5-BF24-86755931026F}" srcOrd="1" destOrd="0" presId="urn:microsoft.com/office/officeart/2005/8/layout/hierarchy2"/>
    <dgm:cxn modelId="{04A1577E-13AD-41D7-A173-ECB0822C1D11}" type="presOf" srcId="{429501B4-8BCC-4B33-A960-A5CCFFE23A74}" destId="{4F07F796-DCBB-499E-BCDD-13CA167BBEF4}" srcOrd="1" destOrd="0" presId="urn:microsoft.com/office/officeart/2005/8/layout/hierarchy2"/>
    <dgm:cxn modelId="{8944DB87-53A6-4557-BF00-D0345ED847C1}" type="presOf" srcId="{11705747-5EBC-4E6D-BE83-9E9782FC201D}" destId="{1952A1D3-F943-4C09-B8E4-787D5E9F7779}" srcOrd="0" destOrd="0" presId="urn:microsoft.com/office/officeart/2005/8/layout/hierarchy2"/>
    <dgm:cxn modelId="{80360F8D-90F5-41AA-9F1A-026B9124AFAC}" type="presOf" srcId="{86897926-A693-4C27-B08D-114F324C48B6}" destId="{660E1E0B-0528-4F9B-BA8F-0DADE327E116}" srcOrd="0" destOrd="0" presId="urn:microsoft.com/office/officeart/2005/8/layout/hierarchy2"/>
    <dgm:cxn modelId="{C6291B8D-0D05-438E-8472-4196F9AF9054}" type="presOf" srcId="{5A08980D-F141-4F4C-A4A5-622E29A472ED}" destId="{8BA95CDF-6C14-4C19-8A85-545494941069}" srcOrd="0" destOrd="0" presId="urn:microsoft.com/office/officeart/2005/8/layout/hierarchy2"/>
    <dgm:cxn modelId="{AB2EE48F-C3BF-4355-A7AF-BA1AC6F728CA}" type="presOf" srcId="{AE97D4D3-C925-4E90-B747-DAD7124A1370}" destId="{B2D0F198-6FB5-4346-A471-6EFDCE49A29B}" srcOrd="0" destOrd="0" presId="urn:microsoft.com/office/officeart/2005/8/layout/hierarchy2"/>
    <dgm:cxn modelId="{A971CD90-3E1A-4C85-B538-4AB06F4BF5C4}" srcId="{39856817-8F6F-44AC-AEFE-BC3EA602998E}" destId="{EAA5C370-0044-4900-B084-74C269844A6B}" srcOrd="1" destOrd="0" parTransId="{AE97D4D3-C925-4E90-B747-DAD7124A1370}" sibTransId="{4C715546-A485-4AE2-9324-DD899E19EAB7}"/>
    <dgm:cxn modelId="{9FC5C691-F675-4151-A282-DBEA76CB3CAD}" type="presOf" srcId="{4480B566-EDD3-421D-AEFB-ACED4F40B317}" destId="{15B574B4-E09C-4960-9C5D-30723B549758}" srcOrd="0" destOrd="0" presId="urn:microsoft.com/office/officeart/2005/8/layout/hierarchy2"/>
    <dgm:cxn modelId="{DE39E098-90A9-45A9-BB99-B6BD8ABC901C}" srcId="{11705747-5EBC-4E6D-BE83-9E9782FC201D}" destId="{39856817-8F6F-44AC-AEFE-BC3EA602998E}" srcOrd="0" destOrd="0" parTransId="{429501B4-8BCC-4B33-A960-A5CCFFE23A74}" sibTransId="{25482926-252D-463B-B545-3806B0DE1438}"/>
    <dgm:cxn modelId="{0374479C-0A00-4A8A-A296-17ABA3719164}" type="presOf" srcId="{B7B1F863-0F34-4ED0-BBAC-EECCB079D79B}" destId="{AABF6F83-FB4D-4469-8B07-14C25572098E}" srcOrd="0" destOrd="0" presId="urn:microsoft.com/office/officeart/2005/8/layout/hierarchy2"/>
    <dgm:cxn modelId="{6BEC52A8-07DC-4956-82E8-A688E250D081}" type="presOf" srcId="{2F24EA40-8C15-4807-A2E0-3D933964C873}" destId="{959956EE-AFFB-444A-BC85-CEA7F578C158}" srcOrd="0" destOrd="0" presId="urn:microsoft.com/office/officeart/2005/8/layout/hierarchy2"/>
    <dgm:cxn modelId="{4A381DC9-0BF1-41DC-88B8-C5BF6BCB8491}" type="presOf" srcId="{AA94EFF7-A132-4AF7-A07F-15B9B3994070}" destId="{030C2557-C4C4-4F14-A692-D5965003CDC6}" srcOrd="0" destOrd="0" presId="urn:microsoft.com/office/officeart/2005/8/layout/hierarchy2"/>
    <dgm:cxn modelId="{A0483CCF-DEF1-4721-B0D3-E16053FF2E3B}" type="presOf" srcId="{EAA5C370-0044-4900-B084-74C269844A6B}" destId="{F4F262D3-E1C9-4341-AD5F-5FF0F4AAD18F}" srcOrd="0" destOrd="0" presId="urn:microsoft.com/office/officeart/2005/8/layout/hierarchy2"/>
    <dgm:cxn modelId="{09BA7DCF-5A38-4399-89F4-708858B4508F}" type="presOf" srcId="{E94140E1-DD7E-4D68-9D9A-D61F206D0D2F}" destId="{91F9EE65-78CD-4016-ADAD-B9838F77563D}" srcOrd="0" destOrd="0" presId="urn:microsoft.com/office/officeart/2005/8/layout/hierarchy2"/>
    <dgm:cxn modelId="{57F194D4-CE9F-41F9-A9FA-6E274AA0565A}" type="presOf" srcId="{429501B4-8BCC-4B33-A960-A5CCFFE23A74}" destId="{8DD5A825-C238-4B04-897A-D730219BB5F3}" srcOrd="0" destOrd="0" presId="urn:microsoft.com/office/officeart/2005/8/layout/hierarchy2"/>
    <dgm:cxn modelId="{D1AB2DDA-E4C4-4AF8-B21A-D422000E11BB}" srcId="{39856817-8F6F-44AC-AEFE-BC3EA602998E}" destId="{4480B566-EDD3-421D-AEFB-ACED4F40B317}" srcOrd="0" destOrd="0" parTransId="{1CF46A6A-0666-4799-87C3-F5E2D9D59D5D}" sibTransId="{8D6AFEBB-2D3F-4E37-8828-68A510541269}"/>
    <dgm:cxn modelId="{B953E7DB-69E4-4B0C-933D-5E828A269259}" type="presOf" srcId="{31F83C7B-5488-4D96-ACD6-63B344E408C1}" destId="{C3785887-1016-48CB-AAA7-66C6E48B5BB9}" srcOrd="0" destOrd="0" presId="urn:microsoft.com/office/officeart/2005/8/layout/hierarchy2"/>
    <dgm:cxn modelId="{6BA2A4E2-B880-4D52-9FBD-292687BA6ECC}" type="presOf" srcId="{31F83C7B-5488-4D96-ACD6-63B344E408C1}" destId="{86FA7ED3-5210-4FF0-B1FF-AAB771CFD248}" srcOrd="1" destOrd="0" presId="urn:microsoft.com/office/officeart/2005/8/layout/hierarchy2"/>
    <dgm:cxn modelId="{9A591DE5-EA85-4865-8FDE-4F48F3DDDB1C}" type="presOf" srcId="{2E5E05D3-FC92-4001-859E-BF246137FC32}" destId="{7842FC2C-2212-46C4-A8CC-5BC224ACC051}" srcOrd="1" destOrd="0" presId="urn:microsoft.com/office/officeart/2005/8/layout/hierarchy2"/>
    <dgm:cxn modelId="{AFA195E7-0AC0-4917-BD71-85D67E9BF268}" type="presOf" srcId="{2F24EA40-8C15-4807-A2E0-3D933964C873}" destId="{54DC93B4-695E-444E-911E-60593DA4DF18}" srcOrd="1" destOrd="0" presId="urn:microsoft.com/office/officeart/2005/8/layout/hierarchy2"/>
    <dgm:cxn modelId="{AD38D1E8-0B48-4CFD-AF9F-A9F64C528016}" srcId="{4480B566-EDD3-421D-AEFB-ACED4F40B317}" destId="{5A08980D-F141-4F4C-A4A5-622E29A472ED}" srcOrd="0" destOrd="0" parTransId="{2E5E05D3-FC92-4001-859E-BF246137FC32}" sibTransId="{C7DD27E7-E366-46BE-B024-EA59FC6D249E}"/>
    <dgm:cxn modelId="{3AFD78F3-04B5-446B-A3DE-84CBDB0709BC}" type="presOf" srcId="{FA923FD6-7883-43CB-9166-2C1280DAFC7F}" destId="{E42E2DDC-BD44-4ADD-942A-7D692F150740}" srcOrd="1" destOrd="0" presId="urn:microsoft.com/office/officeart/2005/8/layout/hierarchy2"/>
    <dgm:cxn modelId="{CB3FBAF7-B29B-4F30-9B0B-7A74C7342495}" srcId="{AA94EFF7-A132-4AF7-A07F-15B9B3994070}" destId="{11705747-5EBC-4E6D-BE83-9E9782FC201D}" srcOrd="0" destOrd="0" parTransId="{EF613DD7-E01B-4383-8A66-F1BFAB7A4246}" sibTransId="{B78B64A1-60D6-4D67-97F0-8322BB10DB59}"/>
    <dgm:cxn modelId="{E7C84DFC-70FD-4343-806D-9CDEE98C79E3}" type="presOf" srcId="{524ED90E-EDD9-473B-A1F4-5810232C248E}" destId="{60E3A15B-2CEF-414E-8F96-52F15D27BE15}" srcOrd="0" destOrd="0" presId="urn:microsoft.com/office/officeart/2005/8/layout/hierarchy2"/>
    <dgm:cxn modelId="{63CC95FD-590B-46D0-82BC-097CFB3DE202}" type="presOf" srcId="{2E5E05D3-FC92-4001-859E-BF246137FC32}" destId="{103C40C6-10B2-4D25-8236-E4FEE1891E51}" srcOrd="0" destOrd="0" presId="urn:microsoft.com/office/officeart/2005/8/layout/hierarchy2"/>
    <dgm:cxn modelId="{646D2CDE-A9F3-4967-B4BF-44133B172781}" type="presParOf" srcId="{030C2557-C4C4-4F14-A692-D5965003CDC6}" destId="{38789AB8-FF48-4C00-83CA-0C529F9F8BAB}" srcOrd="0" destOrd="0" presId="urn:microsoft.com/office/officeart/2005/8/layout/hierarchy2"/>
    <dgm:cxn modelId="{8FAA3F12-C158-4DA5-99A2-B23E0F4E5624}" type="presParOf" srcId="{38789AB8-FF48-4C00-83CA-0C529F9F8BAB}" destId="{1952A1D3-F943-4C09-B8E4-787D5E9F7779}" srcOrd="0" destOrd="0" presId="urn:microsoft.com/office/officeart/2005/8/layout/hierarchy2"/>
    <dgm:cxn modelId="{DCEC8ED7-4C5D-46B4-AED6-938427346F5F}" type="presParOf" srcId="{38789AB8-FF48-4C00-83CA-0C529F9F8BAB}" destId="{5383B309-021B-4FEB-B940-BF48FB23448B}" srcOrd="1" destOrd="0" presId="urn:microsoft.com/office/officeart/2005/8/layout/hierarchy2"/>
    <dgm:cxn modelId="{CD5C0BD4-80EE-4FF6-B266-CD4A8BD222B7}" type="presParOf" srcId="{5383B309-021B-4FEB-B940-BF48FB23448B}" destId="{8DD5A825-C238-4B04-897A-D730219BB5F3}" srcOrd="0" destOrd="0" presId="urn:microsoft.com/office/officeart/2005/8/layout/hierarchy2"/>
    <dgm:cxn modelId="{4540DED0-F5B5-4EDF-9DDC-71D952706736}" type="presParOf" srcId="{8DD5A825-C238-4B04-897A-D730219BB5F3}" destId="{4F07F796-DCBB-499E-BCDD-13CA167BBEF4}" srcOrd="0" destOrd="0" presId="urn:microsoft.com/office/officeart/2005/8/layout/hierarchy2"/>
    <dgm:cxn modelId="{7E9A1793-4F82-49CA-AEA0-B6C822C82492}" type="presParOf" srcId="{5383B309-021B-4FEB-B940-BF48FB23448B}" destId="{7FB2ABDA-4D82-4B19-882B-4AC128E42259}" srcOrd="1" destOrd="0" presId="urn:microsoft.com/office/officeart/2005/8/layout/hierarchy2"/>
    <dgm:cxn modelId="{A8580E8C-D348-47A3-9A92-527B75383CD6}" type="presParOf" srcId="{7FB2ABDA-4D82-4B19-882B-4AC128E42259}" destId="{B9D0BDA9-0AF5-4465-AC50-445BE7D1459C}" srcOrd="0" destOrd="0" presId="urn:microsoft.com/office/officeart/2005/8/layout/hierarchy2"/>
    <dgm:cxn modelId="{FDB19642-1681-4278-B0DD-03BBFA9BFC6B}" type="presParOf" srcId="{7FB2ABDA-4D82-4B19-882B-4AC128E42259}" destId="{2ED284F3-0A05-425C-81A2-40FA1F9A4394}" srcOrd="1" destOrd="0" presId="urn:microsoft.com/office/officeart/2005/8/layout/hierarchy2"/>
    <dgm:cxn modelId="{45919F11-718A-4436-8F6A-8B25AD7A18B1}" type="presParOf" srcId="{2ED284F3-0A05-425C-81A2-40FA1F9A4394}" destId="{497989A6-485A-47DC-B445-1CE1D7091F22}" srcOrd="0" destOrd="0" presId="urn:microsoft.com/office/officeart/2005/8/layout/hierarchy2"/>
    <dgm:cxn modelId="{64F06A11-0410-4269-BDED-7AB92A17EFE8}" type="presParOf" srcId="{497989A6-485A-47DC-B445-1CE1D7091F22}" destId="{1C5AA80E-151F-44A5-BF24-86755931026F}" srcOrd="0" destOrd="0" presId="urn:microsoft.com/office/officeart/2005/8/layout/hierarchy2"/>
    <dgm:cxn modelId="{2E752123-13C1-44E6-8ACE-9BDD6EB4ED40}" type="presParOf" srcId="{2ED284F3-0A05-425C-81A2-40FA1F9A4394}" destId="{77120A5B-8D85-4A6B-9586-11E594161E3E}" srcOrd="1" destOrd="0" presId="urn:microsoft.com/office/officeart/2005/8/layout/hierarchy2"/>
    <dgm:cxn modelId="{D6EE93B6-2EA4-45AA-BEF4-8A69EF6AE847}" type="presParOf" srcId="{77120A5B-8D85-4A6B-9586-11E594161E3E}" destId="{15B574B4-E09C-4960-9C5D-30723B549758}" srcOrd="0" destOrd="0" presId="urn:microsoft.com/office/officeart/2005/8/layout/hierarchy2"/>
    <dgm:cxn modelId="{EC796D8D-EB09-4A2A-AFB0-1A3BF6B1DE2D}" type="presParOf" srcId="{77120A5B-8D85-4A6B-9586-11E594161E3E}" destId="{D4475C86-5922-48EF-AE2C-4503A4B07D86}" srcOrd="1" destOrd="0" presId="urn:microsoft.com/office/officeart/2005/8/layout/hierarchy2"/>
    <dgm:cxn modelId="{06B72811-F988-4576-BB1B-2891B70FF747}" type="presParOf" srcId="{D4475C86-5922-48EF-AE2C-4503A4B07D86}" destId="{103C40C6-10B2-4D25-8236-E4FEE1891E51}" srcOrd="0" destOrd="0" presId="urn:microsoft.com/office/officeart/2005/8/layout/hierarchy2"/>
    <dgm:cxn modelId="{59C3F513-DDB7-43B7-B69F-FE60C103990B}" type="presParOf" srcId="{103C40C6-10B2-4D25-8236-E4FEE1891E51}" destId="{7842FC2C-2212-46C4-A8CC-5BC224ACC051}" srcOrd="0" destOrd="0" presId="urn:microsoft.com/office/officeart/2005/8/layout/hierarchy2"/>
    <dgm:cxn modelId="{174DDE56-850E-435A-B40F-357C17F8E515}" type="presParOf" srcId="{D4475C86-5922-48EF-AE2C-4503A4B07D86}" destId="{02219CC9-C5CE-41C4-8AF6-84B352AB1146}" srcOrd="1" destOrd="0" presId="urn:microsoft.com/office/officeart/2005/8/layout/hierarchy2"/>
    <dgm:cxn modelId="{C216806A-29E0-453B-8218-0B037BCD07C8}" type="presParOf" srcId="{02219CC9-C5CE-41C4-8AF6-84B352AB1146}" destId="{8BA95CDF-6C14-4C19-8A85-545494941069}" srcOrd="0" destOrd="0" presId="urn:microsoft.com/office/officeart/2005/8/layout/hierarchy2"/>
    <dgm:cxn modelId="{AFA2D45A-CBAD-4CEA-96D3-FDC0F2E2B056}" type="presParOf" srcId="{02219CC9-C5CE-41C4-8AF6-84B352AB1146}" destId="{D7CC689C-8B7A-4541-A715-E670EE2F8DAB}" srcOrd="1" destOrd="0" presId="urn:microsoft.com/office/officeart/2005/8/layout/hierarchy2"/>
    <dgm:cxn modelId="{D37CB65C-F6F4-44ED-8239-95D9373EB3D7}" type="presParOf" srcId="{2ED284F3-0A05-425C-81A2-40FA1F9A4394}" destId="{B2D0F198-6FB5-4346-A471-6EFDCE49A29B}" srcOrd="2" destOrd="0" presId="urn:microsoft.com/office/officeart/2005/8/layout/hierarchy2"/>
    <dgm:cxn modelId="{EC4349C2-6D91-4B7F-8809-04F82A5A198B}" type="presParOf" srcId="{B2D0F198-6FB5-4346-A471-6EFDCE49A29B}" destId="{26DCE4BE-0E6F-4A70-88CE-3E9DF2902457}" srcOrd="0" destOrd="0" presId="urn:microsoft.com/office/officeart/2005/8/layout/hierarchy2"/>
    <dgm:cxn modelId="{C2BCB790-0D78-48CC-BA5D-6FA2D549C18A}" type="presParOf" srcId="{2ED284F3-0A05-425C-81A2-40FA1F9A4394}" destId="{F371A743-C6B2-44C2-A5E9-0FF3A1646331}" srcOrd="3" destOrd="0" presId="urn:microsoft.com/office/officeart/2005/8/layout/hierarchy2"/>
    <dgm:cxn modelId="{A9912817-9455-470B-AF54-E753AF4D3E60}" type="presParOf" srcId="{F371A743-C6B2-44C2-A5E9-0FF3A1646331}" destId="{F4F262D3-E1C9-4341-AD5F-5FF0F4AAD18F}" srcOrd="0" destOrd="0" presId="urn:microsoft.com/office/officeart/2005/8/layout/hierarchy2"/>
    <dgm:cxn modelId="{2E889681-6AD5-4F6E-BFA9-ECBA41038ED1}" type="presParOf" srcId="{F371A743-C6B2-44C2-A5E9-0FF3A1646331}" destId="{207E3352-A806-4EE3-AEDD-F7CABF5FDD2C}" srcOrd="1" destOrd="0" presId="urn:microsoft.com/office/officeart/2005/8/layout/hierarchy2"/>
    <dgm:cxn modelId="{2FD876A3-DEA3-40EE-A06B-74B2FD19159A}" type="presParOf" srcId="{207E3352-A806-4EE3-AEDD-F7CABF5FDD2C}" destId="{60E3A15B-2CEF-414E-8F96-52F15D27BE15}" srcOrd="0" destOrd="0" presId="urn:microsoft.com/office/officeart/2005/8/layout/hierarchy2"/>
    <dgm:cxn modelId="{1C6AF0B6-C7BF-48E7-8934-EB5219E456E5}" type="presParOf" srcId="{60E3A15B-2CEF-414E-8F96-52F15D27BE15}" destId="{4253D433-72FA-4AF5-A43A-6440D6AD258E}" srcOrd="0" destOrd="0" presId="urn:microsoft.com/office/officeart/2005/8/layout/hierarchy2"/>
    <dgm:cxn modelId="{F5DB6DA2-269A-493C-AED5-9C3884468AB6}" type="presParOf" srcId="{207E3352-A806-4EE3-AEDD-F7CABF5FDD2C}" destId="{4468F6A2-2F74-429B-9CA8-B73BFEF10C00}" srcOrd="1" destOrd="0" presId="urn:microsoft.com/office/officeart/2005/8/layout/hierarchy2"/>
    <dgm:cxn modelId="{C1096EA0-6D62-4F2D-A184-9B06E951C8C3}" type="presParOf" srcId="{4468F6A2-2F74-429B-9CA8-B73BFEF10C00}" destId="{91F9EE65-78CD-4016-ADAD-B9838F77563D}" srcOrd="0" destOrd="0" presId="urn:microsoft.com/office/officeart/2005/8/layout/hierarchy2"/>
    <dgm:cxn modelId="{E7E4707F-7613-46D2-A693-62988BE6C6F2}" type="presParOf" srcId="{4468F6A2-2F74-429B-9CA8-B73BFEF10C00}" destId="{FC0B2B92-D54A-4403-A1F7-9D3BE7871B05}" srcOrd="1" destOrd="0" presId="urn:microsoft.com/office/officeart/2005/8/layout/hierarchy2"/>
    <dgm:cxn modelId="{6BA21079-73A8-4DBE-A53F-7891C8DE7EFD}" type="presParOf" srcId="{5383B309-021B-4FEB-B940-BF48FB23448B}" destId="{C3785887-1016-48CB-AAA7-66C6E48B5BB9}" srcOrd="2" destOrd="0" presId="urn:microsoft.com/office/officeart/2005/8/layout/hierarchy2"/>
    <dgm:cxn modelId="{EADF4E1F-DED3-4358-958E-541440DA0FB3}" type="presParOf" srcId="{C3785887-1016-48CB-AAA7-66C6E48B5BB9}" destId="{86FA7ED3-5210-4FF0-B1FF-AAB771CFD248}" srcOrd="0" destOrd="0" presId="urn:microsoft.com/office/officeart/2005/8/layout/hierarchy2"/>
    <dgm:cxn modelId="{1F51F774-C590-4CA5-8EFA-20C1C5DF0D61}" type="presParOf" srcId="{5383B309-021B-4FEB-B940-BF48FB23448B}" destId="{643914FB-E3BF-4963-A8A5-195FA15B92BF}" srcOrd="3" destOrd="0" presId="urn:microsoft.com/office/officeart/2005/8/layout/hierarchy2"/>
    <dgm:cxn modelId="{97203184-FCC2-4D77-8F28-60D042551C73}" type="presParOf" srcId="{643914FB-E3BF-4963-A8A5-195FA15B92BF}" destId="{660E1E0B-0528-4F9B-BA8F-0DADE327E116}" srcOrd="0" destOrd="0" presId="urn:microsoft.com/office/officeart/2005/8/layout/hierarchy2"/>
    <dgm:cxn modelId="{FD41CB36-A19D-4188-8C73-38B56FE1E6F1}" type="presParOf" srcId="{643914FB-E3BF-4963-A8A5-195FA15B92BF}" destId="{4B3D130C-9483-406F-9C39-3F3A826279E1}" srcOrd="1" destOrd="0" presId="urn:microsoft.com/office/officeart/2005/8/layout/hierarchy2"/>
    <dgm:cxn modelId="{CD27B1F9-0D01-4690-8EC4-BB8578C062EE}" type="presParOf" srcId="{4B3D130C-9483-406F-9C39-3F3A826279E1}" destId="{959956EE-AFFB-444A-BC85-CEA7F578C158}" srcOrd="0" destOrd="0" presId="urn:microsoft.com/office/officeart/2005/8/layout/hierarchy2"/>
    <dgm:cxn modelId="{79A6FD28-A604-4091-B7D7-070166331DD8}" type="presParOf" srcId="{959956EE-AFFB-444A-BC85-CEA7F578C158}" destId="{54DC93B4-695E-444E-911E-60593DA4DF18}" srcOrd="0" destOrd="0" presId="urn:microsoft.com/office/officeart/2005/8/layout/hierarchy2"/>
    <dgm:cxn modelId="{2BD950C2-C486-4D4B-9CA8-231722F66305}" type="presParOf" srcId="{4B3D130C-9483-406F-9C39-3F3A826279E1}" destId="{02368403-8591-4C0B-822C-9D9315BEB0DA}" srcOrd="1" destOrd="0" presId="urn:microsoft.com/office/officeart/2005/8/layout/hierarchy2"/>
    <dgm:cxn modelId="{8A6491FD-EAD9-4E08-B379-32CF6B9CB932}" type="presParOf" srcId="{02368403-8591-4C0B-822C-9D9315BEB0DA}" destId="{AABF6F83-FB4D-4469-8B07-14C25572098E}" srcOrd="0" destOrd="0" presId="urn:microsoft.com/office/officeart/2005/8/layout/hierarchy2"/>
    <dgm:cxn modelId="{098303FE-5BB8-4ED7-8258-44CCFC59EEFA}" type="presParOf" srcId="{02368403-8591-4C0B-822C-9D9315BEB0DA}" destId="{C2F1BBB9-BD9C-4E34-BC74-08C58094F2F3}" srcOrd="1" destOrd="0" presId="urn:microsoft.com/office/officeart/2005/8/layout/hierarchy2"/>
    <dgm:cxn modelId="{BC0313BD-8BA3-4816-A991-76406219ADD2}" type="presParOf" srcId="{C2F1BBB9-BD9C-4E34-BC74-08C58094F2F3}" destId="{A9DE26B5-6429-4D86-A79A-3D40770E9A4D}" srcOrd="0" destOrd="0" presId="urn:microsoft.com/office/officeart/2005/8/layout/hierarchy2"/>
    <dgm:cxn modelId="{D158B1F3-F4DD-4B4B-B111-1703746880E8}" type="presParOf" srcId="{A9DE26B5-6429-4D86-A79A-3D40770E9A4D}" destId="{E42E2DDC-BD44-4ADD-942A-7D692F150740}" srcOrd="0" destOrd="0" presId="urn:microsoft.com/office/officeart/2005/8/layout/hierarchy2"/>
    <dgm:cxn modelId="{AE9B92E1-094C-46AA-AE91-3C5F73652760}" type="presParOf" srcId="{C2F1BBB9-BD9C-4E34-BC74-08C58094F2F3}" destId="{FA5C14A9-FA3A-45FF-8D8D-A7EA61851431}" srcOrd="1" destOrd="0" presId="urn:microsoft.com/office/officeart/2005/8/layout/hierarchy2"/>
    <dgm:cxn modelId="{887AF450-EB55-47EC-A021-55A06EE583A7}" type="presParOf" srcId="{FA5C14A9-FA3A-45FF-8D8D-A7EA61851431}" destId="{EE27366F-B3FF-4A32-A176-92A21C720819}" srcOrd="0" destOrd="0" presId="urn:microsoft.com/office/officeart/2005/8/layout/hierarchy2"/>
    <dgm:cxn modelId="{41F9C051-4ADD-43A0-BF51-F19EDE2C8326}" type="presParOf" srcId="{FA5C14A9-FA3A-45FF-8D8D-A7EA61851431}" destId="{827F51A3-EBCB-43EC-B216-0A066FF9CB76}" srcOrd="1" destOrd="0" presId="urn:microsoft.com/office/officeart/2005/8/layout/hierarchy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0C814A-98F6-4C80-BD69-1F1C34E92771}">
      <dsp:nvSpPr>
        <dsp:cNvPr id="0" name=""/>
        <dsp:cNvSpPr/>
      </dsp:nvSpPr>
      <dsp:spPr>
        <a:xfrm>
          <a:off x="1669230" y="45399"/>
          <a:ext cx="2179171" cy="2179171"/>
        </a:xfrm>
        <a:prstGeom prst="ellipse">
          <a:avLst/>
        </a:prstGeom>
        <a:solidFill>
          <a:schemeClr val="accent1">
            <a:shade val="80000"/>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r>
            <a:rPr lang="es-MX" sz="3600" kern="1200" dirty="0"/>
            <a:t>Socio A</a:t>
          </a:r>
        </a:p>
      </dsp:txBody>
      <dsp:txXfrm>
        <a:off x="1959786" y="426754"/>
        <a:ext cx="1598058" cy="980627"/>
      </dsp:txXfrm>
    </dsp:sp>
    <dsp:sp modelId="{87C70601-1252-41D7-AFF9-79A3503DC24E}">
      <dsp:nvSpPr>
        <dsp:cNvPr id="0" name=""/>
        <dsp:cNvSpPr/>
      </dsp:nvSpPr>
      <dsp:spPr>
        <a:xfrm>
          <a:off x="2455548" y="1407381"/>
          <a:ext cx="2179171" cy="2179171"/>
        </a:xfrm>
        <a:prstGeom prst="ellipse">
          <a:avLst/>
        </a:prstGeom>
        <a:solidFill>
          <a:schemeClr val="accent1">
            <a:shade val="80000"/>
            <a:alpha val="50000"/>
            <a:hueOff val="174641"/>
            <a:satOff val="-3128"/>
            <a:lumOff val="132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s-MX" sz="2800" kern="1200" dirty="0"/>
            <a:t>Terceras partes</a:t>
          </a:r>
        </a:p>
      </dsp:txBody>
      <dsp:txXfrm>
        <a:off x="3122011" y="1970333"/>
        <a:ext cx="1307502" cy="1198544"/>
      </dsp:txXfrm>
    </dsp:sp>
    <dsp:sp modelId="{609F83ED-75CB-467F-8921-4D34D69E317D}">
      <dsp:nvSpPr>
        <dsp:cNvPr id="0" name=""/>
        <dsp:cNvSpPr/>
      </dsp:nvSpPr>
      <dsp:spPr>
        <a:xfrm>
          <a:off x="882912" y="1407381"/>
          <a:ext cx="2179171" cy="2179171"/>
        </a:xfrm>
        <a:prstGeom prst="ellipse">
          <a:avLst/>
        </a:prstGeom>
        <a:solidFill>
          <a:schemeClr val="accent1">
            <a:shade val="80000"/>
            <a:alpha val="50000"/>
            <a:hueOff val="349283"/>
            <a:satOff val="-6256"/>
            <a:lumOff val="265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r>
            <a:rPr lang="es-MX" sz="3600" kern="1200" dirty="0"/>
            <a:t>   GIZ</a:t>
          </a:r>
        </a:p>
      </dsp:txBody>
      <dsp:txXfrm>
        <a:off x="1088118" y="1970333"/>
        <a:ext cx="1307502" cy="11985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13BDE53C-E68A-42E6-AFB0-AF5C1BDE8E3C}" type="datetimeFigureOut">
              <a:rPr lang="es-ES" smtClean="0"/>
              <a:pPr/>
              <a:t>19/11/2020</a:t>
            </a:fld>
            <a:endParaRPr lang="es-ES"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Formatvorlagen des Textmasters bearbeiten</a:t>
            </a:r>
          </a:p>
          <a:p>
            <a:pPr lvl="1"/>
            <a:r>
              <a:rPr lang="es-ES"/>
              <a:t>Zweite Ebene</a:t>
            </a:r>
          </a:p>
          <a:p>
            <a:pPr lvl="2"/>
            <a:r>
              <a:rPr lang="es-ES"/>
              <a:t>Dritte Ebene</a:t>
            </a:r>
          </a:p>
          <a:p>
            <a:pPr lvl="3"/>
            <a:r>
              <a:rPr lang="es-ES"/>
              <a:t>Vierte Ebene</a:t>
            </a:r>
          </a:p>
          <a:p>
            <a:pPr lvl="4"/>
            <a:r>
              <a:rPr lang="es-ES"/>
              <a:t>Fünfte Ebene</a:t>
            </a:r>
            <a:endParaRPr lang="es-ES"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4045F879-0589-40D4-B0E5-B74D0CAD5C6C}" type="slidenum">
              <a:rPr lang="es-ES" smtClean="0"/>
              <a:pPr/>
              <a:t>‹Nº›</a:t>
            </a:fld>
            <a:endParaRPr lang="es-ES" dirty="0"/>
          </a:p>
        </p:txBody>
      </p:sp>
    </p:spTree>
    <p:extLst>
      <p:ext uri="{BB962C8B-B14F-4D97-AF65-F5344CB8AC3E}">
        <p14:creationId xmlns:p14="http://schemas.microsoft.com/office/powerpoint/2010/main" val="3260952645"/>
      </p:ext>
    </p:extLst>
  </p:cSld>
  <p:clrMap bg1="lt1" tx1="dk1" bg2="lt2" tx2="dk2" accent1="accent1" accent2="accent2" accent3="accent3" accent4="accent4" accent5="accent5" accent6="accent6" hlink="hlink" folHlink="folHlink"/>
  <p:notesStyle>
    <a:lvl1pPr marL="0" algn="l" defTabSz="914300" rtl="0" eaLnBrk="1" latinLnBrk="0" hangingPunct="1">
      <a:defRPr sz="1200" kern="1200">
        <a:solidFill>
          <a:schemeClr val="tx1"/>
        </a:solidFill>
        <a:latin typeface="Arial" panose="020B0604020202020204" pitchFamily="34" charset="0"/>
        <a:ea typeface="+mn-ea"/>
        <a:cs typeface="+mn-cs"/>
      </a:defRPr>
    </a:lvl1pPr>
    <a:lvl2pPr marL="457150" algn="l" defTabSz="914300" rtl="0" eaLnBrk="1" latinLnBrk="0" hangingPunct="1">
      <a:defRPr sz="1200" kern="1200">
        <a:solidFill>
          <a:schemeClr val="tx1"/>
        </a:solidFill>
        <a:latin typeface="Arial" panose="020B0604020202020204" pitchFamily="34" charset="0"/>
        <a:ea typeface="+mn-ea"/>
        <a:cs typeface="+mn-cs"/>
      </a:defRPr>
    </a:lvl2pPr>
    <a:lvl3pPr marL="914300" algn="l" defTabSz="914300" rtl="0" eaLnBrk="1" latinLnBrk="0" hangingPunct="1">
      <a:defRPr sz="1200" kern="1200">
        <a:solidFill>
          <a:schemeClr val="tx1"/>
        </a:solidFill>
        <a:latin typeface="Arial" panose="020B0604020202020204" pitchFamily="34" charset="0"/>
        <a:ea typeface="+mn-ea"/>
        <a:cs typeface="+mn-cs"/>
      </a:defRPr>
    </a:lvl3pPr>
    <a:lvl4pPr marL="1371451" algn="l" defTabSz="914300" rtl="0" eaLnBrk="1" latinLnBrk="0" hangingPunct="1">
      <a:defRPr sz="1200" kern="1200">
        <a:solidFill>
          <a:schemeClr val="tx1"/>
        </a:solidFill>
        <a:latin typeface="Arial" panose="020B0604020202020204" pitchFamily="34" charset="0"/>
        <a:ea typeface="+mn-ea"/>
        <a:cs typeface="+mn-cs"/>
      </a:defRPr>
    </a:lvl4pPr>
    <a:lvl5pPr marL="1828602" algn="l" defTabSz="914300" rtl="0" eaLnBrk="1" latinLnBrk="0" hangingPunct="1">
      <a:defRPr sz="1200" kern="1200">
        <a:solidFill>
          <a:schemeClr val="tx1"/>
        </a:solidFill>
        <a:latin typeface="Arial" panose="020B0604020202020204" pitchFamily="34" charset="0"/>
        <a:ea typeface="+mn-ea"/>
        <a:cs typeface="+mn-cs"/>
      </a:defRPr>
    </a:lvl5pPr>
    <a:lvl6pPr marL="2285752" algn="l" defTabSz="914300" rtl="0" eaLnBrk="1" latinLnBrk="0" hangingPunct="1">
      <a:defRPr sz="1200" kern="1200">
        <a:solidFill>
          <a:schemeClr val="tx1"/>
        </a:solidFill>
        <a:latin typeface="+mn-lt"/>
        <a:ea typeface="+mn-ea"/>
        <a:cs typeface="+mn-cs"/>
      </a:defRPr>
    </a:lvl6pPr>
    <a:lvl7pPr marL="2742902" algn="l" defTabSz="914300" rtl="0" eaLnBrk="1" latinLnBrk="0" hangingPunct="1">
      <a:defRPr sz="1200" kern="1200">
        <a:solidFill>
          <a:schemeClr val="tx1"/>
        </a:solidFill>
        <a:latin typeface="+mn-lt"/>
        <a:ea typeface="+mn-ea"/>
        <a:cs typeface="+mn-cs"/>
      </a:defRPr>
    </a:lvl7pPr>
    <a:lvl8pPr marL="3200053" algn="l" defTabSz="914300" rtl="0" eaLnBrk="1" latinLnBrk="0" hangingPunct="1">
      <a:defRPr sz="1200" kern="1200">
        <a:solidFill>
          <a:schemeClr val="tx1"/>
        </a:solidFill>
        <a:latin typeface="+mn-lt"/>
        <a:ea typeface="+mn-ea"/>
        <a:cs typeface="+mn-cs"/>
      </a:defRPr>
    </a:lvl8pPr>
    <a:lvl9pPr marL="3657205" algn="l" defTabSz="9143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045F879-0589-40D4-B0E5-B74D0CAD5C6C}" type="slidenum">
              <a:rPr lang="es-ES" smtClean="0"/>
              <a:pPr/>
              <a:t>1</a:t>
            </a:fld>
            <a:endParaRPr lang="es-ES" dirty="0"/>
          </a:p>
        </p:txBody>
      </p:sp>
    </p:spTree>
    <p:extLst>
      <p:ext uri="{BB962C8B-B14F-4D97-AF65-F5344CB8AC3E}">
        <p14:creationId xmlns:p14="http://schemas.microsoft.com/office/powerpoint/2010/main" val="966178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695450" y="611188"/>
            <a:ext cx="3575050" cy="2681287"/>
          </a:xfrm>
        </p:spPr>
      </p:sp>
      <p:sp>
        <p:nvSpPr>
          <p:cNvPr id="3" name="Notizenplatzhalter 2"/>
          <p:cNvSpPr>
            <a:spLocks noGrp="1"/>
          </p:cNvSpPr>
          <p:nvPr>
            <p:ph type="body" idx="1"/>
          </p:nvPr>
        </p:nvSpPr>
        <p:spPr/>
        <p:txBody>
          <a:bodyPr/>
          <a:lstStyle/>
          <a:p>
            <a:endParaRPr lang="de-DE" dirty="0"/>
          </a:p>
        </p:txBody>
      </p:sp>
      <p:sp>
        <p:nvSpPr>
          <p:cNvPr id="5" name="Datumsplatzhalter 4"/>
          <p:cNvSpPr>
            <a:spLocks noGrp="1"/>
          </p:cNvSpPr>
          <p:nvPr>
            <p:ph type="dt" idx="11"/>
          </p:nvPr>
        </p:nvSpPr>
        <p:spPr/>
        <p:txBody>
          <a:bodyPr/>
          <a:lstStyle/>
          <a:p>
            <a:fld id="{C68EE5D5-B431-442B-857E-A1478564C9D5}" type="datetime1">
              <a:rPr lang="de-DE" smtClean="0"/>
              <a:pPr/>
              <a:t>19.11.2020</a:t>
            </a:fld>
            <a:endParaRPr lang="de-DE" dirty="0"/>
          </a:p>
        </p:txBody>
      </p:sp>
    </p:spTree>
    <p:extLst>
      <p:ext uri="{BB962C8B-B14F-4D97-AF65-F5344CB8AC3E}">
        <p14:creationId xmlns:p14="http://schemas.microsoft.com/office/powerpoint/2010/main" val="16653139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695450" y="611188"/>
            <a:ext cx="3575050" cy="2681287"/>
          </a:xfrm>
        </p:spPr>
      </p:sp>
      <p:sp>
        <p:nvSpPr>
          <p:cNvPr id="3" name="Notizenplatzhalter 2"/>
          <p:cNvSpPr>
            <a:spLocks noGrp="1"/>
          </p:cNvSpPr>
          <p:nvPr>
            <p:ph type="body" idx="1"/>
          </p:nvPr>
        </p:nvSpPr>
        <p:spPr/>
        <p:txBody>
          <a:bodyPr/>
          <a:lstStyle/>
          <a:p>
            <a:endParaRPr lang="de-DE" dirty="0"/>
          </a:p>
        </p:txBody>
      </p:sp>
      <p:sp>
        <p:nvSpPr>
          <p:cNvPr id="5" name="Datumsplatzhalter 4"/>
          <p:cNvSpPr>
            <a:spLocks noGrp="1"/>
          </p:cNvSpPr>
          <p:nvPr>
            <p:ph type="dt" idx="11"/>
          </p:nvPr>
        </p:nvSpPr>
        <p:spPr/>
        <p:txBody>
          <a:bodyPr/>
          <a:lstStyle/>
          <a:p>
            <a:fld id="{1502A82B-1999-41F4-B888-E21813A3EAFA}" type="datetime1">
              <a:rPr lang="de-DE" smtClean="0"/>
              <a:pPr/>
              <a:t>19.11.2020</a:t>
            </a:fld>
            <a:endParaRPr lang="de-DE" dirty="0"/>
          </a:p>
        </p:txBody>
      </p:sp>
    </p:spTree>
    <p:extLst>
      <p:ext uri="{BB962C8B-B14F-4D97-AF65-F5344CB8AC3E}">
        <p14:creationId xmlns:p14="http://schemas.microsoft.com/office/powerpoint/2010/main" val="10259887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695450" y="611188"/>
            <a:ext cx="3575050" cy="2681287"/>
          </a:xfrm>
        </p:spPr>
      </p:sp>
      <p:sp>
        <p:nvSpPr>
          <p:cNvPr id="3" name="Notizenplatzhalter 2"/>
          <p:cNvSpPr>
            <a:spLocks noGrp="1"/>
          </p:cNvSpPr>
          <p:nvPr>
            <p:ph type="body" idx="1"/>
          </p:nvPr>
        </p:nvSpPr>
        <p:spPr/>
        <p:txBody>
          <a:bodyPr/>
          <a:lstStyle/>
          <a:p>
            <a:endParaRPr lang="de-DE" dirty="0"/>
          </a:p>
        </p:txBody>
      </p:sp>
      <p:sp>
        <p:nvSpPr>
          <p:cNvPr id="5" name="Datumsplatzhalter 4"/>
          <p:cNvSpPr>
            <a:spLocks noGrp="1"/>
          </p:cNvSpPr>
          <p:nvPr>
            <p:ph type="dt" idx="11"/>
          </p:nvPr>
        </p:nvSpPr>
        <p:spPr/>
        <p:txBody>
          <a:bodyPr/>
          <a:lstStyle/>
          <a:p>
            <a:fld id="{C68EE5D5-B431-442B-857E-A1478564C9D5}" type="datetime1">
              <a:rPr lang="de-DE" smtClean="0"/>
              <a:pPr/>
              <a:t>19.11.2020</a:t>
            </a:fld>
            <a:endParaRPr lang="de-DE" dirty="0"/>
          </a:p>
        </p:txBody>
      </p:sp>
    </p:spTree>
    <p:extLst>
      <p:ext uri="{BB962C8B-B14F-4D97-AF65-F5344CB8AC3E}">
        <p14:creationId xmlns:p14="http://schemas.microsoft.com/office/powerpoint/2010/main" val="23010552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695450" y="611188"/>
            <a:ext cx="3575050" cy="2681287"/>
          </a:xfrm>
        </p:spPr>
      </p:sp>
      <p:sp>
        <p:nvSpPr>
          <p:cNvPr id="3" name="Notizenplatzhalter 2"/>
          <p:cNvSpPr>
            <a:spLocks noGrp="1"/>
          </p:cNvSpPr>
          <p:nvPr>
            <p:ph type="body" idx="1"/>
          </p:nvPr>
        </p:nvSpPr>
        <p:spPr/>
        <p:txBody>
          <a:bodyPr/>
          <a:lstStyle/>
          <a:p>
            <a:pPr defTabSz="906081">
              <a:defRPr/>
            </a:pPr>
            <a:endParaRPr lang="de-DE" dirty="0">
              <a:solidFill>
                <a:prstClr val="black"/>
              </a:solidFill>
              <a:latin typeface="Arial" panose="020B0604020202020204" pitchFamily="34" charset="0"/>
              <a:cs typeface="Arial" panose="020B0604020202020204" pitchFamily="34" charset="0"/>
            </a:endParaRPr>
          </a:p>
        </p:txBody>
      </p:sp>
      <p:sp>
        <p:nvSpPr>
          <p:cNvPr id="5" name="Datumsplatzhalter 4"/>
          <p:cNvSpPr>
            <a:spLocks noGrp="1"/>
          </p:cNvSpPr>
          <p:nvPr>
            <p:ph type="dt" idx="11"/>
          </p:nvPr>
        </p:nvSpPr>
        <p:spPr/>
        <p:txBody>
          <a:bodyPr/>
          <a:lstStyle/>
          <a:p>
            <a:fld id="{CB93F4B5-DA07-4DFD-BA3F-E0BEC891DDEE}" type="datetime1">
              <a:rPr lang="de-DE" smtClean="0"/>
              <a:pPr/>
              <a:t>19.11.2020</a:t>
            </a:fld>
            <a:endParaRPr lang="de-DE" dirty="0"/>
          </a:p>
        </p:txBody>
      </p:sp>
    </p:spTree>
    <p:extLst>
      <p:ext uri="{BB962C8B-B14F-4D97-AF65-F5344CB8AC3E}">
        <p14:creationId xmlns:p14="http://schemas.microsoft.com/office/powerpoint/2010/main" val="5867222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695450" y="611188"/>
            <a:ext cx="3575050" cy="2681287"/>
          </a:xfrm>
        </p:spPr>
      </p:sp>
      <p:sp>
        <p:nvSpPr>
          <p:cNvPr id="3" name="Notizenplatzhalter 2"/>
          <p:cNvSpPr>
            <a:spLocks noGrp="1"/>
          </p:cNvSpPr>
          <p:nvPr>
            <p:ph type="body" idx="1"/>
          </p:nvPr>
        </p:nvSpPr>
        <p:spPr/>
        <p:txBody>
          <a:bodyPr/>
          <a:lstStyle/>
          <a:p>
            <a:endParaRPr lang="de-DE" dirty="0">
              <a:latin typeface="Arial" panose="020B0604020202020204" pitchFamily="34" charset="0"/>
              <a:cs typeface="Arial" panose="020B0604020202020204" pitchFamily="34" charset="0"/>
            </a:endParaRPr>
          </a:p>
        </p:txBody>
      </p:sp>
      <p:sp>
        <p:nvSpPr>
          <p:cNvPr id="5" name="Datumsplatzhalter 4"/>
          <p:cNvSpPr>
            <a:spLocks noGrp="1"/>
          </p:cNvSpPr>
          <p:nvPr>
            <p:ph type="dt" idx="11"/>
          </p:nvPr>
        </p:nvSpPr>
        <p:spPr/>
        <p:txBody>
          <a:bodyPr/>
          <a:lstStyle/>
          <a:p>
            <a:fld id="{A426B70C-7AC7-462D-9D49-95BA2BD297FF}" type="datetime1">
              <a:rPr lang="de-DE" smtClean="0"/>
              <a:pPr/>
              <a:t>19.11.2020</a:t>
            </a:fld>
            <a:endParaRPr lang="de-DE" dirty="0"/>
          </a:p>
        </p:txBody>
      </p:sp>
    </p:spTree>
    <p:extLst>
      <p:ext uri="{BB962C8B-B14F-4D97-AF65-F5344CB8AC3E}">
        <p14:creationId xmlns:p14="http://schemas.microsoft.com/office/powerpoint/2010/main" val="5326126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695450" y="611188"/>
            <a:ext cx="3575050" cy="2681287"/>
          </a:xfrm>
        </p:spPr>
      </p:sp>
      <p:sp>
        <p:nvSpPr>
          <p:cNvPr id="3" name="Notizenplatzhalter 2"/>
          <p:cNvSpPr>
            <a:spLocks noGrp="1"/>
          </p:cNvSpPr>
          <p:nvPr>
            <p:ph type="body" idx="1"/>
          </p:nvPr>
        </p:nvSpPr>
        <p:spPr/>
        <p:txBody>
          <a:bodyPr/>
          <a:lstStyle/>
          <a:p>
            <a:pPr defTabSz="906081">
              <a:defRPr/>
            </a:pPr>
            <a:endParaRPr lang="de-DE" dirty="0">
              <a:solidFill>
                <a:prstClr val="black"/>
              </a:solidFill>
              <a:latin typeface="Arial" panose="020B0604020202020204" pitchFamily="34" charset="0"/>
              <a:cs typeface="Arial" panose="020B0604020202020204" pitchFamily="34" charset="0"/>
            </a:endParaRPr>
          </a:p>
        </p:txBody>
      </p:sp>
      <p:sp>
        <p:nvSpPr>
          <p:cNvPr id="5" name="Datumsplatzhalter 4"/>
          <p:cNvSpPr>
            <a:spLocks noGrp="1"/>
          </p:cNvSpPr>
          <p:nvPr>
            <p:ph type="dt" idx="11"/>
          </p:nvPr>
        </p:nvSpPr>
        <p:spPr/>
        <p:txBody>
          <a:bodyPr/>
          <a:lstStyle/>
          <a:p>
            <a:fld id="{CB93F4B5-DA07-4DFD-BA3F-E0BEC891DDEE}" type="datetime1">
              <a:rPr lang="de-DE" smtClean="0"/>
              <a:pPr/>
              <a:t>19.11.2020</a:t>
            </a:fld>
            <a:endParaRPr lang="de-DE" dirty="0"/>
          </a:p>
        </p:txBody>
      </p:sp>
    </p:spTree>
    <p:extLst>
      <p:ext uri="{BB962C8B-B14F-4D97-AF65-F5344CB8AC3E}">
        <p14:creationId xmlns:p14="http://schemas.microsoft.com/office/powerpoint/2010/main" val="30263958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695450" y="611188"/>
            <a:ext cx="3575050" cy="2681287"/>
          </a:xfrm>
        </p:spPr>
      </p:sp>
      <p:sp>
        <p:nvSpPr>
          <p:cNvPr id="3" name="Notizenplatzhalter 2"/>
          <p:cNvSpPr>
            <a:spLocks noGrp="1"/>
          </p:cNvSpPr>
          <p:nvPr>
            <p:ph type="body" idx="1"/>
          </p:nvPr>
        </p:nvSpPr>
        <p:spPr/>
        <p:txBody>
          <a:bodyPr/>
          <a:lstStyle/>
          <a:p>
            <a:r>
              <a:rPr lang="de-DE" dirty="0">
                <a:latin typeface="Arial" panose="020B0604020202020204" pitchFamily="34" charset="0"/>
                <a:cs typeface="Arial" panose="020B0604020202020204" pitchFamily="34" charset="0"/>
              </a:rPr>
              <a:t>Por favor inserte aquí sus datos de contacto.</a:t>
            </a:r>
          </a:p>
          <a:p>
            <a:endParaRPr lang="de-DE" dirty="0">
              <a:latin typeface="Arial" panose="020B0604020202020204" pitchFamily="34" charset="0"/>
              <a:cs typeface="Arial" panose="020B0604020202020204" pitchFamily="34" charset="0"/>
            </a:endParaRPr>
          </a:p>
          <a:p>
            <a:endParaRPr lang="de-DE" dirty="0"/>
          </a:p>
        </p:txBody>
      </p:sp>
      <p:sp>
        <p:nvSpPr>
          <p:cNvPr id="5" name="Datumsplatzhalter 4"/>
          <p:cNvSpPr>
            <a:spLocks noGrp="1"/>
          </p:cNvSpPr>
          <p:nvPr>
            <p:ph type="dt" idx="11"/>
          </p:nvPr>
        </p:nvSpPr>
        <p:spPr/>
        <p:txBody>
          <a:bodyPr/>
          <a:lstStyle/>
          <a:p>
            <a:fld id="{DEFA4901-DAB4-4BDD-ADF7-FAE1372DBB27}" type="datetime1">
              <a:rPr lang="de-DE" smtClean="0"/>
              <a:pPr/>
              <a:t>19.11.2020</a:t>
            </a:fld>
            <a:endParaRPr lang="de-DE" dirty="0"/>
          </a:p>
        </p:txBody>
      </p:sp>
    </p:spTree>
    <p:extLst>
      <p:ext uri="{BB962C8B-B14F-4D97-AF65-F5344CB8AC3E}">
        <p14:creationId xmlns:p14="http://schemas.microsoft.com/office/powerpoint/2010/main" val="5549876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695450" y="611188"/>
            <a:ext cx="3575050" cy="2681287"/>
          </a:xfrm>
        </p:spPr>
      </p:sp>
      <p:sp>
        <p:nvSpPr>
          <p:cNvPr id="3" name="Notizenplatzhalter 2"/>
          <p:cNvSpPr>
            <a:spLocks noGrp="1"/>
          </p:cNvSpPr>
          <p:nvPr>
            <p:ph type="body" idx="1"/>
          </p:nvPr>
        </p:nvSpPr>
        <p:spPr/>
        <p:txBody>
          <a:bodyPr/>
          <a:lstStyle/>
          <a:p>
            <a:endParaRPr lang="de-DE" dirty="0"/>
          </a:p>
        </p:txBody>
      </p:sp>
      <p:sp>
        <p:nvSpPr>
          <p:cNvPr id="5" name="Datumsplatzhalter 4"/>
          <p:cNvSpPr>
            <a:spLocks noGrp="1"/>
          </p:cNvSpPr>
          <p:nvPr>
            <p:ph type="dt" idx="11"/>
          </p:nvPr>
        </p:nvSpPr>
        <p:spPr/>
        <p:txBody>
          <a:bodyPr/>
          <a:lstStyle/>
          <a:p>
            <a:fld id="{B785A131-B28E-45F7-9EA6-3AFB31824DE6}" type="datetime1">
              <a:rPr lang="de-DE" smtClean="0"/>
              <a:pPr/>
              <a:t>19.11.2020</a:t>
            </a:fld>
            <a:endParaRPr lang="de-DE" dirty="0"/>
          </a:p>
        </p:txBody>
      </p:sp>
    </p:spTree>
    <p:extLst>
      <p:ext uri="{BB962C8B-B14F-4D97-AF65-F5344CB8AC3E}">
        <p14:creationId xmlns:p14="http://schemas.microsoft.com/office/powerpoint/2010/main" val="25291791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76F4F92-661F-4424-ADED-7D3829A4203F}" type="slidenum">
              <a:rPr lang="de-DE" smtClean="0"/>
              <a:pPr/>
              <a:t>25</a:t>
            </a:fld>
            <a:endParaRPr lang="de-DE"/>
          </a:p>
        </p:txBody>
      </p:sp>
    </p:spTree>
    <p:extLst>
      <p:ext uri="{BB962C8B-B14F-4D97-AF65-F5344CB8AC3E}">
        <p14:creationId xmlns:p14="http://schemas.microsoft.com/office/powerpoint/2010/main" val="2097512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045F879-0589-40D4-B0E5-B74D0CAD5C6C}" type="slidenum">
              <a:rPr lang="es-ES" smtClean="0"/>
              <a:pPr/>
              <a:t>27</a:t>
            </a:fld>
            <a:endParaRPr lang="es-ES" dirty="0"/>
          </a:p>
        </p:txBody>
      </p:sp>
    </p:spTree>
    <p:extLst>
      <p:ext uri="{BB962C8B-B14F-4D97-AF65-F5344CB8AC3E}">
        <p14:creationId xmlns:p14="http://schemas.microsoft.com/office/powerpoint/2010/main" val="3351241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045F879-0589-40D4-B0E5-B74D0CAD5C6C}" type="slidenum">
              <a:rPr lang="es-ES" smtClean="0"/>
              <a:pPr/>
              <a:t>2</a:t>
            </a:fld>
            <a:endParaRPr lang="es-ES" dirty="0"/>
          </a:p>
        </p:txBody>
      </p:sp>
    </p:spTree>
    <p:extLst>
      <p:ext uri="{BB962C8B-B14F-4D97-AF65-F5344CB8AC3E}">
        <p14:creationId xmlns:p14="http://schemas.microsoft.com/office/powerpoint/2010/main" val="7390791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s-MX" dirty="0"/>
              <a:t>Propuesta de mensajes: (AL) Énfasis en CC no funciona sin las agendas internacionales. Si lo que trabajamos no escala a la Agenda Internacional, no pasa nada. </a:t>
            </a:r>
          </a:p>
          <a:p>
            <a:r>
              <a:rPr lang="es-MX" dirty="0"/>
              <a:t>En este sentido, como clúster tenemos diferentes esferas de acción.</a:t>
            </a:r>
          </a:p>
          <a:p>
            <a:r>
              <a:rPr lang="es-MX" dirty="0"/>
              <a:t>Buscamos que las agendas internacionales sean implementadas en MX y se hace a través del Gob. Federal…..</a:t>
            </a:r>
          </a:p>
          <a:p>
            <a:r>
              <a:rPr lang="es-MX" dirty="0"/>
              <a:t>Trabajo vertical de manera </a:t>
            </a:r>
            <a:r>
              <a:rPr lang="es-MX" dirty="0" err="1"/>
              <a:t>int</a:t>
            </a:r>
            <a:r>
              <a:rPr lang="es-MX" dirty="0"/>
              <a:t> – a local y viceversa…</a:t>
            </a:r>
          </a:p>
          <a:p>
            <a:endParaRPr lang="de-DE" dirty="0"/>
          </a:p>
        </p:txBody>
      </p:sp>
      <p:sp>
        <p:nvSpPr>
          <p:cNvPr id="4" name="Foliennummernplatzhalter 3"/>
          <p:cNvSpPr>
            <a:spLocks noGrp="1"/>
          </p:cNvSpPr>
          <p:nvPr>
            <p:ph type="sldNum" sz="quarter" idx="5"/>
          </p:nvPr>
        </p:nvSpPr>
        <p:spPr/>
        <p:txBody>
          <a:bodyPr/>
          <a:lstStyle/>
          <a:p>
            <a:fld id="{4045F879-0589-40D4-B0E5-B74D0CAD5C6C}" type="slidenum">
              <a:rPr lang="es-ES" smtClean="0"/>
              <a:pPr/>
              <a:t>3</a:t>
            </a:fld>
            <a:endParaRPr lang="es-ES" dirty="0"/>
          </a:p>
        </p:txBody>
      </p:sp>
    </p:spTree>
    <p:extLst>
      <p:ext uri="{BB962C8B-B14F-4D97-AF65-F5344CB8AC3E}">
        <p14:creationId xmlns:p14="http://schemas.microsoft.com/office/powerpoint/2010/main" val="230954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s-MX" dirty="0"/>
              <a:t>Propuesta de mensajes: (AL) Énfasis en CC no funciona sin las agendas internacionales. Si lo que trabajamos no escala a la Agenda Internacional, no pasa nada. </a:t>
            </a:r>
          </a:p>
          <a:p>
            <a:r>
              <a:rPr lang="es-MX" dirty="0"/>
              <a:t>En este sentido, como clúster tenemos diferentes esferas de acción.</a:t>
            </a:r>
          </a:p>
          <a:p>
            <a:r>
              <a:rPr lang="es-MX" dirty="0"/>
              <a:t>Buscamos que las agendas internacionales sean implementadas en MX y se hace a través del Gob. Federal…..</a:t>
            </a:r>
          </a:p>
          <a:p>
            <a:r>
              <a:rPr lang="es-MX" dirty="0"/>
              <a:t>Trabajo vertical de manera </a:t>
            </a:r>
            <a:r>
              <a:rPr lang="es-MX" dirty="0" err="1"/>
              <a:t>int</a:t>
            </a:r>
            <a:r>
              <a:rPr lang="es-MX" dirty="0"/>
              <a:t> – a local y viceversa…</a:t>
            </a:r>
          </a:p>
          <a:p>
            <a:endParaRPr lang="de-DE" dirty="0"/>
          </a:p>
        </p:txBody>
      </p:sp>
      <p:sp>
        <p:nvSpPr>
          <p:cNvPr id="4" name="Foliennummernplatzhalter 3"/>
          <p:cNvSpPr>
            <a:spLocks noGrp="1"/>
          </p:cNvSpPr>
          <p:nvPr>
            <p:ph type="sldNum" sz="quarter" idx="5"/>
          </p:nvPr>
        </p:nvSpPr>
        <p:spPr/>
        <p:txBody>
          <a:bodyPr/>
          <a:lstStyle/>
          <a:p>
            <a:fld id="{4045F879-0589-40D4-B0E5-B74D0CAD5C6C}" type="slidenum">
              <a:rPr lang="es-ES" smtClean="0"/>
              <a:pPr/>
              <a:t>4</a:t>
            </a:fld>
            <a:endParaRPr lang="es-ES" dirty="0"/>
          </a:p>
        </p:txBody>
      </p:sp>
    </p:spTree>
    <p:extLst>
      <p:ext uri="{BB962C8B-B14F-4D97-AF65-F5344CB8AC3E}">
        <p14:creationId xmlns:p14="http://schemas.microsoft.com/office/powerpoint/2010/main" val="3470817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s-MX" dirty="0"/>
              <a:t>Propuesta de mensaje. Esta lamina sirve para comunicar el propósito de nuestro trabajo, por lo que en la presentación se puede utilizar también la pregunta: ¿Para qué trabajamos en el Clúster de cambio climático? Ej. Para que México adopte políticas eficaces de mitigación y adaptación, etc. </a:t>
            </a:r>
          </a:p>
          <a:p>
            <a:r>
              <a:rPr lang="es-MX" dirty="0"/>
              <a:t> </a:t>
            </a:r>
          </a:p>
          <a:p>
            <a:r>
              <a:rPr lang="es-MX" dirty="0"/>
              <a:t>JR: A primera vista uno se pierde un poco….si se puede poner </a:t>
            </a:r>
            <a:r>
              <a:rPr lang="es-MX" dirty="0" err="1"/>
              <a:t>keyword</a:t>
            </a:r>
            <a:r>
              <a:rPr lang="es-MX" dirty="0"/>
              <a:t>  por punto o como </a:t>
            </a:r>
            <a:r>
              <a:rPr lang="es-MX" dirty="0" err="1"/>
              <a:t>heading</a:t>
            </a:r>
            <a:r>
              <a:rPr lang="es-MX" dirty="0"/>
              <a:t>….trabajar un punto mas en lo gráfico….</a:t>
            </a:r>
          </a:p>
          <a:p>
            <a:r>
              <a:rPr lang="es-MX" dirty="0"/>
              <a:t>Agregar </a:t>
            </a:r>
            <a:r>
              <a:rPr lang="es-MX" dirty="0" err="1"/>
              <a:t>slide</a:t>
            </a:r>
            <a:r>
              <a:rPr lang="es-MX" dirty="0"/>
              <a:t>. Tal vez solo poner </a:t>
            </a:r>
            <a:r>
              <a:rPr lang="es-MX" dirty="0" err="1"/>
              <a:t>keywords</a:t>
            </a:r>
            <a:r>
              <a:rPr lang="es-MX" dirty="0"/>
              <a:t>. Hacer dos versiones de la lámina – mensajes cortos y largos. Listo, se atiende sugerencia. </a:t>
            </a:r>
          </a:p>
          <a:p>
            <a:r>
              <a:rPr lang="es-MX" dirty="0"/>
              <a:t>MF: Si yo fuera alguien de otra cooperación me chocaría la estructura de los sectores. Listo se atiende sugerencia cambiando estructura de sectores. </a:t>
            </a:r>
          </a:p>
          <a:p>
            <a:r>
              <a:rPr lang="es-MX" dirty="0"/>
              <a:t>Para ejemplificar el tema de adaptación nos enfocamos en el tema de ……</a:t>
            </a:r>
          </a:p>
          <a:p>
            <a:r>
              <a:rPr lang="es-MX" dirty="0"/>
              <a:t>Federal, estados e internacional y luego los tres sectores.</a:t>
            </a:r>
          </a:p>
          <a:p>
            <a:endParaRPr lang="de-DE" dirty="0"/>
          </a:p>
        </p:txBody>
      </p:sp>
      <p:sp>
        <p:nvSpPr>
          <p:cNvPr id="4" name="Foliennummernplatzhalter 3"/>
          <p:cNvSpPr>
            <a:spLocks noGrp="1"/>
          </p:cNvSpPr>
          <p:nvPr>
            <p:ph type="sldNum" sz="quarter" idx="5"/>
          </p:nvPr>
        </p:nvSpPr>
        <p:spPr/>
        <p:txBody>
          <a:bodyPr/>
          <a:lstStyle/>
          <a:p>
            <a:fld id="{4045F879-0589-40D4-B0E5-B74D0CAD5C6C}" type="slidenum">
              <a:rPr lang="es-ES" smtClean="0"/>
              <a:pPr/>
              <a:t>5</a:t>
            </a:fld>
            <a:endParaRPr lang="es-ES" dirty="0"/>
          </a:p>
        </p:txBody>
      </p:sp>
    </p:spTree>
    <p:extLst>
      <p:ext uri="{BB962C8B-B14F-4D97-AF65-F5344CB8AC3E}">
        <p14:creationId xmlns:p14="http://schemas.microsoft.com/office/powerpoint/2010/main" val="12092077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300" rtl="0" eaLnBrk="1" fontAlgn="auto" latinLnBrk="0" hangingPunct="1">
              <a:lnSpc>
                <a:spcPct val="100000"/>
              </a:lnSpc>
              <a:spcBef>
                <a:spcPts val="0"/>
              </a:spcBef>
              <a:spcAft>
                <a:spcPts val="0"/>
              </a:spcAft>
              <a:buClrTx/>
              <a:buSzTx/>
              <a:buFontTx/>
              <a:buNone/>
              <a:tabLst/>
              <a:defRPr/>
            </a:pPr>
            <a:r>
              <a:rPr lang="es-ES" dirty="0"/>
              <a:t>Mensaje propuesto: Y esto permite que además de difundir, se puedan conformar las redes de conocimiento….</a:t>
            </a:r>
          </a:p>
          <a:p>
            <a:endParaRPr lang="de-DE" dirty="0"/>
          </a:p>
        </p:txBody>
      </p:sp>
      <p:sp>
        <p:nvSpPr>
          <p:cNvPr id="4" name="Foliennummernplatzhalter 3"/>
          <p:cNvSpPr>
            <a:spLocks noGrp="1"/>
          </p:cNvSpPr>
          <p:nvPr>
            <p:ph type="sldNum" sz="quarter" idx="5"/>
          </p:nvPr>
        </p:nvSpPr>
        <p:spPr/>
        <p:txBody>
          <a:bodyPr/>
          <a:lstStyle/>
          <a:p>
            <a:fld id="{4045F879-0589-40D4-B0E5-B74D0CAD5C6C}" type="slidenum">
              <a:rPr lang="es-ES" smtClean="0"/>
              <a:pPr/>
              <a:t>6</a:t>
            </a:fld>
            <a:endParaRPr lang="es-ES" dirty="0"/>
          </a:p>
        </p:txBody>
      </p:sp>
    </p:spTree>
    <p:extLst>
      <p:ext uri="{BB962C8B-B14F-4D97-AF65-F5344CB8AC3E}">
        <p14:creationId xmlns:p14="http://schemas.microsoft.com/office/powerpoint/2010/main" val="26904391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697038" y="611188"/>
            <a:ext cx="3571875" cy="2679700"/>
          </a:xfrm>
        </p:spPr>
      </p:sp>
      <p:sp>
        <p:nvSpPr>
          <p:cNvPr id="3" name="Notizenplatzhalter 2"/>
          <p:cNvSpPr>
            <a:spLocks noGrp="1"/>
          </p:cNvSpPr>
          <p:nvPr>
            <p:ph type="body" idx="1"/>
          </p:nvPr>
        </p:nvSpPr>
        <p:spPr/>
        <p:txBody>
          <a:bodyPr/>
          <a:lstStyle/>
          <a:p>
            <a:endParaRPr lang="de-DE" i="1" dirty="0">
              <a:latin typeface="Arial" panose="020B0604020202020204" pitchFamily="34" charset="0"/>
              <a:cs typeface="Arial" panose="020B0604020202020204" pitchFamily="34" charset="0"/>
            </a:endParaRPr>
          </a:p>
        </p:txBody>
      </p:sp>
      <p:sp>
        <p:nvSpPr>
          <p:cNvPr id="5" name="Datumsplatzhalter 4"/>
          <p:cNvSpPr>
            <a:spLocks noGrp="1"/>
          </p:cNvSpPr>
          <p:nvPr>
            <p:ph type="dt" idx="11"/>
          </p:nvPr>
        </p:nvSpPr>
        <p:spPr/>
        <p:txBody>
          <a:bodyPr/>
          <a:lstStyle/>
          <a:p>
            <a:fld id="{F38E176C-267E-432D-88EE-A927D4ECBF13}" type="datetime1">
              <a:rPr lang="de-DE" smtClean="0">
                <a:solidFill>
                  <a:prstClr val="black"/>
                </a:solidFill>
              </a:rPr>
              <a:pPr/>
              <a:t>19.11.2020</a:t>
            </a:fld>
            <a:endParaRPr lang="de-DE" dirty="0">
              <a:solidFill>
                <a:prstClr val="black"/>
              </a:solidFill>
            </a:endParaRPr>
          </a:p>
        </p:txBody>
      </p:sp>
    </p:spTree>
    <p:extLst>
      <p:ext uri="{BB962C8B-B14F-4D97-AF65-F5344CB8AC3E}">
        <p14:creationId xmlns:p14="http://schemas.microsoft.com/office/powerpoint/2010/main" val="318280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695450" y="611188"/>
            <a:ext cx="3575050" cy="2681287"/>
          </a:xfrm>
        </p:spPr>
      </p:sp>
      <p:sp>
        <p:nvSpPr>
          <p:cNvPr id="3" name="Notizenplatzhalter 2"/>
          <p:cNvSpPr>
            <a:spLocks noGrp="1"/>
          </p:cNvSpPr>
          <p:nvPr>
            <p:ph type="body" idx="1"/>
          </p:nvPr>
        </p:nvSpPr>
        <p:spPr/>
        <p:txBody>
          <a:bodyPr/>
          <a:lstStyle/>
          <a:p>
            <a:endParaRPr lang="es-ES" dirty="0"/>
          </a:p>
        </p:txBody>
      </p:sp>
      <p:sp>
        <p:nvSpPr>
          <p:cNvPr id="5" name="Datumsplatzhalter 4"/>
          <p:cNvSpPr>
            <a:spLocks noGrp="1"/>
          </p:cNvSpPr>
          <p:nvPr>
            <p:ph type="dt" idx="11"/>
          </p:nvPr>
        </p:nvSpPr>
        <p:spPr/>
        <p:txBody>
          <a:bodyPr/>
          <a:lstStyle/>
          <a:p>
            <a:fld id="{F17B182D-A85F-49AF-8087-B1FFDB2EB360}" type="datetime1">
              <a:rPr lang="de-DE" smtClean="0"/>
              <a:pPr/>
              <a:t>19.11.2020</a:t>
            </a:fld>
            <a:endParaRPr lang="de-DE" dirty="0"/>
          </a:p>
        </p:txBody>
      </p:sp>
    </p:spTree>
    <p:extLst>
      <p:ext uri="{BB962C8B-B14F-4D97-AF65-F5344CB8AC3E}">
        <p14:creationId xmlns:p14="http://schemas.microsoft.com/office/powerpoint/2010/main" val="14346238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695450" y="611188"/>
            <a:ext cx="3575050" cy="2681287"/>
          </a:xfrm>
        </p:spPr>
      </p:sp>
      <p:sp>
        <p:nvSpPr>
          <p:cNvPr id="3" name="Notizenplatzhalter 2"/>
          <p:cNvSpPr>
            <a:spLocks noGrp="1"/>
          </p:cNvSpPr>
          <p:nvPr>
            <p:ph type="body" idx="1"/>
          </p:nvPr>
        </p:nvSpPr>
        <p:spPr/>
        <p:txBody>
          <a:bodyPr/>
          <a:lstStyle/>
          <a:p>
            <a:endParaRPr lang="de-DE" dirty="0">
              <a:latin typeface="Arial" panose="020B0604020202020204" pitchFamily="34" charset="0"/>
              <a:cs typeface="Arial" panose="020B0604020202020204" pitchFamily="34" charset="0"/>
            </a:endParaRPr>
          </a:p>
        </p:txBody>
      </p:sp>
      <p:sp>
        <p:nvSpPr>
          <p:cNvPr id="5" name="Datumsplatzhalter 4"/>
          <p:cNvSpPr>
            <a:spLocks noGrp="1"/>
          </p:cNvSpPr>
          <p:nvPr>
            <p:ph type="dt" idx="11"/>
          </p:nvPr>
        </p:nvSpPr>
        <p:spPr/>
        <p:txBody>
          <a:bodyPr/>
          <a:lstStyle/>
          <a:p>
            <a:fld id="{C5811E77-7FEF-4AEC-A5C0-FB55A8AD6E48}" type="datetime1">
              <a:rPr lang="de-DE" smtClean="0"/>
              <a:pPr/>
              <a:t>19.11.2020</a:t>
            </a:fld>
            <a:endParaRPr lang="de-DE" dirty="0"/>
          </a:p>
        </p:txBody>
      </p:sp>
    </p:spTree>
    <p:extLst>
      <p:ext uri="{BB962C8B-B14F-4D97-AF65-F5344CB8AC3E}">
        <p14:creationId xmlns:p14="http://schemas.microsoft.com/office/powerpoint/2010/main" val="40384400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jpg"/><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jp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jp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8.png"/><Relationship Id="rId5" Type="http://schemas.microsoft.com/office/2007/relationships/hdphoto" Target="../media/hdphoto1.wdp"/><Relationship Id="rId4"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1.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image" Target="../media/image14.pn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image" Target="../media/image14.pn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jpe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image" Target="../media/image14.pn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jpe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image" Target="../media/image14.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Master" Target="../slideMasters/slideMaster2.xml"/><Relationship Id="rId7" Type="http://schemas.openxmlformats.org/officeDocument/2006/relationships/image" Target="../media/image15.jpe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6.png"/><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jp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ítulo color">
    <p:spTree>
      <p:nvGrpSpPr>
        <p:cNvPr id="1" name=""/>
        <p:cNvGrpSpPr/>
        <p:nvPr/>
      </p:nvGrpSpPr>
      <p:grpSpPr>
        <a:xfrm>
          <a:off x="0" y="0"/>
          <a:ext cx="0" cy="0"/>
          <a:chOff x="0" y="0"/>
          <a:chExt cx="0" cy="0"/>
        </a:xfrm>
      </p:grpSpPr>
      <p:pic>
        <p:nvPicPr>
          <p:cNvPr id="21" name="Grafik 20" descr="Ein Bild, das Kette enthält.&#10;&#10;Automatisch generierte Beschreibung">
            <a:extLst>
              <a:ext uri="{FF2B5EF4-FFF2-40B4-BE49-F238E27FC236}">
                <a16:creationId xmlns:a16="http://schemas.microsoft.com/office/drawing/2014/main" id="{82995FEF-F44E-4720-98FA-B2AE557B1183}"/>
              </a:ext>
            </a:extLst>
          </p:cNvPr>
          <p:cNvPicPr>
            <a:picLocks/>
          </p:cNvPicPr>
          <p:nvPr userDrawn="1"/>
        </p:nvPicPr>
        <p:blipFill rotWithShape="1">
          <a:blip r:embed="rId2"/>
          <a:srcRect t="233" b="26747"/>
          <a:stretch/>
        </p:blipFill>
        <p:spPr bwMode="gray">
          <a:xfrm>
            <a:off x="164183" y="165103"/>
            <a:ext cx="11858487" cy="4721860"/>
          </a:xfrm>
          <a:prstGeom prst="rect">
            <a:avLst/>
          </a:prstGeom>
        </p:spPr>
      </p:pic>
      <p:pic>
        <p:nvPicPr>
          <p:cNvPr id="18" name="Grafik 17" descr="Ein Bild, das Säge enthält.&#10;&#10;Automatisch generierte Beschreibung">
            <a:extLst>
              <a:ext uri="{FF2B5EF4-FFF2-40B4-BE49-F238E27FC236}">
                <a16:creationId xmlns:a16="http://schemas.microsoft.com/office/drawing/2014/main" id="{57A5703D-6864-419D-AAFF-48396C4B22D5}"/>
              </a:ext>
            </a:extLst>
          </p:cNvPr>
          <p:cNvPicPr>
            <a:picLocks noChangeAspect="1"/>
          </p:cNvPicPr>
          <p:nvPr userDrawn="1"/>
        </p:nvPicPr>
        <p:blipFill>
          <a:blip r:embed="rId3"/>
          <a:stretch>
            <a:fillRect/>
          </a:stretch>
        </p:blipFill>
        <p:spPr bwMode="gray">
          <a:xfrm>
            <a:off x="164180" y="846876"/>
            <a:ext cx="11860800" cy="4040085"/>
          </a:xfrm>
          <a:prstGeom prst="rect">
            <a:avLst/>
          </a:prstGeom>
        </p:spPr>
      </p:pic>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933131" y="2542201"/>
            <a:ext cx="10628948" cy="960263"/>
          </a:xfrm>
          <a:prstGeom prst="rect">
            <a:avLst/>
          </a:prstGeom>
        </p:spPr>
        <p:txBody>
          <a:bodyPr wrap="square">
            <a:spAutoFit/>
          </a:bodyPr>
          <a:lstStyle>
            <a:lvl1pPr>
              <a:defRPr sz="3467" b="1">
                <a:solidFill>
                  <a:schemeClr val="tx1"/>
                </a:solidFill>
              </a:defRPr>
            </a:lvl1pPr>
          </a:lstStyle>
          <a:p>
            <a:r>
              <a:rPr lang="es-ES" dirty="0"/>
              <a:t>Diapositiva de título/encabezado</a:t>
            </a:r>
            <a:br>
              <a:rPr lang="es-ES" dirty="0"/>
            </a:br>
            <a:r>
              <a:rPr lang="es-ES" dirty="0"/>
              <a:t>con el </a:t>
            </a:r>
            <a:r>
              <a:rPr lang="es-ES" i="1" dirty="0"/>
              <a:t>key visual</a:t>
            </a:r>
            <a:r>
              <a:rPr lang="es-ES" dirty="0"/>
              <a:t> (diseño base) de la GIZ </a:t>
            </a:r>
            <a:r>
              <a:rPr lang="es-ES"/>
              <a:t>en color</a:t>
            </a:r>
            <a:endParaRPr lang="es-ES" dirty="0"/>
          </a:p>
        </p:txBody>
      </p:sp>
      <p:sp>
        <p:nvSpPr>
          <p:cNvPr id="19" name="Subline">
            <a:extLst>
              <a:ext uri="{FF2B5EF4-FFF2-40B4-BE49-F238E27FC236}">
                <a16:creationId xmlns:a16="http://schemas.microsoft.com/office/drawing/2014/main" id="{31A5E120-96AF-40F6-98D7-8A2FD24C3270}"/>
              </a:ext>
            </a:extLst>
          </p:cNvPr>
          <p:cNvSpPr>
            <a:spLocks noGrp="1"/>
          </p:cNvSpPr>
          <p:nvPr>
            <p:ph type="body" sz="quarter" idx="10" hasCustomPrompt="1"/>
          </p:nvPr>
        </p:nvSpPr>
        <p:spPr bwMode="gray">
          <a:xfrm>
            <a:off x="933134" y="3700611"/>
            <a:ext cx="10627783" cy="789960"/>
          </a:xfrm>
        </p:spPr>
        <p:txBody>
          <a:bodyPr>
            <a:spAutoFit/>
          </a:bodyPr>
          <a:lstStyle>
            <a:lvl1pPr marL="0" indent="0">
              <a:lnSpc>
                <a:spcPct val="95000"/>
              </a:lnSpc>
              <a:spcBef>
                <a:spcPts val="1600"/>
              </a:spcBef>
              <a:spcAft>
                <a:spcPts val="0"/>
              </a:spcAft>
              <a:buNone/>
              <a:defRPr sz="2000">
                <a:solidFill>
                  <a:schemeClr val="tx1"/>
                </a:solidFill>
              </a:defRPr>
            </a:lvl1pPr>
          </a:lstStyle>
          <a:p>
            <a:r>
              <a:rPr lang="es-ES" dirty="0"/>
              <a:t>Este es el subtítulo</a:t>
            </a:r>
          </a:p>
          <a:p>
            <a:r>
              <a:rPr lang="es-ES" dirty="0"/>
              <a:t>Nombre del proyecto | Fecha</a:t>
            </a:r>
          </a:p>
        </p:txBody>
      </p:sp>
      <p:pic>
        <p:nvPicPr>
          <p:cNvPr id="10" name="logo">
            <a:extLst>
              <a:ext uri="{FF2B5EF4-FFF2-40B4-BE49-F238E27FC236}">
                <a16:creationId xmlns:a16="http://schemas.microsoft.com/office/drawing/2014/main" id="{BB915B2F-F90E-4740-9ADA-291A0E63BDE2}"/>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8000"/>
                    </a14:imgEffect>
                  </a14:imgLayer>
                </a14:imgProps>
              </a:ext>
              <a:ext uri="{28A0092B-C50C-407E-A947-70E740481C1C}">
                <a14:useLocalDpi xmlns:a14="http://schemas.microsoft.com/office/drawing/2010/main" val="0"/>
              </a:ext>
            </a:extLst>
          </a:blip>
          <a:stretch>
            <a:fillRect/>
          </a:stretch>
        </p:blipFill>
        <p:spPr bwMode="gray">
          <a:xfrm>
            <a:off x="916199" y="5422244"/>
            <a:ext cx="3081728" cy="850557"/>
          </a:xfrm>
          <a:prstGeom prst="rect">
            <a:avLst/>
          </a:prstGeom>
        </p:spPr>
      </p:pic>
      <p:sp>
        <p:nvSpPr>
          <p:cNvPr id="13" name="Bar">
            <a:extLst>
              <a:ext uri="{FF2B5EF4-FFF2-40B4-BE49-F238E27FC236}">
                <a16:creationId xmlns:a16="http://schemas.microsoft.com/office/drawing/2014/main" id="{BD21318B-3022-42D5-AB5E-3CB62091D006}"/>
              </a:ext>
            </a:extLst>
          </p:cNvPr>
          <p:cNvSpPr/>
          <p:nvPr userDrawn="1"/>
        </p:nvSpPr>
        <p:spPr bwMode="gray">
          <a:xfrm>
            <a:off x="7158790" y="4886961"/>
            <a:ext cx="4863877" cy="297123"/>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eaLnBrk="0" fontAlgn="base" hangingPunct="0">
              <a:spcBef>
                <a:spcPct val="0"/>
              </a:spcBef>
              <a:spcAft>
                <a:spcPct val="0"/>
              </a:spcAft>
            </a:pPr>
            <a:endParaRPr lang="de-DE" sz="2400" dirty="0" err="1">
              <a:solidFill>
                <a:schemeClr val="tx2"/>
              </a:solidFill>
              <a:latin typeface="Arial" charset="0"/>
            </a:endParaRPr>
          </a:p>
        </p:txBody>
      </p:sp>
    </p:spTree>
    <p:extLst>
      <p:ext uri="{BB962C8B-B14F-4D97-AF65-F5344CB8AC3E}">
        <p14:creationId xmlns:p14="http://schemas.microsoft.com/office/powerpoint/2010/main" val="71391406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ncabezado sección (altern.)">
    <p:spTree>
      <p:nvGrpSpPr>
        <p:cNvPr id="1" name=""/>
        <p:cNvGrpSpPr/>
        <p:nvPr/>
      </p:nvGrpSpPr>
      <p:grpSpPr>
        <a:xfrm>
          <a:off x="0" y="0"/>
          <a:ext cx="0" cy="0"/>
          <a:chOff x="0" y="0"/>
          <a:chExt cx="0" cy="0"/>
        </a:xfrm>
      </p:grpSpPr>
      <p:sp>
        <p:nvSpPr>
          <p:cNvPr id="19" name="Subline">
            <a:extLst>
              <a:ext uri="{FF2B5EF4-FFF2-40B4-BE49-F238E27FC236}">
                <a16:creationId xmlns:a16="http://schemas.microsoft.com/office/drawing/2014/main" id="{31A5E120-96AF-40F6-98D7-8A2FD24C3270}"/>
              </a:ext>
            </a:extLst>
          </p:cNvPr>
          <p:cNvSpPr>
            <a:spLocks noGrp="1"/>
          </p:cNvSpPr>
          <p:nvPr>
            <p:ph type="body" sz="quarter" idx="10" hasCustomPrompt="1"/>
          </p:nvPr>
        </p:nvSpPr>
        <p:spPr bwMode="gray">
          <a:xfrm>
            <a:off x="933134" y="3700614"/>
            <a:ext cx="10627783" cy="292388"/>
          </a:xfrm>
        </p:spPr>
        <p:txBody>
          <a:bodyPr>
            <a:spAutoFit/>
          </a:bodyPr>
          <a:lstStyle>
            <a:lvl1pPr marL="0" indent="0">
              <a:lnSpc>
                <a:spcPct val="95000"/>
              </a:lnSpc>
              <a:spcBef>
                <a:spcPts val="0"/>
              </a:spcBef>
              <a:spcAft>
                <a:spcPts val="0"/>
              </a:spcAft>
              <a:buNone/>
              <a:defRPr sz="2000">
                <a:solidFill>
                  <a:schemeClr val="tx1"/>
                </a:solidFill>
              </a:defRPr>
            </a:lvl1pPr>
          </a:lstStyle>
          <a:p>
            <a:r>
              <a:rPr lang="es-ES" dirty="0"/>
              <a:t>Este es el subtítulo</a:t>
            </a:r>
          </a:p>
        </p:txBody>
      </p:sp>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933131" y="2542201"/>
            <a:ext cx="10628948" cy="960263"/>
          </a:xfrm>
          <a:prstGeom prst="rect">
            <a:avLst/>
          </a:prstGeom>
        </p:spPr>
        <p:txBody>
          <a:bodyPr wrap="square">
            <a:spAutoFit/>
          </a:bodyPr>
          <a:lstStyle>
            <a:lvl1pPr>
              <a:defRPr sz="3467" b="1">
                <a:solidFill>
                  <a:schemeClr val="tx1"/>
                </a:solidFill>
              </a:defRPr>
            </a:lvl1pPr>
          </a:lstStyle>
          <a:p>
            <a:r>
              <a:rPr lang="es-ES" dirty="0"/>
              <a:t>Diapositiva de encabezado de sección</a:t>
            </a:r>
            <a:br>
              <a:rPr lang="es-ES" dirty="0"/>
            </a:br>
            <a:r>
              <a:rPr lang="es-ES" dirty="0"/>
              <a:t>(este también puede tener dos líneas)</a:t>
            </a:r>
          </a:p>
        </p:txBody>
      </p:sp>
      <p:grpSp>
        <p:nvGrpSpPr>
          <p:cNvPr id="8" name="Key Visual">
            <a:extLst>
              <a:ext uri="{FF2B5EF4-FFF2-40B4-BE49-F238E27FC236}">
                <a16:creationId xmlns:a16="http://schemas.microsoft.com/office/drawing/2014/main" id="{1E0F1E1C-CA23-484C-B4BB-7C7FB71D6C86}"/>
              </a:ext>
            </a:extLst>
          </p:cNvPr>
          <p:cNvGrpSpPr/>
          <p:nvPr userDrawn="1"/>
        </p:nvGrpSpPr>
        <p:grpSpPr bwMode="gray">
          <a:xfrm>
            <a:off x="164182" y="165103"/>
            <a:ext cx="5044017" cy="1340924"/>
            <a:chOff x="4846637" y="119557"/>
            <a:chExt cx="3783013" cy="1005693"/>
          </a:xfrm>
        </p:grpSpPr>
        <p:sp>
          <p:nvSpPr>
            <p:cNvPr id="9" name="Freihandform: Form 8">
              <a:extLst>
                <a:ext uri="{FF2B5EF4-FFF2-40B4-BE49-F238E27FC236}">
                  <a16:creationId xmlns:a16="http://schemas.microsoft.com/office/drawing/2014/main" id="{361BEDD0-CC28-449C-8AF8-28ECB9820DCA}"/>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2"/>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Freihandform: Form 10">
              <a:extLst>
                <a:ext uri="{FF2B5EF4-FFF2-40B4-BE49-F238E27FC236}">
                  <a16:creationId xmlns:a16="http://schemas.microsoft.com/office/drawing/2014/main" id="{2AF78ACF-6170-47AC-80E0-F6021AD8B19F}"/>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12" name="Freihandform: Form 11">
              <a:extLst>
                <a:ext uri="{FF2B5EF4-FFF2-40B4-BE49-F238E27FC236}">
                  <a16:creationId xmlns:a16="http://schemas.microsoft.com/office/drawing/2014/main" id="{5BAE5611-256D-4234-B00F-EB779B3EA961}"/>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14" name="Freihandform: Form 13">
              <a:extLst>
                <a:ext uri="{FF2B5EF4-FFF2-40B4-BE49-F238E27FC236}">
                  <a16:creationId xmlns:a16="http://schemas.microsoft.com/office/drawing/2014/main" id="{D32235C7-71CD-4034-844A-03FD0D112CE2}"/>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16" name="Freihandform: Form 15">
              <a:extLst>
                <a:ext uri="{FF2B5EF4-FFF2-40B4-BE49-F238E27FC236}">
                  <a16:creationId xmlns:a16="http://schemas.microsoft.com/office/drawing/2014/main" id="{717CA073-D9FE-4EFD-801F-27AB9308B312}"/>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grpSp>
      <p:sp>
        <p:nvSpPr>
          <p:cNvPr id="2" name="Datumsplatzhalter 1">
            <a:extLst>
              <a:ext uri="{FF2B5EF4-FFF2-40B4-BE49-F238E27FC236}">
                <a16:creationId xmlns:a16="http://schemas.microsoft.com/office/drawing/2014/main" id="{8AFD96F1-7AE3-4CE1-8BF8-5895F56927BC}"/>
              </a:ext>
            </a:extLst>
          </p:cNvPr>
          <p:cNvSpPr>
            <a:spLocks noGrp="1"/>
          </p:cNvSpPr>
          <p:nvPr>
            <p:ph type="dt" sz="half" idx="11"/>
          </p:nvPr>
        </p:nvSpPr>
        <p:spPr/>
        <p:txBody>
          <a:bodyPr/>
          <a:lstStyle/>
          <a:p>
            <a:r>
              <a:rPr lang="es-ES"/>
              <a:t>14.02.2019</a:t>
            </a:r>
            <a:endParaRPr lang="es-ES" dirty="0"/>
          </a:p>
        </p:txBody>
      </p:sp>
      <p:sp>
        <p:nvSpPr>
          <p:cNvPr id="3" name="Fußzeilenplatzhalter 2">
            <a:extLst>
              <a:ext uri="{FF2B5EF4-FFF2-40B4-BE49-F238E27FC236}">
                <a16:creationId xmlns:a16="http://schemas.microsoft.com/office/drawing/2014/main" id="{417BDCB9-6395-4FFF-954A-2C4BEDF931A2}"/>
              </a:ext>
            </a:extLst>
          </p:cNvPr>
          <p:cNvSpPr>
            <a:spLocks noGrp="1"/>
          </p:cNvSpPr>
          <p:nvPr>
            <p:ph type="ftr" sz="quarter" idx="12"/>
          </p:nvPr>
        </p:nvSpPr>
        <p:spPr/>
        <p:txBody>
          <a:bodyPr/>
          <a:lstStyle/>
          <a:p>
            <a:r>
              <a:rPr lang="es-ES"/>
              <a:t>Título de la presentación</a:t>
            </a:r>
            <a:endParaRPr lang="es-ES" dirty="0"/>
          </a:p>
        </p:txBody>
      </p:sp>
      <p:sp>
        <p:nvSpPr>
          <p:cNvPr id="4" name="Foliennummernplatzhalter 3">
            <a:extLst>
              <a:ext uri="{FF2B5EF4-FFF2-40B4-BE49-F238E27FC236}">
                <a16:creationId xmlns:a16="http://schemas.microsoft.com/office/drawing/2014/main" id="{DC9DF099-4BDC-4CAF-AE0A-18C327E7BF4E}"/>
              </a:ext>
            </a:extLst>
          </p:cNvPr>
          <p:cNvSpPr>
            <a:spLocks noGrp="1"/>
          </p:cNvSpPr>
          <p:nvPr>
            <p:ph type="sldNum" sz="quarter" idx="13"/>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84642909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termediate slide, b/w visual">
    <p:spTree>
      <p:nvGrpSpPr>
        <p:cNvPr id="1" name=""/>
        <p:cNvGrpSpPr/>
        <p:nvPr/>
      </p:nvGrpSpPr>
      <p:grpSpPr>
        <a:xfrm>
          <a:off x="0" y="0"/>
          <a:ext cx="0" cy="0"/>
          <a:chOff x="0" y="0"/>
          <a:chExt cx="0" cy="0"/>
        </a:xfrm>
      </p:grpSpPr>
      <p:pic>
        <p:nvPicPr>
          <p:cNvPr id="18" name="Grafik 17">
            <a:extLst>
              <a:ext uri="{FF2B5EF4-FFF2-40B4-BE49-F238E27FC236}">
                <a16:creationId xmlns:a16="http://schemas.microsoft.com/office/drawing/2014/main" id="{DF58C217-C4E2-448E-B6B5-E56CEFB6D358}"/>
              </a:ext>
            </a:extLst>
          </p:cNvPr>
          <p:cNvPicPr>
            <a:picLocks/>
          </p:cNvPicPr>
          <p:nvPr userDrawn="1"/>
        </p:nvPicPr>
        <p:blipFill rotWithShape="1">
          <a:blip r:embed="rId2"/>
          <a:srcRect t="234" b="7466"/>
          <a:stretch/>
        </p:blipFill>
        <p:spPr bwMode="gray">
          <a:xfrm>
            <a:off x="164183" y="165101"/>
            <a:ext cx="11858487" cy="5968659"/>
          </a:xfrm>
          <a:prstGeom prst="rect">
            <a:avLst/>
          </a:prstGeom>
        </p:spPr>
      </p:pic>
      <p:sp>
        <p:nvSpPr>
          <p:cNvPr id="6" name="Rechteck 5">
            <a:extLst>
              <a:ext uri="{FF2B5EF4-FFF2-40B4-BE49-F238E27FC236}">
                <a16:creationId xmlns:a16="http://schemas.microsoft.com/office/drawing/2014/main" id="{1E3E3E95-0AFA-477F-B88E-9AEDC037418E}"/>
              </a:ext>
            </a:extLst>
          </p:cNvPr>
          <p:cNvSpPr>
            <a:spLocks/>
          </p:cNvSpPr>
          <p:nvPr userDrawn="1"/>
        </p:nvSpPr>
        <p:spPr bwMode="gray">
          <a:xfrm>
            <a:off x="164183" y="165101"/>
            <a:ext cx="11858487" cy="5968659"/>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1114266" y="2717807"/>
            <a:ext cx="9963469" cy="545727"/>
          </a:xfrm>
          <a:prstGeom prst="rect">
            <a:avLst/>
          </a:prstGeom>
        </p:spPr>
        <p:txBody>
          <a:bodyPr wrap="square" anchor="ctr">
            <a:spAutoFit/>
          </a:bodyPr>
          <a:lstStyle>
            <a:lvl1pPr algn="ctr">
              <a:lnSpc>
                <a:spcPct val="95000"/>
              </a:lnSpc>
              <a:spcBef>
                <a:spcPts val="1600"/>
              </a:spcBef>
              <a:defRPr sz="3467" b="0">
                <a:solidFill>
                  <a:schemeClr val="tx1"/>
                </a:solidFill>
              </a:defRPr>
            </a:lvl1pPr>
          </a:lstStyle>
          <a:p>
            <a:r>
              <a:rPr lang="es-ES" sz="3733" dirty="0">
                <a:solidFill>
                  <a:prstClr val="black"/>
                </a:solidFill>
              </a:rPr>
              <a:t>Diapositiva intermedia</a:t>
            </a:r>
            <a:endParaRPr lang="es-ES" dirty="0"/>
          </a:p>
        </p:txBody>
      </p:sp>
      <p:sp>
        <p:nvSpPr>
          <p:cNvPr id="2" name="Datumsplatzhalter 1">
            <a:extLst>
              <a:ext uri="{FF2B5EF4-FFF2-40B4-BE49-F238E27FC236}">
                <a16:creationId xmlns:a16="http://schemas.microsoft.com/office/drawing/2014/main" id="{C4271BE1-288A-4633-A59F-7190F74DD19F}"/>
              </a:ext>
            </a:extLst>
          </p:cNvPr>
          <p:cNvSpPr>
            <a:spLocks noGrp="1"/>
          </p:cNvSpPr>
          <p:nvPr>
            <p:ph type="dt" sz="half" idx="10"/>
          </p:nvPr>
        </p:nvSpPr>
        <p:spPr/>
        <p:txBody>
          <a:bodyPr/>
          <a:lstStyle/>
          <a:p>
            <a:r>
              <a:rPr lang="es-ES"/>
              <a:t>14.02.2019</a:t>
            </a:r>
            <a:endParaRPr lang="es-ES" dirty="0"/>
          </a:p>
        </p:txBody>
      </p:sp>
      <p:sp>
        <p:nvSpPr>
          <p:cNvPr id="3" name="Fußzeilenplatzhalter 2">
            <a:extLst>
              <a:ext uri="{FF2B5EF4-FFF2-40B4-BE49-F238E27FC236}">
                <a16:creationId xmlns:a16="http://schemas.microsoft.com/office/drawing/2014/main" id="{3455F907-9621-4557-900B-459F6A72E67E}"/>
              </a:ext>
            </a:extLst>
          </p:cNvPr>
          <p:cNvSpPr>
            <a:spLocks noGrp="1"/>
          </p:cNvSpPr>
          <p:nvPr>
            <p:ph type="ftr" sz="quarter" idx="11"/>
          </p:nvPr>
        </p:nvSpPr>
        <p:spPr/>
        <p:txBody>
          <a:bodyPr/>
          <a:lstStyle/>
          <a:p>
            <a:r>
              <a:rPr lang="es-ES"/>
              <a:t>Título de la presentación</a:t>
            </a:r>
            <a:endParaRPr lang="es-ES" dirty="0"/>
          </a:p>
        </p:txBody>
      </p:sp>
      <p:sp>
        <p:nvSpPr>
          <p:cNvPr id="4" name="Foliennummernplatzhalter 3">
            <a:extLst>
              <a:ext uri="{FF2B5EF4-FFF2-40B4-BE49-F238E27FC236}">
                <a16:creationId xmlns:a16="http://schemas.microsoft.com/office/drawing/2014/main" id="{54AF73FB-DF37-451D-A962-128B0BE26C03}"/>
              </a:ext>
            </a:extLst>
          </p:cNvPr>
          <p:cNvSpPr>
            <a:spLocks noGrp="1"/>
          </p:cNvSpPr>
          <p:nvPr>
            <p:ph type="sldNum" sz="quarter" idx="12"/>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43302363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ap. intermedia en blanco">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1114266" y="2717807"/>
            <a:ext cx="9963469" cy="545727"/>
          </a:xfrm>
          <a:prstGeom prst="rect">
            <a:avLst/>
          </a:prstGeom>
        </p:spPr>
        <p:txBody>
          <a:bodyPr wrap="square" anchor="ctr">
            <a:spAutoFit/>
          </a:bodyPr>
          <a:lstStyle>
            <a:lvl1pPr algn="ctr">
              <a:lnSpc>
                <a:spcPct val="95000"/>
              </a:lnSpc>
              <a:spcBef>
                <a:spcPts val="1600"/>
              </a:spcBef>
              <a:defRPr sz="3467" b="0">
                <a:solidFill>
                  <a:schemeClr val="tx1"/>
                </a:solidFill>
              </a:defRPr>
            </a:lvl1pPr>
          </a:lstStyle>
          <a:p>
            <a:r>
              <a:rPr lang="es-ES" sz="3733" dirty="0">
                <a:solidFill>
                  <a:prstClr val="black"/>
                </a:solidFill>
              </a:rPr>
              <a:t>Diapositiva intermedia</a:t>
            </a:r>
            <a:endParaRPr lang="es-ES" dirty="0"/>
          </a:p>
        </p:txBody>
      </p:sp>
      <p:sp>
        <p:nvSpPr>
          <p:cNvPr id="2" name="Datumsplatzhalter 1">
            <a:extLst>
              <a:ext uri="{FF2B5EF4-FFF2-40B4-BE49-F238E27FC236}">
                <a16:creationId xmlns:a16="http://schemas.microsoft.com/office/drawing/2014/main" id="{42AD7FE3-15E4-4E0D-9CCB-209C22AF880A}"/>
              </a:ext>
            </a:extLst>
          </p:cNvPr>
          <p:cNvSpPr>
            <a:spLocks noGrp="1"/>
          </p:cNvSpPr>
          <p:nvPr>
            <p:ph type="dt" sz="half" idx="10"/>
          </p:nvPr>
        </p:nvSpPr>
        <p:spPr/>
        <p:txBody>
          <a:bodyPr/>
          <a:lstStyle/>
          <a:p>
            <a:r>
              <a:rPr lang="es-ES"/>
              <a:t>14.02.2019</a:t>
            </a:r>
            <a:endParaRPr lang="es-ES" dirty="0"/>
          </a:p>
        </p:txBody>
      </p:sp>
      <p:sp>
        <p:nvSpPr>
          <p:cNvPr id="3" name="Fußzeilenplatzhalter 2">
            <a:extLst>
              <a:ext uri="{FF2B5EF4-FFF2-40B4-BE49-F238E27FC236}">
                <a16:creationId xmlns:a16="http://schemas.microsoft.com/office/drawing/2014/main" id="{DE695D31-06C7-4B4E-96FF-361FE074BA9C}"/>
              </a:ext>
            </a:extLst>
          </p:cNvPr>
          <p:cNvSpPr>
            <a:spLocks noGrp="1"/>
          </p:cNvSpPr>
          <p:nvPr>
            <p:ph type="ftr" sz="quarter" idx="11"/>
          </p:nvPr>
        </p:nvSpPr>
        <p:spPr/>
        <p:txBody>
          <a:bodyPr/>
          <a:lstStyle/>
          <a:p>
            <a:r>
              <a:rPr lang="es-ES"/>
              <a:t>Título de la presentación</a:t>
            </a:r>
            <a:endParaRPr lang="es-ES" dirty="0"/>
          </a:p>
        </p:txBody>
      </p:sp>
      <p:sp>
        <p:nvSpPr>
          <p:cNvPr id="4" name="Foliennummernplatzhalter 3">
            <a:extLst>
              <a:ext uri="{FF2B5EF4-FFF2-40B4-BE49-F238E27FC236}">
                <a16:creationId xmlns:a16="http://schemas.microsoft.com/office/drawing/2014/main" id="{5D4A944B-8983-46CD-9A09-1A45970EE76F}"/>
              </a:ext>
            </a:extLst>
          </p:cNvPr>
          <p:cNvSpPr>
            <a:spLocks noGrp="1"/>
          </p:cNvSpPr>
          <p:nvPr>
            <p:ph type="sldNum" sz="quarter" idx="12"/>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7738352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 intermedia en blanco (altern.)">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1114266" y="2717807"/>
            <a:ext cx="9963469" cy="545727"/>
          </a:xfrm>
          <a:prstGeom prst="rect">
            <a:avLst/>
          </a:prstGeom>
        </p:spPr>
        <p:txBody>
          <a:bodyPr wrap="square" anchor="ctr">
            <a:spAutoFit/>
          </a:bodyPr>
          <a:lstStyle>
            <a:lvl1pPr algn="ctr">
              <a:lnSpc>
                <a:spcPct val="95000"/>
              </a:lnSpc>
              <a:spcBef>
                <a:spcPts val="1600"/>
              </a:spcBef>
              <a:defRPr sz="3467" b="0">
                <a:solidFill>
                  <a:schemeClr val="tx1"/>
                </a:solidFill>
              </a:defRPr>
            </a:lvl1pPr>
          </a:lstStyle>
          <a:p>
            <a:r>
              <a:rPr lang="es-ES" sz="3733" dirty="0">
                <a:solidFill>
                  <a:prstClr val="black"/>
                </a:solidFill>
              </a:rPr>
              <a:t>Diapositiva intermedia</a:t>
            </a:r>
            <a:endParaRPr lang="es-ES" dirty="0"/>
          </a:p>
        </p:txBody>
      </p:sp>
      <p:grpSp>
        <p:nvGrpSpPr>
          <p:cNvPr id="12" name="Key Visual">
            <a:extLst>
              <a:ext uri="{FF2B5EF4-FFF2-40B4-BE49-F238E27FC236}">
                <a16:creationId xmlns:a16="http://schemas.microsoft.com/office/drawing/2014/main" id="{D9D8699C-EAEE-4654-9DB5-5DBEA94DFD69}"/>
              </a:ext>
            </a:extLst>
          </p:cNvPr>
          <p:cNvGrpSpPr/>
          <p:nvPr userDrawn="1"/>
        </p:nvGrpSpPr>
        <p:grpSpPr bwMode="gray">
          <a:xfrm flipV="1">
            <a:off x="164182" y="4525211"/>
            <a:ext cx="6050711" cy="1608548"/>
            <a:chOff x="4846637" y="119557"/>
            <a:chExt cx="3783013" cy="1005693"/>
          </a:xfrm>
        </p:grpSpPr>
        <p:sp>
          <p:nvSpPr>
            <p:cNvPr id="13" name="Freihandform: Form 12">
              <a:extLst>
                <a:ext uri="{FF2B5EF4-FFF2-40B4-BE49-F238E27FC236}">
                  <a16:creationId xmlns:a16="http://schemas.microsoft.com/office/drawing/2014/main" id="{57ACA972-95E7-4330-A959-68C656E58B90}"/>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2"/>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Freihandform: Form 13">
              <a:extLst>
                <a:ext uri="{FF2B5EF4-FFF2-40B4-BE49-F238E27FC236}">
                  <a16:creationId xmlns:a16="http://schemas.microsoft.com/office/drawing/2014/main" id="{EF93F907-303A-4592-848E-F1A7AFDDDD4A}"/>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15" name="Freihandform: Form 14">
              <a:extLst>
                <a:ext uri="{FF2B5EF4-FFF2-40B4-BE49-F238E27FC236}">
                  <a16:creationId xmlns:a16="http://schemas.microsoft.com/office/drawing/2014/main" id="{C8AAE6CE-CD01-4233-9E65-D495D92CF161}"/>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16" name="Freihandform: Form 15">
              <a:extLst>
                <a:ext uri="{FF2B5EF4-FFF2-40B4-BE49-F238E27FC236}">
                  <a16:creationId xmlns:a16="http://schemas.microsoft.com/office/drawing/2014/main" id="{1AAC9A52-2206-4D16-A752-9C733CC5CB7F}"/>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17" name="Freihandform: Form 16">
              <a:extLst>
                <a:ext uri="{FF2B5EF4-FFF2-40B4-BE49-F238E27FC236}">
                  <a16:creationId xmlns:a16="http://schemas.microsoft.com/office/drawing/2014/main" id="{8D075FE9-0EDA-4BE2-B2C1-22DF2B8842B2}"/>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grpSp>
      <p:grpSp>
        <p:nvGrpSpPr>
          <p:cNvPr id="36" name="Key Visual">
            <a:extLst>
              <a:ext uri="{FF2B5EF4-FFF2-40B4-BE49-F238E27FC236}">
                <a16:creationId xmlns:a16="http://schemas.microsoft.com/office/drawing/2014/main" id="{C7D69FF2-A45A-405D-BC43-69B4E925551F}"/>
              </a:ext>
            </a:extLst>
          </p:cNvPr>
          <p:cNvGrpSpPr/>
          <p:nvPr userDrawn="1"/>
        </p:nvGrpSpPr>
        <p:grpSpPr bwMode="gray">
          <a:xfrm flipH="1">
            <a:off x="8934719" y="165101"/>
            <a:ext cx="3087951" cy="820915"/>
            <a:chOff x="4846637" y="119557"/>
            <a:chExt cx="3783013" cy="1005693"/>
          </a:xfrm>
        </p:grpSpPr>
        <p:sp>
          <p:nvSpPr>
            <p:cNvPr id="37" name="Freihandform: Form 36">
              <a:extLst>
                <a:ext uri="{FF2B5EF4-FFF2-40B4-BE49-F238E27FC236}">
                  <a16:creationId xmlns:a16="http://schemas.microsoft.com/office/drawing/2014/main" id="{67E195A5-1DB2-4051-897C-B5E84120B476}"/>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2"/>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Freihandform: Form 37">
              <a:extLst>
                <a:ext uri="{FF2B5EF4-FFF2-40B4-BE49-F238E27FC236}">
                  <a16:creationId xmlns:a16="http://schemas.microsoft.com/office/drawing/2014/main" id="{9234AB9A-5088-479E-92C2-4F81972E1E55}"/>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39" name="Freihandform: Form 38">
              <a:extLst>
                <a:ext uri="{FF2B5EF4-FFF2-40B4-BE49-F238E27FC236}">
                  <a16:creationId xmlns:a16="http://schemas.microsoft.com/office/drawing/2014/main" id="{5FBB400A-FFCE-4E88-B1BF-846AC7A46F8E}"/>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40" name="Freihandform: Form 39">
              <a:extLst>
                <a:ext uri="{FF2B5EF4-FFF2-40B4-BE49-F238E27FC236}">
                  <a16:creationId xmlns:a16="http://schemas.microsoft.com/office/drawing/2014/main" id="{4A214495-DB26-435D-9164-4A350ECF0071}"/>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41" name="Freihandform: Form 40">
              <a:extLst>
                <a:ext uri="{FF2B5EF4-FFF2-40B4-BE49-F238E27FC236}">
                  <a16:creationId xmlns:a16="http://schemas.microsoft.com/office/drawing/2014/main" id="{AD46CA09-12E7-4803-A8A0-CC8821A2FBF3}"/>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grpSp>
      <p:sp>
        <p:nvSpPr>
          <p:cNvPr id="2" name="Datumsplatzhalter 1">
            <a:extLst>
              <a:ext uri="{FF2B5EF4-FFF2-40B4-BE49-F238E27FC236}">
                <a16:creationId xmlns:a16="http://schemas.microsoft.com/office/drawing/2014/main" id="{43E73364-2028-462F-AC65-F8C61802680A}"/>
              </a:ext>
            </a:extLst>
          </p:cNvPr>
          <p:cNvSpPr>
            <a:spLocks noGrp="1"/>
          </p:cNvSpPr>
          <p:nvPr>
            <p:ph type="dt" sz="half" idx="10"/>
          </p:nvPr>
        </p:nvSpPr>
        <p:spPr/>
        <p:txBody>
          <a:bodyPr/>
          <a:lstStyle/>
          <a:p>
            <a:r>
              <a:rPr lang="es-ES"/>
              <a:t>14.02.2019</a:t>
            </a:r>
            <a:endParaRPr lang="es-ES" dirty="0"/>
          </a:p>
        </p:txBody>
      </p:sp>
      <p:sp>
        <p:nvSpPr>
          <p:cNvPr id="3" name="Fußzeilenplatzhalter 2">
            <a:extLst>
              <a:ext uri="{FF2B5EF4-FFF2-40B4-BE49-F238E27FC236}">
                <a16:creationId xmlns:a16="http://schemas.microsoft.com/office/drawing/2014/main" id="{713412B2-8AC5-4D05-A736-EC4D5167AFB0}"/>
              </a:ext>
            </a:extLst>
          </p:cNvPr>
          <p:cNvSpPr>
            <a:spLocks noGrp="1"/>
          </p:cNvSpPr>
          <p:nvPr>
            <p:ph type="ftr" sz="quarter" idx="11"/>
          </p:nvPr>
        </p:nvSpPr>
        <p:spPr/>
        <p:txBody>
          <a:bodyPr/>
          <a:lstStyle/>
          <a:p>
            <a:r>
              <a:rPr lang="es-ES"/>
              <a:t>Título de la presentación</a:t>
            </a:r>
            <a:endParaRPr lang="es-ES" dirty="0"/>
          </a:p>
        </p:txBody>
      </p:sp>
      <p:sp>
        <p:nvSpPr>
          <p:cNvPr id="4" name="Foliennummernplatzhalter 3">
            <a:extLst>
              <a:ext uri="{FF2B5EF4-FFF2-40B4-BE49-F238E27FC236}">
                <a16:creationId xmlns:a16="http://schemas.microsoft.com/office/drawing/2014/main" id="{255E0265-D56D-4357-9F0F-76F5E1834E66}"/>
              </a:ext>
            </a:extLst>
          </p:cNvPr>
          <p:cNvSpPr>
            <a:spLocks noGrp="1"/>
          </p:cNvSpPr>
          <p:nvPr>
            <p:ph type="sldNum" sz="quarter" idx="12"/>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345787842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 intermedia foto">
    <p:spTree>
      <p:nvGrpSpPr>
        <p:cNvPr id="1" name=""/>
        <p:cNvGrpSpPr/>
        <p:nvPr/>
      </p:nvGrpSpPr>
      <p:grpSpPr>
        <a:xfrm>
          <a:off x="0" y="0"/>
          <a:ext cx="0" cy="0"/>
          <a:chOff x="0" y="0"/>
          <a:chExt cx="0" cy="0"/>
        </a:xfrm>
      </p:grpSpPr>
      <p:cxnSp>
        <p:nvCxnSpPr>
          <p:cNvPr id="21" name="Gerade Verbindung mit Pfeil 20">
            <a:extLst>
              <a:ext uri="{FF2B5EF4-FFF2-40B4-BE49-F238E27FC236}">
                <a16:creationId xmlns:a16="http://schemas.microsoft.com/office/drawing/2014/main" id="{C6FD881A-5BD9-41CA-81BD-767757954A0C}"/>
              </a:ext>
            </a:extLst>
          </p:cNvPr>
          <p:cNvCxnSpPr/>
          <p:nvPr userDrawn="1"/>
        </p:nvCxnSpPr>
        <p:spPr bwMode="gray">
          <a:xfrm>
            <a:off x="6070600" y="1244600"/>
            <a:ext cx="0" cy="914400"/>
          </a:xfrm>
          <a:prstGeom prst="straightConnector1">
            <a:avLst/>
          </a:prstGeom>
          <a:ln w="12700">
            <a:prstDash val="sysDash"/>
            <a:tailEnd type="triangle" w="lg" len="lg"/>
          </a:ln>
        </p:spPr>
        <p:style>
          <a:lnRef idx="1">
            <a:schemeClr val="accent1"/>
          </a:lnRef>
          <a:fillRef idx="0">
            <a:schemeClr val="accent1"/>
          </a:fillRef>
          <a:effectRef idx="0">
            <a:schemeClr val="accent1"/>
          </a:effectRef>
          <a:fontRef idx="minor">
            <a:schemeClr val="tx1"/>
          </a:fontRef>
        </p:style>
      </p:cxnSp>
      <p:sp>
        <p:nvSpPr>
          <p:cNvPr id="22" name="1.">
            <a:extLst>
              <a:ext uri="{FF2B5EF4-FFF2-40B4-BE49-F238E27FC236}">
                <a16:creationId xmlns:a16="http://schemas.microsoft.com/office/drawing/2014/main" id="{0799E111-2083-4E34-852B-8630F6C772E1}"/>
              </a:ext>
            </a:extLst>
          </p:cNvPr>
          <p:cNvSpPr/>
          <p:nvPr userDrawn="1"/>
        </p:nvSpPr>
        <p:spPr bwMode="gray">
          <a:xfrm>
            <a:off x="5101393" y="170887"/>
            <a:ext cx="1968500" cy="674031"/>
          </a:xfrm>
          <a:prstGeom prst="rect">
            <a:avLst/>
          </a:prstGeom>
        </p:spPr>
        <p:txBody>
          <a:bodyPr wrap="square">
            <a:spAutoFit/>
          </a:bodyPr>
          <a:lstStyle/>
          <a:p>
            <a:pPr marL="0" marR="0" lvl="0" indent="0" algn="l" defTabSz="914392"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s-ES" sz="1400" b="0" i="0" u="none" strike="noStrike" kern="1200" cap="none" spc="0" normalizeH="0" baseline="0" noProof="0" dirty="0">
                <a:ln>
                  <a:noFill/>
                </a:ln>
                <a:solidFill>
                  <a:prstClr val="black"/>
                </a:solidFill>
                <a:effectLst/>
                <a:uLnTx/>
                <a:uFillTx/>
                <a:latin typeface="+mn-lt"/>
              </a:rPr>
              <a:t>1. Haga clic en este símbolo para añadir una nueva fotografía.</a:t>
            </a:r>
          </a:p>
        </p:txBody>
      </p:sp>
      <p:sp>
        <p:nvSpPr>
          <p:cNvPr id="24" name="2.">
            <a:extLst>
              <a:ext uri="{FF2B5EF4-FFF2-40B4-BE49-F238E27FC236}">
                <a16:creationId xmlns:a16="http://schemas.microsoft.com/office/drawing/2014/main" id="{03829470-919D-4B7F-9598-A5ECA3C2EAE9}"/>
              </a:ext>
            </a:extLst>
          </p:cNvPr>
          <p:cNvSpPr/>
          <p:nvPr userDrawn="1"/>
        </p:nvSpPr>
        <p:spPr bwMode="gray">
          <a:xfrm>
            <a:off x="7259626" y="170887"/>
            <a:ext cx="1968500" cy="674031"/>
          </a:xfrm>
          <a:prstGeom prst="rect">
            <a:avLst/>
          </a:prstGeom>
        </p:spPr>
        <p:txBody>
          <a:bodyPr wrap="square">
            <a:spAutoFit/>
          </a:bodyPr>
          <a:lstStyle/>
          <a:p>
            <a:pPr marL="0" marR="0" lvl="0" indent="0" algn="l" defTabSz="914392"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s-ES" sz="1400" b="0" i="0" u="none" strike="noStrike" kern="1200" cap="none" spc="0" normalizeH="0" baseline="0" noProof="0" dirty="0">
                <a:ln>
                  <a:noFill/>
                </a:ln>
                <a:solidFill>
                  <a:prstClr val="black"/>
                </a:solidFill>
                <a:effectLst/>
                <a:uLnTx/>
                <a:uFillTx/>
                <a:latin typeface="+mn-lt"/>
              </a:rPr>
              <a:t>2. Para restablecer </a:t>
            </a:r>
            <a:br>
              <a:rPr kumimoji="0" lang="es-ES" sz="1400" b="0" i="0" u="none" strike="noStrike" kern="1200" cap="none" spc="0" normalizeH="0" baseline="0" noProof="0" dirty="0">
                <a:ln>
                  <a:noFill/>
                </a:ln>
                <a:solidFill>
                  <a:prstClr val="black"/>
                </a:solidFill>
                <a:effectLst/>
                <a:uLnTx/>
                <a:uFillTx/>
                <a:latin typeface="+mn-lt"/>
              </a:rPr>
            </a:br>
            <a:r>
              <a:rPr kumimoji="0" lang="es-ES" sz="1400" b="0" i="0" u="none" strike="noStrike" kern="1200" cap="none" spc="0" normalizeH="0" baseline="0" noProof="0" dirty="0">
                <a:ln>
                  <a:noFill/>
                </a:ln>
                <a:solidFill>
                  <a:prstClr val="black"/>
                </a:solidFill>
                <a:effectLst/>
                <a:uLnTx/>
                <a:uFillTx/>
                <a:latin typeface="+mn-lt"/>
              </a:rPr>
              <a:t>el diseño de la diapositiva:</a:t>
            </a:r>
          </a:p>
        </p:txBody>
      </p:sp>
      <p:sp>
        <p:nvSpPr>
          <p:cNvPr id="25" name="3.">
            <a:extLst>
              <a:ext uri="{FF2B5EF4-FFF2-40B4-BE49-F238E27FC236}">
                <a16:creationId xmlns:a16="http://schemas.microsoft.com/office/drawing/2014/main" id="{AD4F82D6-770D-46DC-B5F7-D6D7A932D8E8}"/>
              </a:ext>
            </a:extLst>
          </p:cNvPr>
          <p:cNvSpPr/>
          <p:nvPr userDrawn="1"/>
        </p:nvSpPr>
        <p:spPr bwMode="gray">
          <a:xfrm>
            <a:off x="9618990" y="170887"/>
            <a:ext cx="2695785" cy="867930"/>
          </a:xfrm>
          <a:prstGeom prst="rect">
            <a:avLst/>
          </a:prstGeom>
        </p:spPr>
        <p:txBody>
          <a:bodyPr wrap="square">
            <a:spAutoFit/>
          </a:bodyPr>
          <a:lstStyle/>
          <a:p>
            <a:pPr marL="0" marR="0" lvl="0" indent="0" algn="l" defTabSz="914392"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s-ES" sz="1400" b="0" i="0" u="none" strike="noStrike" kern="1200" cap="none" spc="0" normalizeH="0" baseline="0" noProof="0" dirty="0">
                <a:ln>
                  <a:noFill/>
                </a:ln>
                <a:solidFill>
                  <a:prstClr val="black"/>
                </a:solidFill>
                <a:effectLst/>
                <a:uLnTx/>
                <a:uFillTx/>
                <a:latin typeface="+mn-lt"/>
              </a:rPr>
              <a:t>3. En caso necesario, escoja una parte de la fotografía mediante “Recortar”.</a:t>
            </a:r>
            <a:br>
              <a:rPr lang="es-ES" sz="1400" dirty="0"/>
            </a:br>
            <a:endParaRPr kumimoji="0" lang="es-ES"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7" name="how">
            <a:extLst>
              <a:ext uri="{FF2B5EF4-FFF2-40B4-BE49-F238E27FC236}">
                <a16:creationId xmlns:a16="http://schemas.microsoft.com/office/drawing/2014/main" id="{A3CAE68D-109A-4021-BD81-75126349444E}"/>
              </a:ext>
            </a:extLst>
          </p:cNvPr>
          <p:cNvSpPr txBox="1"/>
          <p:nvPr userDrawn="1"/>
        </p:nvSpPr>
        <p:spPr bwMode="gray">
          <a:xfrm>
            <a:off x="-6054599" y="237067"/>
            <a:ext cx="5973110" cy="1200329"/>
          </a:xfrm>
          <a:prstGeom prst="rect">
            <a:avLst/>
          </a:prstGeom>
          <a:noFill/>
        </p:spPr>
        <p:txBody>
          <a:bodyPr wrap="none" rtlCol="0">
            <a:spAutoFit/>
          </a:bodyPr>
          <a:lstStyle/>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Haga clic en la imagen que figura sobre la diapositiva.</a:t>
            </a:r>
          </a:p>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Elimine la imagen mediante la tecla “Supr”.</a:t>
            </a:r>
          </a:p>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 Haga clic en el pequeño símbolo situado en el centro de la página.</a:t>
            </a:r>
          </a:p>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Seleccione una fotografía.</a:t>
            </a:r>
          </a:p>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Inicio/Restablecer” para restablecer el diseño de la diapositiva.</a:t>
            </a:r>
          </a:p>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En caso necesario, escoja una parte de la fotografía mediante “Formato/Recortar”.</a:t>
            </a:r>
          </a:p>
        </p:txBody>
      </p:sp>
      <p:sp>
        <p:nvSpPr>
          <p:cNvPr id="35" name="Dreieck">
            <a:extLst>
              <a:ext uri="{FF2B5EF4-FFF2-40B4-BE49-F238E27FC236}">
                <a16:creationId xmlns:a16="http://schemas.microsoft.com/office/drawing/2014/main" id="{F13EF0A4-8C67-40E7-9B69-B8DD179CA2E6}"/>
              </a:ext>
            </a:extLst>
          </p:cNvPr>
          <p:cNvSpPr/>
          <p:nvPr userDrawn="1"/>
        </p:nvSpPr>
        <p:spPr bwMode="gray">
          <a:xfrm rot="5400000">
            <a:off x="-222461" y="562187"/>
            <a:ext cx="281941" cy="6096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36" name="Grafik 35" descr="Ein Bild, das Screenshot enthält.&#10;&#10;Automatisch generierte Beschreibung">
            <a:extLst>
              <a:ext uri="{FF2B5EF4-FFF2-40B4-BE49-F238E27FC236}">
                <a16:creationId xmlns:a16="http://schemas.microsoft.com/office/drawing/2014/main" id="{7A0802C0-B8D5-42BA-A956-4F99011E0D51}"/>
              </a:ext>
            </a:extLst>
          </p:cNvPr>
          <p:cNvPicPr>
            <a:picLocks noChangeAspect="1"/>
          </p:cNvPicPr>
          <p:nvPr userDrawn="1"/>
        </p:nvPicPr>
        <p:blipFill rotWithShape="1">
          <a:blip r:embed="rId2"/>
          <a:srcRect l="27949" t="24404" r="52761"/>
          <a:stretch/>
        </p:blipFill>
        <p:spPr>
          <a:xfrm>
            <a:off x="9923387" y="1195292"/>
            <a:ext cx="569320" cy="650189"/>
          </a:xfrm>
          <a:prstGeom prst="rect">
            <a:avLst/>
          </a:prstGeom>
        </p:spPr>
      </p:pic>
      <p:pic>
        <p:nvPicPr>
          <p:cNvPr id="37" name="Grafik 36" descr="Ein Bild, das Screenshot enthält.&#10;&#10;Automatisch generierte Beschreibung">
            <a:extLst>
              <a:ext uri="{FF2B5EF4-FFF2-40B4-BE49-F238E27FC236}">
                <a16:creationId xmlns:a16="http://schemas.microsoft.com/office/drawing/2014/main" id="{44112C6B-9A26-4DBE-8AC0-48CD656ECC5D}"/>
              </a:ext>
            </a:extLst>
          </p:cNvPr>
          <p:cNvPicPr>
            <a:picLocks/>
          </p:cNvPicPr>
          <p:nvPr userDrawn="1"/>
        </p:nvPicPr>
        <p:blipFill>
          <a:blip r:embed="rId3"/>
          <a:stretch>
            <a:fillRect/>
          </a:stretch>
        </p:blipFill>
        <p:spPr>
          <a:xfrm>
            <a:off x="7396602" y="1034677"/>
            <a:ext cx="2117468" cy="866995"/>
          </a:xfrm>
          <a:prstGeom prst="rect">
            <a:avLst/>
          </a:prstGeom>
        </p:spPr>
      </p:pic>
      <p:sp>
        <p:nvSpPr>
          <p:cNvPr id="38" name="Rechteck 37">
            <a:extLst>
              <a:ext uri="{FF2B5EF4-FFF2-40B4-BE49-F238E27FC236}">
                <a16:creationId xmlns:a16="http://schemas.microsoft.com/office/drawing/2014/main" id="{6581A429-1F44-40DA-B848-445B6BF40D3A}"/>
              </a:ext>
            </a:extLst>
          </p:cNvPr>
          <p:cNvSpPr/>
          <p:nvPr userDrawn="1"/>
        </p:nvSpPr>
        <p:spPr bwMode="gray">
          <a:xfrm>
            <a:off x="8723338" y="1492655"/>
            <a:ext cx="748399" cy="239948"/>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39" name="Rechteck">
            <a:extLst>
              <a:ext uri="{FF2B5EF4-FFF2-40B4-BE49-F238E27FC236}">
                <a16:creationId xmlns:a16="http://schemas.microsoft.com/office/drawing/2014/main" id="{63955D92-5D6A-48E6-91AA-1ABABAB9ED09}"/>
              </a:ext>
            </a:extLst>
          </p:cNvPr>
          <p:cNvSpPr/>
          <p:nvPr userDrawn="1"/>
        </p:nvSpPr>
        <p:spPr bwMode="gray">
          <a:xfrm>
            <a:off x="9976556" y="1279681"/>
            <a:ext cx="446293" cy="450849"/>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13" name="Bildplatzhalter">
            <a:extLst>
              <a:ext uri="{FF2B5EF4-FFF2-40B4-BE49-F238E27FC236}">
                <a16:creationId xmlns:a16="http://schemas.microsoft.com/office/drawing/2014/main" id="{670A352A-9075-4383-BC37-7EF209BB4A7F}"/>
              </a:ext>
            </a:extLst>
          </p:cNvPr>
          <p:cNvSpPr>
            <a:spLocks noGrp="1"/>
          </p:cNvSpPr>
          <p:nvPr>
            <p:ph type="pic" sz="quarter" idx="11" hasCustomPrompt="1"/>
          </p:nvPr>
        </p:nvSpPr>
        <p:spPr bwMode="gray">
          <a:xfrm>
            <a:off x="164183" y="165101"/>
            <a:ext cx="11858487" cy="5968659"/>
          </a:xfrm>
          <a:noFill/>
        </p:spPr>
        <p:txBody>
          <a:bodyPr tIns="720000" rIns="0"/>
          <a:lstStyle>
            <a:lvl1pPr marL="0" marR="0" indent="0" algn="ctr" defTabSz="914392" rtl="0" eaLnBrk="1" fontAlgn="auto" latinLnBrk="0" hangingPunct="1">
              <a:lnSpc>
                <a:spcPct val="90000"/>
              </a:lnSpc>
              <a:spcBef>
                <a:spcPts val="0"/>
              </a:spcBef>
              <a:spcAft>
                <a:spcPts val="0"/>
              </a:spcAft>
              <a:buClrTx/>
              <a:buSzTx/>
              <a:buFont typeface="Arial" panose="020B0604020202020204" pitchFamily="34" charset="0"/>
              <a:buNone/>
              <a:tabLst/>
              <a:defRPr sz="667">
                <a:solidFill>
                  <a:schemeClr val="accent1"/>
                </a:solidFill>
              </a:defRPr>
            </a:lvl1pPr>
          </a:lstStyle>
          <a:p>
            <a:r>
              <a:rPr lang="es-ES"/>
              <a:t>.</a:t>
            </a:r>
            <a:endParaRPr lang="es-ES" dirty="0"/>
          </a:p>
        </p:txBody>
      </p:sp>
      <p:sp>
        <p:nvSpPr>
          <p:cNvPr id="15" name="Headline">
            <a:extLst>
              <a:ext uri="{FF2B5EF4-FFF2-40B4-BE49-F238E27FC236}">
                <a16:creationId xmlns:a16="http://schemas.microsoft.com/office/drawing/2014/main" id="{F8646EF2-FE73-41DC-B654-C5012A3720DD}"/>
              </a:ext>
            </a:extLst>
          </p:cNvPr>
          <p:cNvSpPr>
            <a:spLocks noGrp="1"/>
          </p:cNvSpPr>
          <p:nvPr>
            <p:ph type="title" hasCustomPrompt="1"/>
          </p:nvPr>
        </p:nvSpPr>
        <p:spPr bwMode="gray">
          <a:xfrm>
            <a:off x="164183" y="2093676"/>
            <a:ext cx="11858487" cy="4040085"/>
          </a:xfrm>
          <a:prstGeom prst="rect">
            <a:avLst/>
          </a:prstGeom>
          <a:blipFill dpi="0" rotWithShape="1">
            <a:blip r:embed="rId4">
              <a:alphaModFix amt="80000"/>
            </a:blip>
            <a:srcRect/>
            <a:stretch>
              <a:fillRect l="-10" r="-10"/>
            </a:stretch>
          </a:blipFill>
        </p:spPr>
        <p:txBody>
          <a:bodyPr wrap="square" lIns="900000" bIns="684000" anchor="b">
            <a:noAutofit/>
          </a:bodyPr>
          <a:lstStyle>
            <a:lvl1pPr>
              <a:defRPr sz="3467" b="0">
                <a:solidFill>
                  <a:schemeClr val="tx1"/>
                </a:solidFill>
              </a:defRPr>
            </a:lvl1pPr>
          </a:lstStyle>
          <a:p>
            <a:r>
              <a:rPr lang="es-ES" dirty="0"/>
              <a:t>Diapositiva intermedia con fotografía de fondo (sustituible) </a:t>
            </a:r>
          </a:p>
        </p:txBody>
      </p:sp>
      <p:pic>
        <p:nvPicPr>
          <p:cNvPr id="26" name="Beispiel" descr="Ein Bild, das Wand, Gebäude enthält.&#10;&#10;Automatisch generierte Beschreibung">
            <a:extLst>
              <a:ext uri="{FF2B5EF4-FFF2-40B4-BE49-F238E27FC236}">
                <a16:creationId xmlns:a16="http://schemas.microsoft.com/office/drawing/2014/main" id="{317CFD46-37B5-4632-BBA4-3F2278F98B67}"/>
              </a:ext>
            </a:extLst>
          </p:cNvPr>
          <p:cNvPicPr>
            <a:picLocks noChangeAspect="1"/>
          </p:cNvPicPr>
          <p:nvPr userDrawn="1"/>
        </p:nvPicPr>
        <p:blipFill>
          <a:blip r:embed="rId5"/>
          <a:stretch>
            <a:fillRect/>
          </a:stretch>
        </p:blipFill>
        <p:spPr bwMode="gray">
          <a:xfrm>
            <a:off x="9996030" y="1966807"/>
            <a:ext cx="1662545" cy="1147156"/>
          </a:xfrm>
          <a:prstGeom prst="rect">
            <a:avLst/>
          </a:prstGeom>
        </p:spPr>
      </p:pic>
      <p:sp>
        <p:nvSpPr>
          <p:cNvPr id="2" name="Datumsplatzhalter 1">
            <a:extLst>
              <a:ext uri="{FF2B5EF4-FFF2-40B4-BE49-F238E27FC236}">
                <a16:creationId xmlns:a16="http://schemas.microsoft.com/office/drawing/2014/main" id="{7FE8CDB2-1159-4B38-87CB-7B76ABCAF5A6}"/>
              </a:ext>
            </a:extLst>
          </p:cNvPr>
          <p:cNvSpPr>
            <a:spLocks noGrp="1"/>
          </p:cNvSpPr>
          <p:nvPr>
            <p:ph type="dt" sz="half" idx="12"/>
          </p:nvPr>
        </p:nvSpPr>
        <p:spPr/>
        <p:txBody>
          <a:bodyPr/>
          <a:lstStyle/>
          <a:p>
            <a:r>
              <a:rPr lang="es-ES"/>
              <a:t>14.02.2019</a:t>
            </a:r>
            <a:endParaRPr lang="es-ES" dirty="0"/>
          </a:p>
        </p:txBody>
      </p:sp>
      <p:sp>
        <p:nvSpPr>
          <p:cNvPr id="3" name="Fußzeilenplatzhalter 2">
            <a:extLst>
              <a:ext uri="{FF2B5EF4-FFF2-40B4-BE49-F238E27FC236}">
                <a16:creationId xmlns:a16="http://schemas.microsoft.com/office/drawing/2014/main" id="{3A2FE546-B940-43C2-BDF9-962F337F134E}"/>
              </a:ext>
            </a:extLst>
          </p:cNvPr>
          <p:cNvSpPr>
            <a:spLocks noGrp="1"/>
          </p:cNvSpPr>
          <p:nvPr>
            <p:ph type="ftr" sz="quarter" idx="13"/>
          </p:nvPr>
        </p:nvSpPr>
        <p:spPr/>
        <p:txBody>
          <a:bodyPr/>
          <a:lstStyle/>
          <a:p>
            <a:r>
              <a:rPr lang="es-ES"/>
              <a:t>Título de la presentación</a:t>
            </a:r>
            <a:endParaRPr lang="es-ES" dirty="0"/>
          </a:p>
        </p:txBody>
      </p:sp>
      <p:sp>
        <p:nvSpPr>
          <p:cNvPr id="4" name="Foliennummernplatzhalter 3">
            <a:extLst>
              <a:ext uri="{FF2B5EF4-FFF2-40B4-BE49-F238E27FC236}">
                <a16:creationId xmlns:a16="http://schemas.microsoft.com/office/drawing/2014/main" id="{32355FD6-D508-4498-BFBB-27A8A5C6FE14}"/>
              </a:ext>
            </a:extLst>
          </p:cNvPr>
          <p:cNvSpPr>
            <a:spLocks noGrp="1"/>
          </p:cNvSpPr>
          <p:nvPr>
            <p:ph type="sldNum" sz="quarter" idx="14"/>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384797821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 texto estándar">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599757" y="1361295"/>
            <a:ext cx="9563579" cy="4660625"/>
          </a:xfrm>
        </p:spPr>
        <p:txBody>
          <a:bodyPr/>
          <a:lstStyle>
            <a:lvl1pPr>
              <a:defRPr/>
            </a:lvl1pPr>
            <a:lvl2pPr>
              <a:defRPr/>
            </a:lvl2pPr>
            <a:lvl3pPr>
              <a:defRPr/>
            </a:lvl3pPr>
          </a:lstStyle>
          <a:p>
            <a:pPr lvl="0"/>
            <a:r>
              <a:rPr lang="es-ES" noProof="0" dirty="0"/>
              <a:t>Añadir texto haciendo clic</a:t>
            </a:r>
          </a:p>
          <a:p>
            <a:pPr lvl="1">
              <a:buClr>
                <a:schemeClr val="accent1"/>
              </a:buClr>
            </a:pPr>
            <a:r>
              <a:rPr lang="es-ES" dirty="0"/>
              <a:t>Segundo nivel</a:t>
            </a:r>
          </a:p>
          <a:p>
            <a:pPr lvl="2">
              <a:buClr>
                <a:schemeClr val="accent1"/>
              </a:buClr>
            </a:pPr>
            <a:r>
              <a:rPr lang="es-ES" dirty="0"/>
              <a:t>Tercer nivel</a:t>
            </a:r>
          </a:p>
        </p:txBody>
      </p:sp>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599755" y="320284"/>
            <a:ext cx="11422911" cy="720725"/>
          </a:xfrm>
        </p:spPr>
        <p:txBody>
          <a:bodyPr/>
          <a:lstStyle>
            <a:lvl1pPr>
              <a:defRPr/>
            </a:lvl1pPr>
          </a:lstStyle>
          <a:p>
            <a:r>
              <a:rPr lang="es-ES"/>
              <a:t>Añadir título haciendo clic</a:t>
            </a:r>
            <a:endParaRPr lang="es-ES" dirty="0"/>
          </a:p>
        </p:txBody>
      </p:sp>
      <p:sp>
        <p:nvSpPr>
          <p:cNvPr id="3" name="Datumsplatzhalter 2">
            <a:extLst>
              <a:ext uri="{FF2B5EF4-FFF2-40B4-BE49-F238E27FC236}">
                <a16:creationId xmlns:a16="http://schemas.microsoft.com/office/drawing/2014/main" id="{B6AC2327-FA07-4D62-9329-8D9299634E07}"/>
              </a:ext>
            </a:extLst>
          </p:cNvPr>
          <p:cNvSpPr>
            <a:spLocks noGrp="1"/>
          </p:cNvSpPr>
          <p:nvPr>
            <p:ph type="dt" sz="half" idx="14"/>
          </p:nvPr>
        </p:nvSpPr>
        <p:spPr/>
        <p:txBody>
          <a:bodyPr/>
          <a:lstStyle/>
          <a:p>
            <a:r>
              <a:rPr lang="es-ES"/>
              <a:t>14.02.2019</a:t>
            </a:r>
            <a:endParaRPr lang="es-ES" dirty="0"/>
          </a:p>
        </p:txBody>
      </p:sp>
      <p:sp>
        <p:nvSpPr>
          <p:cNvPr id="4" name="Fußzeilenplatzhalter 3">
            <a:extLst>
              <a:ext uri="{FF2B5EF4-FFF2-40B4-BE49-F238E27FC236}">
                <a16:creationId xmlns:a16="http://schemas.microsoft.com/office/drawing/2014/main" id="{D75B65AF-FBBE-4698-A801-2BE24B22ECD3}"/>
              </a:ext>
            </a:extLst>
          </p:cNvPr>
          <p:cNvSpPr>
            <a:spLocks noGrp="1"/>
          </p:cNvSpPr>
          <p:nvPr>
            <p:ph type="ftr" sz="quarter" idx="15"/>
          </p:nvPr>
        </p:nvSpPr>
        <p:spPr/>
        <p:txBody>
          <a:bodyPr/>
          <a:lstStyle/>
          <a:p>
            <a:r>
              <a:rPr lang="es-ES"/>
              <a:t>Título de la presentación</a:t>
            </a:r>
            <a:endParaRPr lang="es-ES" dirty="0"/>
          </a:p>
        </p:txBody>
      </p:sp>
      <p:sp>
        <p:nvSpPr>
          <p:cNvPr id="5" name="Foliennummernplatzhalter 4">
            <a:extLst>
              <a:ext uri="{FF2B5EF4-FFF2-40B4-BE49-F238E27FC236}">
                <a16:creationId xmlns:a16="http://schemas.microsoft.com/office/drawing/2014/main" id="{4A41DA85-D5FF-4FC7-8B95-2CE4EABC5160}"/>
              </a:ext>
            </a:extLst>
          </p:cNvPr>
          <p:cNvSpPr>
            <a:spLocks noGrp="1"/>
          </p:cNvSpPr>
          <p:nvPr>
            <p:ph type="sldNum" sz="quarter" idx="16"/>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2473975719"/>
      </p:ext>
    </p:extLst>
  </p:cSld>
  <p:clrMapOvr>
    <a:masterClrMapping/>
  </p:clrMapOvr>
  <p:transition>
    <p:fade/>
  </p:transition>
  <p:extLst>
    <p:ext uri="{DCECCB84-F9BA-43D5-87BE-67443E8EF086}">
      <p15:sldGuideLst xmlns:p15="http://schemas.microsoft.com/office/powerpoint/2012/main">
        <p15:guide id="1" orient="horz" pos="3793"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ap. texto estándar subtítulo">
    <p:spTree>
      <p:nvGrpSpPr>
        <p:cNvPr id="1" name=""/>
        <p:cNvGrpSpPr/>
        <p:nvPr/>
      </p:nvGrpSpPr>
      <p:grpSpPr>
        <a:xfrm>
          <a:off x="0" y="0"/>
          <a:ext cx="0" cy="0"/>
          <a:chOff x="0" y="0"/>
          <a:chExt cx="0" cy="0"/>
        </a:xfrm>
      </p:grpSpPr>
      <p:sp>
        <p:nvSpPr>
          <p:cNvPr id="12" name="Titel 1">
            <a:extLst>
              <a:ext uri="{FF2B5EF4-FFF2-40B4-BE49-F238E27FC236}">
                <a16:creationId xmlns:a16="http://schemas.microsoft.com/office/drawing/2014/main" id="{726EAD89-A3DC-4500-9071-F28C7DB87ECF}"/>
              </a:ext>
            </a:extLst>
          </p:cNvPr>
          <p:cNvSpPr>
            <a:spLocks noGrp="1"/>
          </p:cNvSpPr>
          <p:nvPr>
            <p:ph type="title" hasCustomPrompt="1"/>
          </p:nvPr>
        </p:nvSpPr>
        <p:spPr bwMode="gray">
          <a:xfrm>
            <a:off x="599755" y="352040"/>
            <a:ext cx="11422911" cy="360753"/>
          </a:xfrm>
        </p:spPr>
        <p:txBody>
          <a:bodyPr/>
          <a:lstStyle>
            <a:lvl1pPr>
              <a:defRPr/>
            </a:lvl1pPr>
          </a:lstStyle>
          <a:p>
            <a:r>
              <a:rPr lang="es-ES"/>
              <a:t>Añadir título haciendo clic</a:t>
            </a:r>
            <a:endParaRPr lang="es-ES" dirty="0"/>
          </a:p>
        </p:txBody>
      </p:sp>
      <p:sp>
        <p:nvSpPr>
          <p:cNvPr id="7" name="Textplatzhalter 2">
            <a:extLst>
              <a:ext uri="{FF2B5EF4-FFF2-40B4-BE49-F238E27FC236}">
                <a16:creationId xmlns:a16="http://schemas.microsoft.com/office/drawing/2014/main" id="{7BDDDF81-EBEA-4C88-AA55-681A5710CA2C}"/>
              </a:ext>
            </a:extLst>
          </p:cNvPr>
          <p:cNvSpPr>
            <a:spLocks noGrp="1"/>
          </p:cNvSpPr>
          <p:nvPr>
            <p:ph type="body" sz="quarter" idx="14" hasCustomPrompt="1"/>
          </p:nvPr>
        </p:nvSpPr>
        <p:spPr bwMode="gray">
          <a:xfrm>
            <a:off x="599018" y="774701"/>
            <a:ext cx="11423649" cy="501651"/>
          </a:xfrm>
        </p:spPr>
        <p:txBody>
          <a:bodyPr vert="horz" lIns="0" tIns="0" rIns="72000" bIns="0" rtlCol="0" anchor="t">
            <a:noAutofit/>
          </a:bodyPr>
          <a:lstStyle>
            <a:lvl1pPr>
              <a:defRPr lang="de-DE" sz="1867" b="0" cap="none" baseline="0" smtClean="0">
                <a:latin typeface="+mj-lt"/>
                <a:ea typeface="+mj-ea"/>
                <a:cs typeface="+mj-cs"/>
              </a:defRPr>
            </a:lvl1pPr>
            <a:lvl2pPr>
              <a:defRPr lang="de-DE" smtClean="0"/>
            </a:lvl2pPr>
            <a:lvl3pPr>
              <a:defRPr lang="de-DE" smtClean="0"/>
            </a:lvl3pPr>
            <a:lvl4pPr>
              <a:defRPr lang="de-DE" smtClean="0"/>
            </a:lvl4pPr>
            <a:lvl5pPr>
              <a:defRPr lang="en-US"/>
            </a:lvl5pPr>
          </a:lstStyle>
          <a:p>
            <a:pPr lvl="0">
              <a:spcBef>
                <a:spcPct val="0"/>
              </a:spcBef>
            </a:pPr>
            <a:r>
              <a:rPr lang="es-ES" dirty="0"/>
              <a:t>Añadir subtítulo haciendo clic</a:t>
            </a:r>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599760" y="1361295"/>
            <a:ext cx="9563577" cy="4660625"/>
          </a:xfrm>
        </p:spPr>
        <p:txBody>
          <a:bodyPr/>
          <a:lstStyle>
            <a:lvl1pPr>
              <a:defRPr/>
            </a:lvl1pPr>
            <a:lvl2pPr>
              <a:defRPr/>
            </a:lvl2pPr>
            <a:lvl3pPr>
              <a:defRPr/>
            </a:lvl3pPr>
          </a:lstStyle>
          <a:p>
            <a:pPr lvl="0"/>
            <a:r>
              <a:rPr lang="es-ES" noProof="0" dirty="0"/>
              <a:t>Añadir texto haciendo clic</a:t>
            </a:r>
          </a:p>
          <a:p>
            <a:pPr lvl="1">
              <a:buClr>
                <a:schemeClr val="accent1"/>
              </a:buClr>
            </a:pPr>
            <a:r>
              <a:rPr lang="es-ES" dirty="0"/>
              <a:t>Segundo nivel</a:t>
            </a:r>
          </a:p>
          <a:p>
            <a:pPr lvl="2">
              <a:buClr>
                <a:schemeClr val="accent1"/>
              </a:buClr>
            </a:pPr>
            <a:r>
              <a:rPr lang="es-ES" dirty="0"/>
              <a:t>Tercer nivel</a:t>
            </a:r>
          </a:p>
        </p:txBody>
      </p:sp>
      <p:sp>
        <p:nvSpPr>
          <p:cNvPr id="3" name="Datumsplatzhalter 2">
            <a:extLst>
              <a:ext uri="{FF2B5EF4-FFF2-40B4-BE49-F238E27FC236}">
                <a16:creationId xmlns:a16="http://schemas.microsoft.com/office/drawing/2014/main" id="{E1476F24-2F7F-4176-988F-7C6BEC5362CA}"/>
              </a:ext>
            </a:extLst>
          </p:cNvPr>
          <p:cNvSpPr>
            <a:spLocks noGrp="1"/>
          </p:cNvSpPr>
          <p:nvPr>
            <p:ph type="dt" sz="half" idx="15"/>
          </p:nvPr>
        </p:nvSpPr>
        <p:spPr/>
        <p:txBody>
          <a:bodyPr/>
          <a:lstStyle/>
          <a:p>
            <a:r>
              <a:rPr lang="es-ES"/>
              <a:t>14.02.2019</a:t>
            </a:r>
            <a:endParaRPr lang="es-ES" dirty="0"/>
          </a:p>
        </p:txBody>
      </p:sp>
      <p:sp>
        <p:nvSpPr>
          <p:cNvPr id="4" name="Fußzeilenplatzhalter 3">
            <a:extLst>
              <a:ext uri="{FF2B5EF4-FFF2-40B4-BE49-F238E27FC236}">
                <a16:creationId xmlns:a16="http://schemas.microsoft.com/office/drawing/2014/main" id="{FA44C094-D71E-4F56-99A0-4FB60406C9F0}"/>
              </a:ext>
            </a:extLst>
          </p:cNvPr>
          <p:cNvSpPr>
            <a:spLocks noGrp="1"/>
          </p:cNvSpPr>
          <p:nvPr>
            <p:ph type="ftr" sz="quarter" idx="16"/>
          </p:nvPr>
        </p:nvSpPr>
        <p:spPr/>
        <p:txBody>
          <a:bodyPr/>
          <a:lstStyle/>
          <a:p>
            <a:r>
              <a:rPr lang="es-ES"/>
              <a:t>Título de la presentación</a:t>
            </a:r>
            <a:endParaRPr lang="es-ES" dirty="0"/>
          </a:p>
        </p:txBody>
      </p:sp>
      <p:sp>
        <p:nvSpPr>
          <p:cNvPr id="5" name="Foliennummernplatzhalter 4">
            <a:extLst>
              <a:ext uri="{FF2B5EF4-FFF2-40B4-BE49-F238E27FC236}">
                <a16:creationId xmlns:a16="http://schemas.microsoft.com/office/drawing/2014/main" id="{3FBCB687-26C1-445F-8685-B79921C5C08A}"/>
              </a:ext>
            </a:extLst>
          </p:cNvPr>
          <p:cNvSpPr>
            <a:spLocks noGrp="1"/>
          </p:cNvSpPr>
          <p:nvPr>
            <p:ph type="sldNum" sz="quarter" idx="17"/>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2055235818"/>
      </p:ext>
    </p:extLst>
  </p:cSld>
  <p:clrMapOvr>
    <a:masterClrMapping/>
  </p:clrMapOvr>
  <p:transition>
    <p:fade/>
  </p:transition>
  <p:extLst>
    <p:ext uri="{DCECCB84-F9BA-43D5-87BE-67443E8EF086}">
      <p15:sldGuideLst xmlns:p15="http://schemas.microsoft.com/office/powerpoint/2012/main">
        <p15:guide id="1" orient="horz" pos="3793"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ap. texto estándar (altern.)">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599757" y="1361293"/>
            <a:ext cx="9563579" cy="3786443"/>
          </a:xfrm>
        </p:spPr>
        <p:txBody>
          <a:bodyPr/>
          <a:lstStyle>
            <a:lvl1pPr>
              <a:defRPr/>
            </a:lvl1pPr>
            <a:lvl2pPr>
              <a:defRPr/>
            </a:lvl2pPr>
            <a:lvl3pPr>
              <a:defRPr/>
            </a:lvl3pPr>
          </a:lstStyle>
          <a:p>
            <a:pPr lvl="0"/>
            <a:r>
              <a:rPr lang="es-ES" noProof="0" dirty="0"/>
              <a:t>Añadir texto haciendo clic</a:t>
            </a:r>
          </a:p>
          <a:p>
            <a:pPr lvl="1">
              <a:buClr>
                <a:schemeClr val="accent1"/>
              </a:buClr>
            </a:pPr>
            <a:r>
              <a:rPr lang="es-ES" dirty="0"/>
              <a:t>Segundo nivel</a:t>
            </a:r>
          </a:p>
          <a:p>
            <a:pPr lvl="2">
              <a:buClr>
                <a:schemeClr val="accent1"/>
              </a:buClr>
            </a:pPr>
            <a:r>
              <a:rPr lang="es-ES" dirty="0"/>
              <a:t>Tercer nivel</a:t>
            </a:r>
          </a:p>
        </p:txBody>
      </p:sp>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599755" y="320284"/>
            <a:ext cx="11422911" cy="720725"/>
          </a:xfrm>
        </p:spPr>
        <p:txBody>
          <a:bodyPr/>
          <a:lstStyle>
            <a:lvl1pPr>
              <a:defRPr/>
            </a:lvl1pPr>
          </a:lstStyle>
          <a:p>
            <a:r>
              <a:rPr lang="es-ES"/>
              <a:t>Añadir título haciendo clic</a:t>
            </a:r>
            <a:endParaRPr lang="es-ES" dirty="0"/>
          </a:p>
        </p:txBody>
      </p:sp>
      <p:grpSp>
        <p:nvGrpSpPr>
          <p:cNvPr id="20" name="Key Visual">
            <a:extLst>
              <a:ext uri="{FF2B5EF4-FFF2-40B4-BE49-F238E27FC236}">
                <a16:creationId xmlns:a16="http://schemas.microsoft.com/office/drawing/2014/main" id="{BCBD8A78-7D69-4DFD-B354-CF36A84705CB}"/>
              </a:ext>
            </a:extLst>
          </p:cNvPr>
          <p:cNvGrpSpPr/>
          <p:nvPr userDrawn="1"/>
        </p:nvGrpSpPr>
        <p:grpSpPr bwMode="gray">
          <a:xfrm flipV="1">
            <a:off x="164180" y="5311121"/>
            <a:ext cx="3094437" cy="822639"/>
            <a:chOff x="4846637" y="119557"/>
            <a:chExt cx="3783013" cy="1005693"/>
          </a:xfrm>
        </p:grpSpPr>
        <p:sp>
          <p:nvSpPr>
            <p:cNvPr id="21" name="Freihandform: Form 20">
              <a:extLst>
                <a:ext uri="{FF2B5EF4-FFF2-40B4-BE49-F238E27FC236}">
                  <a16:creationId xmlns:a16="http://schemas.microsoft.com/office/drawing/2014/main" id="{E45BEDC0-179F-43C1-A606-AFD62A6A063E}"/>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2"/>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2" name="Freihandform: Form 21">
              <a:extLst>
                <a:ext uri="{FF2B5EF4-FFF2-40B4-BE49-F238E27FC236}">
                  <a16:creationId xmlns:a16="http://schemas.microsoft.com/office/drawing/2014/main" id="{F6CCD5CC-5505-4485-9297-BB0A34EBB2F6}"/>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23" name="Freihandform: Form 22">
              <a:extLst>
                <a:ext uri="{FF2B5EF4-FFF2-40B4-BE49-F238E27FC236}">
                  <a16:creationId xmlns:a16="http://schemas.microsoft.com/office/drawing/2014/main" id="{18541086-C56A-406D-91E6-D3E933CF7BA3}"/>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24" name="Freihandform: Form 23">
              <a:extLst>
                <a:ext uri="{FF2B5EF4-FFF2-40B4-BE49-F238E27FC236}">
                  <a16:creationId xmlns:a16="http://schemas.microsoft.com/office/drawing/2014/main" id="{1B8A9566-A588-4E4A-8143-1CBDC9C30D67}"/>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25" name="Freihandform: Form 24">
              <a:extLst>
                <a:ext uri="{FF2B5EF4-FFF2-40B4-BE49-F238E27FC236}">
                  <a16:creationId xmlns:a16="http://schemas.microsoft.com/office/drawing/2014/main" id="{6FDDC1A6-3462-4813-8D80-9E642D617983}"/>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grpSp>
      <p:sp>
        <p:nvSpPr>
          <p:cNvPr id="3" name="Datumsplatzhalter 2">
            <a:extLst>
              <a:ext uri="{FF2B5EF4-FFF2-40B4-BE49-F238E27FC236}">
                <a16:creationId xmlns:a16="http://schemas.microsoft.com/office/drawing/2014/main" id="{A7730DA6-C589-427D-AEE0-2C3102FF8392}"/>
              </a:ext>
            </a:extLst>
          </p:cNvPr>
          <p:cNvSpPr>
            <a:spLocks noGrp="1"/>
          </p:cNvSpPr>
          <p:nvPr>
            <p:ph type="dt" sz="half" idx="14"/>
          </p:nvPr>
        </p:nvSpPr>
        <p:spPr/>
        <p:txBody>
          <a:bodyPr/>
          <a:lstStyle/>
          <a:p>
            <a:r>
              <a:rPr lang="es-ES"/>
              <a:t>14.02.2019</a:t>
            </a:r>
            <a:endParaRPr lang="es-ES" dirty="0"/>
          </a:p>
        </p:txBody>
      </p:sp>
      <p:sp>
        <p:nvSpPr>
          <p:cNvPr id="4" name="Fußzeilenplatzhalter 3">
            <a:extLst>
              <a:ext uri="{FF2B5EF4-FFF2-40B4-BE49-F238E27FC236}">
                <a16:creationId xmlns:a16="http://schemas.microsoft.com/office/drawing/2014/main" id="{8717AC0A-9AC9-44D4-8D28-28058E349078}"/>
              </a:ext>
            </a:extLst>
          </p:cNvPr>
          <p:cNvSpPr>
            <a:spLocks noGrp="1"/>
          </p:cNvSpPr>
          <p:nvPr>
            <p:ph type="ftr" sz="quarter" idx="15"/>
          </p:nvPr>
        </p:nvSpPr>
        <p:spPr/>
        <p:txBody>
          <a:bodyPr/>
          <a:lstStyle/>
          <a:p>
            <a:r>
              <a:rPr lang="es-ES"/>
              <a:t>Título de la presentación</a:t>
            </a:r>
            <a:endParaRPr lang="es-ES" dirty="0"/>
          </a:p>
        </p:txBody>
      </p:sp>
      <p:sp>
        <p:nvSpPr>
          <p:cNvPr id="5" name="Foliennummernplatzhalter 4">
            <a:extLst>
              <a:ext uri="{FF2B5EF4-FFF2-40B4-BE49-F238E27FC236}">
                <a16:creationId xmlns:a16="http://schemas.microsoft.com/office/drawing/2014/main" id="{B24D4F32-2862-400D-ADA4-D3D7C74DC185}"/>
              </a:ext>
            </a:extLst>
          </p:cNvPr>
          <p:cNvSpPr>
            <a:spLocks noGrp="1"/>
          </p:cNvSpPr>
          <p:nvPr>
            <p:ph type="sldNum" sz="quarter" idx="16"/>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135859708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ap. texto 2 columnas">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599757" y="1361295"/>
            <a:ext cx="5496243" cy="4660625"/>
          </a:xfrm>
        </p:spPr>
        <p:txBody>
          <a:bodyPr/>
          <a:lstStyle>
            <a:lvl1pPr>
              <a:defRPr/>
            </a:lvl1pPr>
            <a:lvl2pPr>
              <a:defRPr/>
            </a:lvl2pPr>
            <a:lvl3pPr>
              <a:defRPr/>
            </a:lvl3pPr>
          </a:lstStyle>
          <a:p>
            <a:pPr lvl="0"/>
            <a:r>
              <a:rPr lang="es-ES" noProof="0" dirty="0"/>
              <a:t>Añadir texto haciendo clic</a:t>
            </a:r>
          </a:p>
          <a:p>
            <a:pPr lvl="1">
              <a:buClr>
                <a:schemeClr val="accent1"/>
              </a:buClr>
            </a:pPr>
            <a:r>
              <a:rPr lang="es-ES" dirty="0"/>
              <a:t>Segundo nivel</a:t>
            </a:r>
          </a:p>
          <a:p>
            <a:pPr lvl="2">
              <a:buClr>
                <a:schemeClr val="accent1"/>
              </a:buClr>
            </a:pPr>
            <a:r>
              <a:rPr lang="es-ES" dirty="0"/>
              <a:t>Tercer nivel</a:t>
            </a:r>
          </a:p>
        </p:txBody>
      </p:sp>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599758" y="320284"/>
            <a:ext cx="11414444" cy="720725"/>
          </a:xfrm>
        </p:spPr>
        <p:txBody>
          <a:bodyPr/>
          <a:lstStyle>
            <a:lvl1pPr>
              <a:defRPr/>
            </a:lvl1pPr>
          </a:lstStyle>
          <a:p>
            <a:r>
              <a:rPr lang="es-ES" dirty="0"/>
              <a:t>Añadir título haciendo clic</a:t>
            </a:r>
          </a:p>
        </p:txBody>
      </p:sp>
      <p:sp>
        <p:nvSpPr>
          <p:cNvPr id="9" name="Textplatzhalter 7">
            <a:extLst>
              <a:ext uri="{FF2B5EF4-FFF2-40B4-BE49-F238E27FC236}">
                <a16:creationId xmlns:a16="http://schemas.microsoft.com/office/drawing/2014/main" id="{22732D1C-05D1-4A5F-B576-23063E1D7BD4}"/>
              </a:ext>
            </a:extLst>
          </p:cNvPr>
          <p:cNvSpPr>
            <a:spLocks noGrp="1"/>
          </p:cNvSpPr>
          <p:nvPr>
            <p:ph type="body" sz="quarter" idx="14" hasCustomPrompt="1"/>
          </p:nvPr>
        </p:nvSpPr>
        <p:spPr bwMode="gray">
          <a:xfrm>
            <a:off x="6517957" y="1361295"/>
            <a:ext cx="5496243" cy="4660625"/>
          </a:xfrm>
        </p:spPr>
        <p:txBody>
          <a:bodyPr/>
          <a:lstStyle>
            <a:lvl1pPr>
              <a:defRPr/>
            </a:lvl1pPr>
            <a:lvl2pPr>
              <a:defRPr/>
            </a:lvl2pPr>
            <a:lvl3pPr>
              <a:defRPr/>
            </a:lvl3pPr>
          </a:lstStyle>
          <a:p>
            <a:pPr lvl="0"/>
            <a:r>
              <a:rPr lang="es-ES" noProof="0" dirty="0"/>
              <a:t>Añadir texto haciendo clic</a:t>
            </a:r>
          </a:p>
          <a:p>
            <a:pPr lvl="1">
              <a:buClr>
                <a:schemeClr val="accent1"/>
              </a:buClr>
            </a:pPr>
            <a:r>
              <a:rPr lang="es-ES" dirty="0"/>
              <a:t>Segundo nivel</a:t>
            </a:r>
          </a:p>
          <a:p>
            <a:pPr lvl="2">
              <a:buClr>
                <a:schemeClr val="accent1"/>
              </a:buClr>
            </a:pPr>
            <a:r>
              <a:rPr lang="es-ES" dirty="0"/>
              <a:t>Tercer nivel</a:t>
            </a:r>
          </a:p>
        </p:txBody>
      </p:sp>
      <p:sp>
        <p:nvSpPr>
          <p:cNvPr id="3" name="Datumsplatzhalter 2">
            <a:extLst>
              <a:ext uri="{FF2B5EF4-FFF2-40B4-BE49-F238E27FC236}">
                <a16:creationId xmlns:a16="http://schemas.microsoft.com/office/drawing/2014/main" id="{316A7CEA-97B8-4160-81D3-5EFEE4578B13}"/>
              </a:ext>
            </a:extLst>
          </p:cNvPr>
          <p:cNvSpPr>
            <a:spLocks noGrp="1"/>
          </p:cNvSpPr>
          <p:nvPr>
            <p:ph type="dt" sz="half" idx="15"/>
          </p:nvPr>
        </p:nvSpPr>
        <p:spPr/>
        <p:txBody>
          <a:bodyPr/>
          <a:lstStyle/>
          <a:p>
            <a:r>
              <a:rPr lang="es-ES"/>
              <a:t>14.02.2019</a:t>
            </a:r>
            <a:endParaRPr lang="es-ES" dirty="0"/>
          </a:p>
        </p:txBody>
      </p:sp>
      <p:sp>
        <p:nvSpPr>
          <p:cNvPr id="4" name="Fußzeilenplatzhalter 3">
            <a:extLst>
              <a:ext uri="{FF2B5EF4-FFF2-40B4-BE49-F238E27FC236}">
                <a16:creationId xmlns:a16="http://schemas.microsoft.com/office/drawing/2014/main" id="{43270C03-A22A-497B-A829-10BBE04A2199}"/>
              </a:ext>
            </a:extLst>
          </p:cNvPr>
          <p:cNvSpPr>
            <a:spLocks noGrp="1"/>
          </p:cNvSpPr>
          <p:nvPr>
            <p:ph type="ftr" sz="quarter" idx="16"/>
          </p:nvPr>
        </p:nvSpPr>
        <p:spPr/>
        <p:txBody>
          <a:bodyPr/>
          <a:lstStyle/>
          <a:p>
            <a:r>
              <a:rPr lang="es-ES"/>
              <a:t>Título de la presentación</a:t>
            </a:r>
            <a:endParaRPr lang="es-ES" dirty="0"/>
          </a:p>
        </p:txBody>
      </p:sp>
      <p:sp>
        <p:nvSpPr>
          <p:cNvPr id="5" name="Foliennummernplatzhalter 4">
            <a:extLst>
              <a:ext uri="{FF2B5EF4-FFF2-40B4-BE49-F238E27FC236}">
                <a16:creationId xmlns:a16="http://schemas.microsoft.com/office/drawing/2014/main" id="{71840757-2CA0-4DDB-974A-E7C5474ABD90}"/>
              </a:ext>
            </a:extLst>
          </p:cNvPr>
          <p:cNvSpPr>
            <a:spLocks noGrp="1"/>
          </p:cNvSpPr>
          <p:nvPr>
            <p:ph type="sldNum" sz="quarter" idx="17"/>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1871978961"/>
      </p:ext>
    </p:extLst>
  </p:cSld>
  <p:clrMapOvr>
    <a:masterClrMapping/>
  </p:clrMapOvr>
  <p:transition>
    <p:fade/>
  </p:transition>
  <p:extLst>
    <p:ext uri="{DCECCB84-F9BA-43D5-87BE-67443E8EF086}">
      <p15:sldGuideLst xmlns:p15="http://schemas.microsoft.com/office/powerpoint/2012/main">
        <p15:guide id="2" orient="horz" pos="3793"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ap. texto 1 columna">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599757" y="1361294"/>
            <a:ext cx="5496243" cy="4660625"/>
          </a:xfrm>
        </p:spPr>
        <p:txBody>
          <a:bodyPr/>
          <a:lstStyle>
            <a:lvl1pPr>
              <a:defRPr/>
            </a:lvl1pPr>
            <a:lvl2pPr>
              <a:defRPr/>
            </a:lvl2pPr>
            <a:lvl3pPr>
              <a:defRPr/>
            </a:lvl3pPr>
          </a:lstStyle>
          <a:p>
            <a:pPr lvl="0"/>
            <a:r>
              <a:rPr lang="es-ES" noProof="0" dirty="0"/>
              <a:t>Añadir texto haciendo clic</a:t>
            </a:r>
          </a:p>
          <a:p>
            <a:pPr lvl="1">
              <a:buClr>
                <a:schemeClr val="accent1"/>
              </a:buClr>
            </a:pPr>
            <a:r>
              <a:rPr lang="es-ES" dirty="0"/>
              <a:t>Segundo nivel</a:t>
            </a:r>
          </a:p>
          <a:p>
            <a:pPr lvl="2">
              <a:buClr>
                <a:schemeClr val="accent1"/>
              </a:buClr>
            </a:pPr>
            <a:r>
              <a:rPr lang="es-ES" dirty="0"/>
              <a:t>Tercer nivel</a:t>
            </a:r>
          </a:p>
        </p:txBody>
      </p:sp>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599755" y="320284"/>
            <a:ext cx="11422911" cy="720725"/>
          </a:xfrm>
        </p:spPr>
        <p:txBody>
          <a:bodyPr/>
          <a:lstStyle>
            <a:lvl1pPr>
              <a:defRPr/>
            </a:lvl1pPr>
          </a:lstStyle>
          <a:p>
            <a:r>
              <a:rPr lang="es-ES"/>
              <a:t>Añadir título haciendo clic</a:t>
            </a:r>
            <a:endParaRPr lang="es-ES" dirty="0"/>
          </a:p>
        </p:txBody>
      </p:sp>
      <p:sp>
        <p:nvSpPr>
          <p:cNvPr id="3" name="Datumsplatzhalter 2">
            <a:extLst>
              <a:ext uri="{FF2B5EF4-FFF2-40B4-BE49-F238E27FC236}">
                <a16:creationId xmlns:a16="http://schemas.microsoft.com/office/drawing/2014/main" id="{64435F81-3DE7-476E-B38E-090B91FF586F}"/>
              </a:ext>
            </a:extLst>
          </p:cNvPr>
          <p:cNvSpPr>
            <a:spLocks noGrp="1"/>
          </p:cNvSpPr>
          <p:nvPr>
            <p:ph type="dt" sz="half" idx="14"/>
          </p:nvPr>
        </p:nvSpPr>
        <p:spPr/>
        <p:txBody>
          <a:bodyPr/>
          <a:lstStyle/>
          <a:p>
            <a:r>
              <a:rPr lang="es-ES"/>
              <a:t>14.02.2019</a:t>
            </a:r>
            <a:endParaRPr lang="es-ES" dirty="0"/>
          </a:p>
        </p:txBody>
      </p:sp>
      <p:sp>
        <p:nvSpPr>
          <p:cNvPr id="4" name="Fußzeilenplatzhalter 3">
            <a:extLst>
              <a:ext uri="{FF2B5EF4-FFF2-40B4-BE49-F238E27FC236}">
                <a16:creationId xmlns:a16="http://schemas.microsoft.com/office/drawing/2014/main" id="{57F736AD-BFFC-428A-AE6B-45650A28D4FC}"/>
              </a:ext>
            </a:extLst>
          </p:cNvPr>
          <p:cNvSpPr>
            <a:spLocks noGrp="1"/>
          </p:cNvSpPr>
          <p:nvPr>
            <p:ph type="ftr" sz="quarter" idx="15"/>
          </p:nvPr>
        </p:nvSpPr>
        <p:spPr/>
        <p:txBody>
          <a:bodyPr/>
          <a:lstStyle/>
          <a:p>
            <a:r>
              <a:rPr lang="es-ES"/>
              <a:t>Título de la presentación</a:t>
            </a:r>
            <a:endParaRPr lang="es-ES" dirty="0"/>
          </a:p>
        </p:txBody>
      </p:sp>
      <p:sp>
        <p:nvSpPr>
          <p:cNvPr id="5" name="Foliennummernplatzhalter 4">
            <a:extLst>
              <a:ext uri="{FF2B5EF4-FFF2-40B4-BE49-F238E27FC236}">
                <a16:creationId xmlns:a16="http://schemas.microsoft.com/office/drawing/2014/main" id="{1021B538-EB29-49D5-8BC5-22148B4D19E1}"/>
              </a:ext>
            </a:extLst>
          </p:cNvPr>
          <p:cNvSpPr>
            <a:spLocks noGrp="1"/>
          </p:cNvSpPr>
          <p:nvPr>
            <p:ph type="sldNum" sz="quarter" idx="16"/>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187320649"/>
      </p:ext>
    </p:extLst>
  </p:cSld>
  <p:clrMapOvr>
    <a:masterClrMapping/>
  </p:clrMapOvr>
  <p:transition>
    <p:fade/>
  </p:transition>
  <p:extLst>
    <p:ext uri="{DCECCB84-F9BA-43D5-87BE-67443E8EF086}">
      <p15:sldGuideLst xmlns:p15="http://schemas.microsoft.com/office/powerpoint/2012/main">
        <p15:guide id="1" pos="3840" userDrawn="1">
          <p15:clr>
            <a:srgbClr val="FBAE40"/>
          </p15:clr>
        </p15:guide>
        <p15:guide id="2" orient="horz" pos="379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ítulo b/n">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FF0DB5C6-9E74-4378-9827-68473EFA35F3}"/>
              </a:ext>
            </a:extLst>
          </p:cNvPr>
          <p:cNvPicPr>
            <a:picLocks/>
          </p:cNvPicPr>
          <p:nvPr userDrawn="1"/>
        </p:nvPicPr>
        <p:blipFill rotWithShape="1">
          <a:blip r:embed="rId2"/>
          <a:srcRect t="233" b="26747"/>
          <a:stretch/>
        </p:blipFill>
        <p:spPr bwMode="gray">
          <a:xfrm>
            <a:off x="164183" y="165100"/>
            <a:ext cx="11858487" cy="4721861"/>
          </a:xfrm>
          <a:prstGeom prst="rect">
            <a:avLst/>
          </a:prstGeom>
        </p:spPr>
      </p:pic>
      <p:pic>
        <p:nvPicPr>
          <p:cNvPr id="15" name="Grafik 14" descr="Ein Bild, das Säge enthält.&#10;&#10;Automatisch generierte Beschreibung">
            <a:extLst>
              <a:ext uri="{FF2B5EF4-FFF2-40B4-BE49-F238E27FC236}">
                <a16:creationId xmlns:a16="http://schemas.microsoft.com/office/drawing/2014/main" id="{31687CA2-4830-4EA3-B6BE-4D04E1B83630}"/>
              </a:ext>
            </a:extLst>
          </p:cNvPr>
          <p:cNvPicPr>
            <a:picLocks noChangeAspect="1"/>
          </p:cNvPicPr>
          <p:nvPr userDrawn="1"/>
        </p:nvPicPr>
        <p:blipFill>
          <a:blip r:embed="rId3"/>
          <a:stretch>
            <a:fillRect/>
          </a:stretch>
        </p:blipFill>
        <p:spPr bwMode="gray">
          <a:xfrm>
            <a:off x="164180" y="846876"/>
            <a:ext cx="11860800" cy="4040085"/>
          </a:xfrm>
          <a:prstGeom prst="rect">
            <a:avLst/>
          </a:prstGeom>
        </p:spPr>
      </p:pic>
      <p:pic>
        <p:nvPicPr>
          <p:cNvPr id="10" name="logo">
            <a:extLst>
              <a:ext uri="{FF2B5EF4-FFF2-40B4-BE49-F238E27FC236}">
                <a16:creationId xmlns:a16="http://schemas.microsoft.com/office/drawing/2014/main" id="{5020DAB1-6624-4F6F-85BE-D8BE78A1A57E}"/>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8000"/>
                    </a14:imgEffect>
                  </a14:imgLayer>
                </a14:imgProps>
              </a:ext>
              <a:ext uri="{28A0092B-C50C-407E-A947-70E740481C1C}">
                <a14:useLocalDpi xmlns:a14="http://schemas.microsoft.com/office/drawing/2010/main" val="0"/>
              </a:ext>
            </a:extLst>
          </a:blip>
          <a:stretch>
            <a:fillRect/>
          </a:stretch>
        </p:blipFill>
        <p:spPr bwMode="gray">
          <a:xfrm>
            <a:off x="916199" y="5422244"/>
            <a:ext cx="3081728" cy="850557"/>
          </a:xfrm>
          <a:prstGeom prst="rect">
            <a:avLst/>
          </a:prstGeom>
        </p:spPr>
      </p:pic>
      <p:sp>
        <p:nvSpPr>
          <p:cNvPr id="13" name="Bar">
            <a:extLst>
              <a:ext uri="{FF2B5EF4-FFF2-40B4-BE49-F238E27FC236}">
                <a16:creationId xmlns:a16="http://schemas.microsoft.com/office/drawing/2014/main" id="{8C59F0BE-E094-4F6F-B663-07A571A19A62}"/>
              </a:ext>
            </a:extLst>
          </p:cNvPr>
          <p:cNvSpPr/>
          <p:nvPr userDrawn="1"/>
        </p:nvSpPr>
        <p:spPr bwMode="gray">
          <a:xfrm>
            <a:off x="7158790" y="4886961"/>
            <a:ext cx="4863877" cy="297123"/>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eaLnBrk="0" fontAlgn="base" hangingPunct="0">
              <a:spcBef>
                <a:spcPct val="0"/>
              </a:spcBef>
              <a:spcAft>
                <a:spcPct val="0"/>
              </a:spcAft>
            </a:pPr>
            <a:endParaRPr lang="de-DE" sz="2400" dirty="0" err="1">
              <a:solidFill>
                <a:schemeClr val="tx2"/>
              </a:solidFill>
              <a:latin typeface="Arial" charset="0"/>
            </a:endParaRPr>
          </a:p>
        </p:txBody>
      </p:sp>
      <p:sp>
        <p:nvSpPr>
          <p:cNvPr id="19" name="Subline">
            <a:extLst>
              <a:ext uri="{FF2B5EF4-FFF2-40B4-BE49-F238E27FC236}">
                <a16:creationId xmlns:a16="http://schemas.microsoft.com/office/drawing/2014/main" id="{31A5E120-96AF-40F6-98D7-8A2FD24C3270}"/>
              </a:ext>
            </a:extLst>
          </p:cNvPr>
          <p:cNvSpPr>
            <a:spLocks noGrp="1"/>
          </p:cNvSpPr>
          <p:nvPr>
            <p:ph type="body" sz="quarter" idx="10" hasCustomPrompt="1"/>
          </p:nvPr>
        </p:nvSpPr>
        <p:spPr bwMode="gray">
          <a:xfrm>
            <a:off x="933134" y="3700611"/>
            <a:ext cx="10627783" cy="789960"/>
          </a:xfrm>
        </p:spPr>
        <p:txBody>
          <a:bodyPr>
            <a:spAutoFit/>
          </a:bodyPr>
          <a:lstStyle>
            <a:lvl1pPr marL="0" indent="0">
              <a:lnSpc>
                <a:spcPct val="95000"/>
              </a:lnSpc>
              <a:spcBef>
                <a:spcPts val="1600"/>
              </a:spcBef>
              <a:spcAft>
                <a:spcPts val="0"/>
              </a:spcAft>
              <a:buNone/>
              <a:defRPr sz="2000">
                <a:solidFill>
                  <a:schemeClr val="tx1"/>
                </a:solidFill>
              </a:defRPr>
            </a:lvl1pPr>
          </a:lstStyle>
          <a:p>
            <a:r>
              <a:rPr lang="es-ES" dirty="0"/>
              <a:t>Este es el subtítulo</a:t>
            </a:r>
          </a:p>
          <a:p>
            <a:r>
              <a:rPr lang="es-ES" dirty="0"/>
              <a:t>Nombre del proyecto | Fecha</a:t>
            </a:r>
          </a:p>
        </p:txBody>
      </p:sp>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933131" y="2542201"/>
            <a:ext cx="10628948" cy="960263"/>
          </a:xfrm>
          <a:prstGeom prst="rect">
            <a:avLst/>
          </a:prstGeom>
        </p:spPr>
        <p:txBody>
          <a:bodyPr wrap="square">
            <a:spAutoFit/>
          </a:bodyPr>
          <a:lstStyle>
            <a:lvl1pPr>
              <a:defRPr sz="3467" b="1">
                <a:solidFill>
                  <a:schemeClr val="tx1"/>
                </a:solidFill>
              </a:defRPr>
            </a:lvl1pPr>
          </a:lstStyle>
          <a:p>
            <a:r>
              <a:rPr lang="es-ES" dirty="0"/>
              <a:t>Diapositiva de título/encabezado</a:t>
            </a:r>
            <a:br>
              <a:rPr lang="es-ES" dirty="0"/>
            </a:br>
            <a:r>
              <a:rPr lang="es-ES" dirty="0"/>
              <a:t>con el </a:t>
            </a:r>
            <a:r>
              <a:rPr lang="es-ES" i="1" dirty="0"/>
              <a:t>key visual</a:t>
            </a:r>
            <a:r>
              <a:rPr lang="es-ES" dirty="0"/>
              <a:t> (diseño base) de la GIZ en b/n</a:t>
            </a:r>
          </a:p>
        </p:txBody>
      </p:sp>
    </p:spTree>
    <p:extLst>
      <p:ext uri="{BB962C8B-B14F-4D97-AF65-F5344CB8AC3E}">
        <p14:creationId xmlns:p14="http://schemas.microsoft.com/office/powerpoint/2010/main" val="429146694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ap. texto 1 foto">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AD865FD3-1198-4DEC-9CE4-A71B7C84CD08}"/>
              </a:ext>
            </a:extLst>
          </p:cNvPr>
          <p:cNvSpPr>
            <a:spLocks noGrp="1"/>
          </p:cNvSpPr>
          <p:nvPr>
            <p:ph type="pic" sz="quarter" idx="15" hasCustomPrompt="1"/>
          </p:nvPr>
        </p:nvSpPr>
        <p:spPr bwMode="gray">
          <a:xfrm>
            <a:off x="7371929" y="167509"/>
            <a:ext cx="4653681" cy="5966593"/>
          </a:xfrm>
          <a:solidFill>
            <a:schemeClr val="bg2"/>
          </a:solidFill>
        </p:spPr>
        <p:txBody>
          <a:bodyPr tIns="1440000"/>
          <a:lstStyle>
            <a:lvl1pPr algn="ctr">
              <a:defRPr sz="1333">
                <a:solidFill>
                  <a:schemeClr val="tx2"/>
                </a:solidFill>
              </a:defRPr>
            </a:lvl1pPr>
          </a:lstStyle>
          <a:p>
            <a:pPr lvl="0" algn="ctr"/>
            <a:r>
              <a:rPr lang="es-ES"/>
              <a:t>Imagen</a:t>
            </a:r>
            <a:endParaRPr lang="es-ES" dirty="0"/>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599758" y="1361291"/>
            <a:ext cx="6452845" cy="4772808"/>
          </a:xfrm>
        </p:spPr>
        <p:txBody>
          <a:bodyPr/>
          <a:lstStyle>
            <a:lvl1pPr>
              <a:defRPr/>
            </a:lvl1pPr>
            <a:lvl2pPr>
              <a:defRPr/>
            </a:lvl2pPr>
            <a:lvl3pPr>
              <a:defRPr/>
            </a:lvl3pPr>
          </a:lstStyle>
          <a:p>
            <a:pPr lvl="0"/>
            <a:r>
              <a:rPr lang="es-ES" noProof="0" dirty="0"/>
              <a:t>Añadir texto haciendo clic</a:t>
            </a:r>
          </a:p>
          <a:p>
            <a:pPr lvl="1">
              <a:buClr>
                <a:schemeClr val="accent1"/>
              </a:buClr>
            </a:pPr>
            <a:r>
              <a:rPr lang="es-ES" dirty="0"/>
              <a:t>Segundo nivel</a:t>
            </a:r>
          </a:p>
          <a:p>
            <a:pPr lvl="2">
              <a:buClr>
                <a:schemeClr val="accent1"/>
              </a:buClr>
            </a:pPr>
            <a:r>
              <a:rPr lang="es-ES" dirty="0"/>
              <a:t>Tercer nivel</a:t>
            </a:r>
          </a:p>
        </p:txBody>
      </p:sp>
      <p:sp>
        <p:nvSpPr>
          <p:cNvPr id="11" name="Titel 1">
            <a:extLst>
              <a:ext uri="{FF2B5EF4-FFF2-40B4-BE49-F238E27FC236}">
                <a16:creationId xmlns:a16="http://schemas.microsoft.com/office/drawing/2014/main" id="{7EA27159-D449-4E61-9234-12331EF25886}"/>
              </a:ext>
            </a:extLst>
          </p:cNvPr>
          <p:cNvSpPr>
            <a:spLocks noGrp="1"/>
          </p:cNvSpPr>
          <p:nvPr>
            <p:ph type="title" hasCustomPrompt="1"/>
          </p:nvPr>
        </p:nvSpPr>
        <p:spPr bwMode="gray">
          <a:xfrm>
            <a:off x="599758" y="320284"/>
            <a:ext cx="6452845" cy="720725"/>
          </a:xfrm>
        </p:spPr>
        <p:txBody>
          <a:bodyPr/>
          <a:lstStyle>
            <a:lvl1pPr>
              <a:defRPr/>
            </a:lvl1pPr>
          </a:lstStyle>
          <a:p>
            <a:r>
              <a:rPr lang="es-ES"/>
              <a:t>Añadir título haciendo clic</a:t>
            </a:r>
            <a:endParaRPr lang="es-ES" dirty="0"/>
          </a:p>
        </p:txBody>
      </p:sp>
      <p:sp>
        <p:nvSpPr>
          <p:cNvPr id="3" name="Datumsplatzhalter 2">
            <a:extLst>
              <a:ext uri="{FF2B5EF4-FFF2-40B4-BE49-F238E27FC236}">
                <a16:creationId xmlns:a16="http://schemas.microsoft.com/office/drawing/2014/main" id="{74CEF61D-0714-4D44-9836-ED72AF4E5AB2}"/>
              </a:ext>
            </a:extLst>
          </p:cNvPr>
          <p:cNvSpPr>
            <a:spLocks noGrp="1"/>
          </p:cNvSpPr>
          <p:nvPr>
            <p:ph type="dt" sz="half" idx="16"/>
          </p:nvPr>
        </p:nvSpPr>
        <p:spPr/>
        <p:txBody>
          <a:bodyPr/>
          <a:lstStyle/>
          <a:p>
            <a:r>
              <a:rPr lang="es-ES"/>
              <a:t>14.02.2019</a:t>
            </a:r>
            <a:endParaRPr lang="es-ES" dirty="0"/>
          </a:p>
        </p:txBody>
      </p:sp>
      <p:sp>
        <p:nvSpPr>
          <p:cNvPr id="4" name="Fußzeilenplatzhalter 3">
            <a:extLst>
              <a:ext uri="{FF2B5EF4-FFF2-40B4-BE49-F238E27FC236}">
                <a16:creationId xmlns:a16="http://schemas.microsoft.com/office/drawing/2014/main" id="{3794E91D-9696-4334-B7A6-8B84B22E26AA}"/>
              </a:ext>
            </a:extLst>
          </p:cNvPr>
          <p:cNvSpPr>
            <a:spLocks noGrp="1"/>
          </p:cNvSpPr>
          <p:nvPr>
            <p:ph type="ftr" sz="quarter" idx="17"/>
          </p:nvPr>
        </p:nvSpPr>
        <p:spPr/>
        <p:txBody>
          <a:bodyPr/>
          <a:lstStyle/>
          <a:p>
            <a:r>
              <a:rPr lang="es-ES"/>
              <a:t>Título de la presentación</a:t>
            </a:r>
            <a:endParaRPr lang="es-ES" dirty="0"/>
          </a:p>
        </p:txBody>
      </p:sp>
      <p:sp>
        <p:nvSpPr>
          <p:cNvPr id="5" name="Foliennummernplatzhalter 4">
            <a:extLst>
              <a:ext uri="{FF2B5EF4-FFF2-40B4-BE49-F238E27FC236}">
                <a16:creationId xmlns:a16="http://schemas.microsoft.com/office/drawing/2014/main" id="{6C3AB917-C704-43EB-BAE4-73C2449428A3}"/>
              </a:ext>
            </a:extLst>
          </p:cNvPr>
          <p:cNvSpPr>
            <a:spLocks noGrp="1"/>
          </p:cNvSpPr>
          <p:nvPr>
            <p:ph type="sldNum" sz="quarter" idx="18"/>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187695480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ap. texto 1 foto (altern.)">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AD865FD3-1198-4DEC-9CE4-A71B7C84CD08}"/>
              </a:ext>
            </a:extLst>
          </p:cNvPr>
          <p:cNvSpPr>
            <a:spLocks noGrp="1"/>
          </p:cNvSpPr>
          <p:nvPr>
            <p:ph type="pic" sz="quarter" idx="15" hasCustomPrompt="1"/>
          </p:nvPr>
        </p:nvSpPr>
        <p:spPr bwMode="gray">
          <a:xfrm>
            <a:off x="7371929" y="167509"/>
            <a:ext cx="4653681" cy="5966593"/>
          </a:xfrm>
          <a:solidFill>
            <a:schemeClr val="bg2"/>
          </a:solidFill>
        </p:spPr>
        <p:txBody>
          <a:bodyPr vert="horz" lIns="36000" tIns="1440000" rIns="36000" bIns="36000" rtlCol="0">
            <a:noAutofit/>
          </a:bodyPr>
          <a:lstStyle>
            <a:lvl1pPr algn="ctr">
              <a:defRPr lang="en-GB" sz="1333" dirty="0">
                <a:solidFill>
                  <a:schemeClr val="tx2"/>
                </a:solidFill>
              </a:defRPr>
            </a:lvl1pPr>
          </a:lstStyle>
          <a:p>
            <a:pPr lvl="0" algn="ctr"/>
            <a:r>
              <a:rPr lang="es-ES"/>
              <a:t>Imagen</a:t>
            </a:r>
            <a:endParaRPr lang="es-ES" dirty="0"/>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599758" y="1361292"/>
            <a:ext cx="6452845" cy="3799989"/>
          </a:xfrm>
        </p:spPr>
        <p:txBody>
          <a:bodyPr/>
          <a:lstStyle>
            <a:lvl1pPr>
              <a:defRPr/>
            </a:lvl1pPr>
            <a:lvl2pPr>
              <a:defRPr/>
            </a:lvl2pPr>
            <a:lvl3pPr>
              <a:defRPr/>
            </a:lvl3pPr>
          </a:lstStyle>
          <a:p>
            <a:pPr lvl="0"/>
            <a:r>
              <a:rPr lang="es-ES" noProof="0" dirty="0"/>
              <a:t>Añadir texto haciendo clic</a:t>
            </a:r>
          </a:p>
          <a:p>
            <a:pPr lvl="1">
              <a:buClr>
                <a:schemeClr val="accent1"/>
              </a:buClr>
            </a:pPr>
            <a:r>
              <a:rPr lang="es-ES" dirty="0"/>
              <a:t>Segundo nivel</a:t>
            </a:r>
          </a:p>
          <a:p>
            <a:pPr lvl="2">
              <a:buClr>
                <a:schemeClr val="accent1"/>
              </a:buClr>
            </a:pPr>
            <a:r>
              <a:rPr lang="es-ES" dirty="0"/>
              <a:t>Tercer nivel</a:t>
            </a:r>
          </a:p>
        </p:txBody>
      </p:sp>
      <p:grpSp>
        <p:nvGrpSpPr>
          <p:cNvPr id="9" name="Key Visual">
            <a:extLst>
              <a:ext uri="{FF2B5EF4-FFF2-40B4-BE49-F238E27FC236}">
                <a16:creationId xmlns:a16="http://schemas.microsoft.com/office/drawing/2014/main" id="{0AED28BE-BD58-4C37-99C9-6DDD5906BC8A}"/>
              </a:ext>
            </a:extLst>
          </p:cNvPr>
          <p:cNvGrpSpPr/>
          <p:nvPr userDrawn="1"/>
        </p:nvGrpSpPr>
        <p:grpSpPr bwMode="gray">
          <a:xfrm flipV="1">
            <a:off x="164180" y="5311121"/>
            <a:ext cx="3094437" cy="822639"/>
            <a:chOff x="4846637" y="119557"/>
            <a:chExt cx="3783013" cy="1005693"/>
          </a:xfrm>
        </p:grpSpPr>
        <p:sp>
          <p:nvSpPr>
            <p:cNvPr id="10" name="Freihandform: Form 9">
              <a:extLst>
                <a:ext uri="{FF2B5EF4-FFF2-40B4-BE49-F238E27FC236}">
                  <a16:creationId xmlns:a16="http://schemas.microsoft.com/office/drawing/2014/main" id="{BC779D39-D9BE-456C-932C-90157753B824}"/>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2"/>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Freihandform: Form 10">
              <a:extLst>
                <a:ext uri="{FF2B5EF4-FFF2-40B4-BE49-F238E27FC236}">
                  <a16:creationId xmlns:a16="http://schemas.microsoft.com/office/drawing/2014/main" id="{B50BB92C-06E3-4F21-96E2-B587EED5161E}"/>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13" name="Freihandform: Form 12">
              <a:extLst>
                <a:ext uri="{FF2B5EF4-FFF2-40B4-BE49-F238E27FC236}">
                  <a16:creationId xmlns:a16="http://schemas.microsoft.com/office/drawing/2014/main" id="{855BC612-A565-4995-974E-DBAC4B729050}"/>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14" name="Freihandform: Form 13">
              <a:extLst>
                <a:ext uri="{FF2B5EF4-FFF2-40B4-BE49-F238E27FC236}">
                  <a16:creationId xmlns:a16="http://schemas.microsoft.com/office/drawing/2014/main" id="{44462D1D-D151-4AD3-A2DA-8257376E401D}"/>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15" name="Freihandform: Form 14">
              <a:extLst>
                <a:ext uri="{FF2B5EF4-FFF2-40B4-BE49-F238E27FC236}">
                  <a16:creationId xmlns:a16="http://schemas.microsoft.com/office/drawing/2014/main" id="{07239E2B-B3C5-44BB-B6DD-DB8BC01E6601}"/>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grpSp>
      <p:sp>
        <p:nvSpPr>
          <p:cNvPr id="22" name="Titel 1">
            <a:extLst>
              <a:ext uri="{FF2B5EF4-FFF2-40B4-BE49-F238E27FC236}">
                <a16:creationId xmlns:a16="http://schemas.microsoft.com/office/drawing/2014/main" id="{7204390B-3D37-494E-81FF-E1335F27C2A8}"/>
              </a:ext>
            </a:extLst>
          </p:cNvPr>
          <p:cNvSpPr>
            <a:spLocks noGrp="1"/>
          </p:cNvSpPr>
          <p:nvPr>
            <p:ph type="title" hasCustomPrompt="1"/>
          </p:nvPr>
        </p:nvSpPr>
        <p:spPr bwMode="gray">
          <a:xfrm>
            <a:off x="599758" y="320284"/>
            <a:ext cx="6452845" cy="720725"/>
          </a:xfrm>
        </p:spPr>
        <p:txBody>
          <a:bodyPr/>
          <a:lstStyle>
            <a:lvl1pPr>
              <a:defRPr/>
            </a:lvl1pPr>
          </a:lstStyle>
          <a:p>
            <a:r>
              <a:rPr lang="es-ES"/>
              <a:t>Añadir título haciendo clic</a:t>
            </a:r>
            <a:endParaRPr lang="es-ES" dirty="0"/>
          </a:p>
        </p:txBody>
      </p:sp>
      <p:sp>
        <p:nvSpPr>
          <p:cNvPr id="3" name="Datumsplatzhalter 2">
            <a:extLst>
              <a:ext uri="{FF2B5EF4-FFF2-40B4-BE49-F238E27FC236}">
                <a16:creationId xmlns:a16="http://schemas.microsoft.com/office/drawing/2014/main" id="{470CDD6A-F340-4E66-8C78-88C5E04F0D52}"/>
              </a:ext>
            </a:extLst>
          </p:cNvPr>
          <p:cNvSpPr>
            <a:spLocks noGrp="1"/>
          </p:cNvSpPr>
          <p:nvPr>
            <p:ph type="dt" sz="half" idx="16"/>
          </p:nvPr>
        </p:nvSpPr>
        <p:spPr/>
        <p:txBody>
          <a:bodyPr/>
          <a:lstStyle/>
          <a:p>
            <a:r>
              <a:rPr lang="es-ES"/>
              <a:t>14.02.2019</a:t>
            </a:r>
            <a:endParaRPr lang="es-ES" dirty="0"/>
          </a:p>
        </p:txBody>
      </p:sp>
      <p:sp>
        <p:nvSpPr>
          <p:cNvPr id="4" name="Fußzeilenplatzhalter 3">
            <a:extLst>
              <a:ext uri="{FF2B5EF4-FFF2-40B4-BE49-F238E27FC236}">
                <a16:creationId xmlns:a16="http://schemas.microsoft.com/office/drawing/2014/main" id="{D189720B-FAD2-4AA6-B65F-BDE4491285E6}"/>
              </a:ext>
            </a:extLst>
          </p:cNvPr>
          <p:cNvSpPr>
            <a:spLocks noGrp="1"/>
          </p:cNvSpPr>
          <p:nvPr>
            <p:ph type="ftr" sz="quarter" idx="17"/>
          </p:nvPr>
        </p:nvSpPr>
        <p:spPr/>
        <p:txBody>
          <a:bodyPr/>
          <a:lstStyle/>
          <a:p>
            <a:r>
              <a:rPr lang="es-ES"/>
              <a:t>Título de la presentación</a:t>
            </a:r>
            <a:endParaRPr lang="es-ES" dirty="0"/>
          </a:p>
        </p:txBody>
      </p:sp>
      <p:sp>
        <p:nvSpPr>
          <p:cNvPr id="5" name="Foliennummernplatzhalter 4">
            <a:extLst>
              <a:ext uri="{FF2B5EF4-FFF2-40B4-BE49-F238E27FC236}">
                <a16:creationId xmlns:a16="http://schemas.microsoft.com/office/drawing/2014/main" id="{458B5B79-2F92-4A34-AA0D-1E8AB040C622}"/>
              </a:ext>
            </a:extLst>
          </p:cNvPr>
          <p:cNvSpPr>
            <a:spLocks noGrp="1"/>
          </p:cNvSpPr>
          <p:nvPr>
            <p:ph type="sldNum" sz="quarter" idx="18"/>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128161331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ap. texto 2 fotos">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AD865FD3-1198-4DEC-9CE4-A71B7C84CD08}"/>
              </a:ext>
            </a:extLst>
          </p:cNvPr>
          <p:cNvSpPr>
            <a:spLocks noGrp="1"/>
          </p:cNvSpPr>
          <p:nvPr>
            <p:ph type="pic" sz="quarter" idx="15" hasCustomPrompt="1"/>
          </p:nvPr>
        </p:nvSpPr>
        <p:spPr bwMode="gray">
          <a:xfrm>
            <a:off x="7371929" y="167509"/>
            <a:ext cx="4653681" cy="2860727"/>
          </a:xfrm>
          <a:solidFill>
            <a:schemeClr val="bg2"/>
          </a:solidFill>
        </p:spPr>
        <p:txBody>
          <a:bodyPr vert="horz" lIns="36000" tIns="1440000" rIns="36000" bIns="36000" rtlCol="0">
            <a:noAutofit/>
          </a:bodyPr>
          <a:lstStyle>
            <a:lvl1pPr algn="ctr">
              <a:defRPr lang="en-GB" sz="1333" dirty="0">
                <a:solidFill>
                  <a:schemeClr val="tx2"/>
                </a:solidFill>
              </a:defRPr>
            </a:lvl1pPr>
          </a:lstStyle>
          <a:p>
            <a:pPr lvl="0" algn="ctr"/>
            <a:r>
              <a:rPr lang="es-ES"/>
              <a:t>Imagen</a:t>
            </a:r>
            <a:endParaRPr lang="es-ES" dirty="0"/>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599758" y="1361291"/>
            <a:ext cx="6452845" cy="4772808"/>
          </a:xfrm>
        </p:spPr>
        <p:txBody>
          <a:bodyPr/>
          <a:lstStyle>
            <a:lvl1pPr>
              <a:defRPr/>
            </a:lvl1pPr>
            <a:lvl2pPr>
              <a:defRPr/>
            </a:lvl2pPr>
            <a:lvl3pPr>
              <a:defRPr/>
            </a:lvl3pPr>
          </a:lstStyle>
          <a:p>
            <a:pPr lvl="0"/>
            <a:r>
              <a:rPr lang="es-ES" noProof="0" dirty="0"/>
              <a:t>Añadir texto haciendo clic</a:t>
            </a:r>
          </a:p>
          <a:p>
            <a:pPr lvl="1">
              <a:buClr>
                <a:schemeClr val="accent1"/>
              </a:buClr>
            </a:pPr>
            <a:r>
              <a:rPr lang="es-ES" dirty="0"/>
              <a:t>Segundo nivel</a:t>
            </a:r>
          </a:p>
          <a:p>
            <a:pPr lvl="2">
              <a:buClr>
                <a:schemeClr val="accent1"/>
              </a:buClr>
            </a:pPr>
            <a:r>
              <a:rPr lang="es-ES" dirty="0"/>
              <a:t>Tercer nivel</a:t>
            </a:r>
          </a:p>
        </p:txBody>
      </p:sp>
      <p:sp>
        <p:nvSpPr>
          <p:cNvPr id="18" name="Bildplatzhalter 5">
            <a:extLst>
              <a:ext uri="{FF2B5EF4-FFF2-40B4-BE49-F238E27FC236}">
                <a16:creationId xmlns:a16="http://schemas.microsoft.com/office/drawing/2014/main" id="{BD74B354-F270-4422-B8BC-EE20D478AAEB}"/>
              </a:ext>
            </a:extLst>
          </p:cNvPr>
          <p:cNvSpPr>
            <a:spLocks noGrp="1"/>
          </p:cNvSpPr>
          <p:nvPr>
            <p:ph type="pic" sz="quarter" idx="16" hasCustomPrompt="1"/>
          </p:nvPr>
        </p:nvSpPr>
        <p:spPr bwMode="gray">
          <a:xfrm>
            <a:off x="7371929" y="3273375"/>
            <a:ext cx="4653681" cy="2860727"/>
          </a:xfrm>
          <a:solidFill>
            <a:schemeClr val="bg2"/>
          </a:solidFill>
        </p:spPr>
        <p:txBody>
          <a:bodyPr vert="horz" lIns="36000" tIns="1440000" rIns="36000" bIns="36000" rtlCol="0">
            <a:noAutofit/>
          </a:bodyPr>
          <a:lstStyle>
            <a:lvl1pPr algn="ctr">
              <a:defRPr lang="en-GB" sz="1333" dirty="0">
                <a:solidFill>
                  <a:schemeClr val="tx2"/>
                </a:solidFill>
              </a:defRPr>
            </a:lvl1pPr>
          </a:lstStyle>
          <a:p>
            <a:pPr lvl="0" algn="ctr"/>
            <a:r>
              <a:rPr lang="es-ES"/>
              <a:t>Imagen</a:t>
            </a:r>
            <a:endParaRPr lang="es-ES" dirty="0"/>
          </a:p>
        </p:txBody>
      </p:sp>
      <p:sp>
        <p:nvSpPr>
          <p:cNvPr id="19" name="Titel 1">
            <a:extLst>
              <a:ext uri="{FF2B5EF4-FFF2-40B4-BE49-F238E27FC236}">
                <a16:creationId xmlns:a16="http://schemas.microsoft.com/office/drawing/2014/main" id="{E5EE29FF-B139-4CD9-A32C-25A2CCBFB41B}"/>
              </a:ext>
            </a:extLst>
          </p:cNvPr>
          <p:cNvSpPr>
            <a:spLocks noGrp="1"/>
          </p:cNvSpPr>
          <p:nvPr>
            <p:ph type="title" hasCustomPrompt="1"/>
          </p:nvPr>
        </p:nvSpPr>
        <p:spPr bwMode="gray">
          <a:xfrm>
            <a:off x="599755" y="320284"/>
            <a:ext cx="6452847" cy="720725"/>
          </a:xfrm>
        </p:spPr>
        <p:txBody>
          <a:bodyPr/>
          <a:lstStyle>
            <a:lvl1pPr>
              <a:defRPr/>
            </a:lvl1pPr>
          </a:lstStyle>
          <a:p>
            <a:r>
              <a:rPr lang="es-ES"/>
              <a:t>Añadir título haciendo clic</a:t>
            </a:r>
            <a:endParaRPr lang="es-ES" dirty="0"/>
          </a:p>
        </p:txBody>
      </p:sp>
      <p:sp>
        <p:nvSpPr>
          <p:cNvPr id="3" name="Datumsplatzhalter 2">
            <a:extLst>
              <a:ext uri="{FF2B5EF4-FFF2-40B4-BE49-F238E27FC236}">
                <a16:creationId xmlns:a16="http://schemas.microsoft.com/office/drawing/2014/main" id="{36CCF089-0461-4E7C-9B3E-AF818EFF14C5}"/>
              </a:ext>
            </a:extLst>
          </p:cNvPr>
          <p:cNvSpPr>
            <a:spLocks noGrp="1"/>
          </p:cNvSpPr>
          <p:nvPr>
            <p:ph type="dt" sz="half" idx="17"/>
          </p:nvPr>
        </p:nvSpPr>
        <p:spPr/>
        <p:txBody>
          <a:bodyPr/>
          <a:lstStyle/>
          <a:p>
            <a:r>
              <a:rPr lang="es-ES"/>
              <a:t>14.02.2019</a:t>
            </a:r>
            <a:endParaRPr lang="es-ES" dirty="0"/>
          </a:p>
        </p:txBody>
      </p:sp>
      <p:sp>
        <p:nvSpPr>
          <p:cNvPr id="4" name="Fußzeilenplatzhalter 3">
            <a:extLst>
              <a:ext uri="{FF2B5EF4-FFF2-40B4-BE49-F238E27FC236}">
                <a16:creationId xmlns:a16="http://schemas.microsoft.com/office/drawing/2014/main" id="{82D4FABF-C192-48DF-B8CA-C10C953CCCF0}"/>
              </a:ext>
            </a:extLst>
          </p:cNvPr>
          <p:cNvSpPr>
            <a:spLocks noGrp="1"/>
          </p:cNvSpPr>
          <p:nvPr>
            <p:ph type="ftr" sz="quarter" idx="18"/>
          </p:nvPr>
        </p:nvSpPr>
        <p:spPr/>
        <p:txBody>
          <a:bodyPr/>
          <a:lstStyle/>
          <a:p>
            <a:r>
              <a:rPr lang="es-ES"/>
              <a:t>Título de la presentación</a:t>
            </a:r>
            <a:endParaRPr lang="es-ES" dirty="0"/>
          </a:p>
        </p:txBody>
      </p:sp>
      <p:sp>
        <p:nvSpPr>
          <p:cNvPr id="5" name="Foliennummernplatzhalter 4">
            <a:extLst>
              <a:ext uri="{FF2B5EF4-FFF2-40B4-BE49-F238E27FC236}">
                <a16:creationId xmlns:a16="http://schemas.microsoft.com/office/drawing/2014/main" id="{29904D45-7320-4AB1-84DD-06314C817325}"/>
              </a:ext>
            </a:extLst>
          </p:cNvPr>
          <p:cNvSpPr>
            <a:spLocks noGrp="1"/>
          </p:cNvSpPr>
          <p:nvPr>
            <p:ph type="sldNum" sz="quarter" idx="19"/>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20279698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p. texto 2 fotos (altern.)">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AD865FD3-1198-4DEC-9CE4-A71B7C84CD08}"/>
              </a:ext>
            </a:extLst>
          </p:cNvPr>
          <p:cNvSpPr>
            <a:spLocks noGrp="1"/>
          </p:cNvSpPr>
          <p:nvPr>
            <p:ph type="pic" sz="quarter" idx="15" hasCustomPrompt="1"/>
          </p:nvPr>
        </p:nvSpPr>
        <p:spPr bwMode="gray">
          <a:xfrm>
            <a:off x="7371929" y="167509"/>
            <a:ext cx="4653681" cy="2860727"/>
          </a:xfrm>
          <a:solidFill>
            <a:schemeClr val="bg2"/>
          </a:solidFill>
        </p:spPr>
        <p:txBody>
          <a:bodyPr vert="horz" lIns="36000" tIns="1440000" rIns="36000" bIns="36000" rtlCol="0">
            <a:noAutofit/>
          </a:bodyPr>
          <a:lstStyle>
            <a:lvl1pPr algn="ctr">
              <a:defRPr lang="en-GB" sz="1333" dirty="0">
                <a:solidFill>
                  <a:schemeClr val="tx2"/>
                </a:solidFill>
              </a:defRPr>
            </a:lvl1pPr>
          </a:lstStyle>
          <a:p>
            <a:pPr lvl="0" algn="ctr"/>
            <a:r>
              <a:rPr lang="es-ES"/>
              <a:t>Imagen</a:t>
            </a:r>
            <a:endParaRPr lang="es-ES" dirty="0"/>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599758" y="1361292"/>
            <a:ext cx="6452845" cy="3799989"/>
          </a:xfrm>
        </p:spPr>
        <p:txBody>
          <a:bodyPr/>
          <a:lstStyle>
            <a:lvl1pPr>
              <a:defRPr/>
            </a:lvl1pPr>
            <a:lvl2pPr>
              <a:defRPr/>
            </a:lvl2pPr>
            <a:lvl3pPr>
              <a:defRPr/>
            </a:lvl3pPr>
          </a:lstStyle>
          <a:p>
            <a:pPr lvl="0"/>
            <a:r>
              <a:rPr lang="es-ES" noProof="0" dirty="0"/>
              <a:t>Añadir texto haciendo clic</a:t>
            </a:r>
          </a:p>
          <a:p>
            <a:pPr lvl="1">
              <a:buClr>
                <a:schemeClr val="accent1"/>
              </a:buClr>
            </a:pPr>
            <a:r>
              <a:rPr lang="es-ES" dirty="0"/>
              <a:t>Segundo nivel</a:t>
            </a:r>
          </a:p>
          <a:p>
            <a:pPr lvl="2">
              <a:buClr>
                <a:schemeClr val="accent1"/>
              </a:buClr>
            </a:pPr>
            <a:r>
              <a:rPr lang="es-ES" dirty="0"/>
              <a:t>Tercer nivel</a:t>
            </a:r>
          </a:p>
        </p:txBody>
      </p:sp>
      <p:grpSp>
        <p:nvGrpSpPr>
          <p:cNvPr id="9" name="Key Visual">
            <a:extLst>
              <a:ext uri="{FF2B5EF4-FFF2-40B4-BE49-F238E27FC236}">
                <a16:creationId xmlns:a16="http://schemas.microsoft.com/office/drawing/2014/main" id="{0AED28BE-BD58-4C37-99C9-6DDD5906BC8A}"/>
              </a:ext>
            </a:extLst>
          </p:cNvPr>
          <p:cNvGrpSpPr/>
          <p:nvPr userDrawn="1"/>
        </p:nvGrpSpPr>
        <p:grpSpPr bwMode="gray">
          <a:xfrm flipV="1">
            <a:off x="164180" y="5311121"/>
            <a:ext cx="3094437" cy="822639"/>
            <a:chOff x="4846637" y="119557"/>
            <a:chExt cx="3783013" cy="1005693"/>
          </a:xfrm>
        </p:grpSpPr>
        <p:sp>
          <p:nvSpPr>
            <p:cNvPr id="10" name="Freihandform: Form 9">
              <a:extLst>
                <a:ext uri="{FF2B5EF4-FFF2-40B4-BE49-F238E27FC236}">
                  <a16:creationId xmlns:a16="http://schemas.microsoft.com/office/drawing/2014/main" id="{BC779D39-D9BE-456C-932C-90157753B824}"/>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2"/>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Freihandform: Form 10">
              <a:extLst>
                <a:ext uri="{FF2B5EF4-FFF2-40B4-BE49-F238E27FC236}">
                  <a16:creationId xmlns:a16="http://schemas.microsoft.com/office/drawing/2014/main" id="{B50BB92C-06E3-4F21-96E2-B587EED5161E}"/>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13" name="Freihandform: Form 12">
              <a:extLst>
                <a:ext uri="{FF2B5EF4-FFF2-40B4-BE49-F238E27FC236}">
                  <a16:creationId xmlns:a16="http://schemas.microsoft.com/office/drawing/2014/main" id="{855BC612-A565-4995-974E-DBAC4B729050}"/>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14" name="Freihandform: Form 13">
              <a:extLst>
                <a:ext uri="{FF2B5EF4-FFF2-40B4-BE49-F238E27FC236}">
                  <a16:creationId xmlns:a16="http://schemas.microsoft.com/office/drawing/2014/main" id="{44462D1D-D151-4AD3-A2DA-8257376E401D}"/>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15" name="Freihandform: Form 14">
              <a:extLst>
                <a:ext uri="{FF2B5EF4-FFF2-40B4-BE49-F238E27FC236}">
                  <a16:creationId xmlns:a16="http://schemas.microsoft.com/office/drawing/2014/main" id="{07239E2B-B3C5-44BB-B6DD-DB8BC01E6601}"/>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grpSp>
      <p:sp>
        <p:nvSpPr>
          <p:cNvPr id="18" name="Bildplatzhalter 5">
            <a:extLst>
              <a:ext uri="{FF2B5EF4-FFF2-40B4-BE49-F238E27FC236}">
                <a16:creationId xmlns:a16="http://schemas.microsoft.com/office/drawing/2014/main" id="{BD74B354-F270-4422-B8BC-EE20D478AAEB}"/>
              </a:ext>
            </a:extLst>
          </p:cNvPr>
          <p:cNvSpPr>
            <a:spLocks noGrp="1"/>
          </p:cNvSpPr>
          <p:nvPr>
            <p:ph type="pic" sz="quarter" idx="16" hasCustomPrompt="1"/>
          </p:nvPr>
        </p:nvSpPr>
        <p:spPr bwMode="gray">
          <a:xfrm>
            <a:off x="7371929" y="3273375"/>
            <a:ext cx="4653681" cy="2860727"/>
          </a:xfrm>
          <a:solidFill>
            <a:schemeClr val="bg2"/>
          </a:solidFill>
        </p:spPr>
        <p:txBody>
          <a:bodyPr vert="horz" lIns="36000" tIns="1440000" rIns="36000" bIns="36000" rtlCol="0">
            <a:noAutofit/>
          </a:bodyPr>
          <a:lstStyle>
            <a:lvl1pPr algn="ctr">
              <a:defRPr lang="en-GB" sz="1333" dirty="0">
                <a:solidFill>
                  <a:schemeClr val="tx2"/>
                </a:solidFill>
              </a:defRPr>
            </a:lvl1pPr>
          </a:lstStyle>
          <a:p>
            <a:pPr lvl="0" algn="ctr"/>
            <a:r>
              <a:rPr lang="es-ES"/>
              <a:t>Imagen</a:t>
            </a:r>
            <a:endParaRPr lang="es-ES" dirty="0"/>
          </a:p>
        </p:txBody>
      </p:sp>
      <p:sp>
        <p:nvSpPr>
          <p:cNvPr id="16" name="Titel 1">
            <a:extLst>
              <a:ext uri="{FF2B5EF4-FFF2-40B4-BE49-F238E27FC236}">
                <a16:creationId xmlns:a16="http://schemas.microsoft.com/office/drawing/2014/main" id="{0DB39AEE-4D7E-4227-8B8B-6259DA49FDB2}"/>
              </a:ext>
            </a:extLst>
          </p:cNvPr>
          <p:cNvSpPr>
            <a:spLocks noGrp="1"/>
          </p:cNvSpPr>
          <p:nvPr>
            <p:ph type="title" hasCustomPrompt="1"/>
          </p:nvPr>
        </p:nvSpPr>
        <p:spPr bwMode="gray">
          <a:xfrm>
            <a:off x="599758" y="320284"/>
            <a:ext cx="6452845" cy="720725"/>
          </a:xfrm>
        </p:spPr>
        <p:txBody>
          <a:bodyPr/>
          <a:lstStyle>
            <a:lvl1pPr>
              <a:defRPr/>
            </a:lvl1pPr>
          </a:lstStyle>
          <a:p>
            <a:r>
              <a:rPr lang="es-ES"/>
              <a:t>Añadir título haciendo clic</a:t>
            </a:r>
            <a:endParaRPr lang="es-ES" dirty="0"/>
          </a:p>
        </p:txBody>
      </p:sp>
      <p:sp>
        <p:nvSpPr>
          <p:cNvPr id="4" name="Datumsplatzhalter 3">
            <a:extLst>
              <a:ext uri="{FF2B5EF4-FFF2-40B4-BE49-F238E27FC236}">
                <a16:creationId xmlns:a16="http://schemas.microsoft.com/office/drawing/2014/main" id="{14D851B0-055F-4ED9-B1AF-D521C9FC4442}"/>
              </a:ext>
            </a:extLst>
          </p:cNvPr>
          <p:cNvSpPr>
            <a:spLocks noGrp="1"/>
          </p:cNvSpPr>
          <p:nvPr>
            <p:ph type="dt" sz="half" idx="17"/>
          </p:nvPr>
        </p:nvSpPr>
        <p:spPr/>
        <p:txBody>
          <a:bodyPr/>
          <a:lstStyle/>
          <a:p>
            <a:r>
              <a:rPr lang="es-ES"/>
              <a:t>14.02.2019</a:t>
            </a:r>
            <a:endParaRPr lang="es-ES" dirty="0"/>
          </a:p>
        </p:txBody>
      </p:sp>
      <p:sp>
        <p:nvSpPr>
          <p:cNvPr id="5" name="Fußzeilenplatzhalter 4">
            <a:extLst>
              <a:ext uri="{FF2B5EF4-FFF2-40B4-BE49-F238E27FC236}">
                <a16:creationId xmlns:a16="http://schemas.microsoft.com/office/drawing/2014/main" id="{484C7E39-B309-433A-B34A-5BAD3C25E6CE}"/>
              </a:ext>
            </a:extLst>
          </p:cNvPr>
          <p:cNvSpPr>
            <a:spLocks noGrp="1"/>
          </p:cNvSpPr>
          <p:nvPr>
            <p:ph type="ftr" sz="quarter" idx="18"/>
          </p:nvPr>
        </p:nvSpPr>
        <p:spPr/>
        <p:txBody>
          <a:bodyPr/>
          <a:lstStyle/>
          <a:p>
            <a:r>
              <a:rPr lang="es-ES"/>
              <a:t>Título de la presentación</a:t>
            </a:r>
            <a:endParaRPr lang="es-ES" dirty="0"/>
          </a:p>
        </p:txBody>
      </p:sp>
      <p:sp>
        <p:nvSpPr>
          <p:cNvPr id="17" name="Foliennummernplatzhalter 16">
            <a:extLst>
              <a:ext uri="{FF2B5EF4-FFF2-40B4-BE49-F238E27FC236}">
                <a16:creationId xmlns:a16="http://schemas.microsoft.com/office/drawing/2014/main" id="{1385A7EB-6282-4716-8AAD-1C44ADE1B5FD}"/>
              </a:ext>
            </a:extLst>
          </p:cNvPr>
          <p:cNvSpPr>
            <a:spLocks noGrp="1"/>
          </p:cNvSpPr>
          <p:nvPr>
            <p:ph type="sldNum" sz="quarter" idx="19"/>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267762072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ap. texto 2 fotos y 2 columnas">
    <p:spTree>
      <p:nvGrpSpPr>
        <p:cNvPr id="1" name=""/>
        <p:cNvGrpSpPr/>
        <p:nvPr/>
      </p:nvGrpSpPr>
      <p:grpSpPr>
        <a:xfrm>
          <a:off x="0" y="0"/>
          <a:ext cx="0" cy="0"/>
          <a:chOff x="0" y="0"/>
          <a:chExt cx="0" cy="0"/>
        </a:xfrm>
      </p:grpSpPr>
      <p:sp>
        <p:nvSpPr>
          <p:cNvPr id="11" name="Bildplatzhalter 6">
            <a:extLst>
              <a:ext uri="{FF2B5EF4-FFF2-40B4-BE49-F238E27FC236}">
                <a16:creationId xmlns:a16="http://schemas.microsoft.com/office/drawing/2014/main" id="{6AFC61C6-D36D-49CC-A15E-B4D2086BCDB1}"/>
              </a:ext>
            </a:extLst>
          </p:cNvPr>
          <p:cNvSpPr>
            <a:spLocks noGrp="1"/>
          </p:cNvSpPr>
          <p:nvPr>
            <p:ph type="pic" sz="quarter" idx="16" hasCustomPrompt="1"/>
          </p:nvPr>
        </p:nvSpPr>
        <p:spPr bwMode="gray">
          <a:xfrm>
            <a:off x="6304210" y="3259669"/>
            <a:ext cx="5718460" cy="2874091"/>
          </a:xfrm>
          <a:solidFill>
            <a:schemeClr val="bg2"/>
          </a:solidFill>
        </p:spPr>
        <p:txBody>
          <a:bodyPr vert="horz" lIns="36000" tIns="1440000" rIns="36000" bIns="36000" rtlCol="0">
            <a:noAutofit/>
          </a:bodyPr>
          <a:lstStyle>
            <a:lvl1pPr>
              <a:defRPr lang="en-GB" sz="1333" dirty="0">
                <a:solidFill>
                  <a:schemeClr val="tx2"/>
                </a:solidFill>
              </a:defRPr>
            </a:lvl1pPr>
          </a:lstStyle>
          <a:p>
            <a:pPr lvl="0" algn="ctr"/>
            <a:r>
              <a:rPr lang="es-ES"/>
              <a:t>Imagen</a:t>
            </a:r>
            <a:endParaRPr lang="es-ES" dirty="0"/>
          </a:p>
        </p:txBody>
      </p:sp>
      <p:sp>
        <p:nvSpPr>
          <p:cNvPr id="7" name="Bildplatzhalter 6">
            <a:extLst>
              <a:ext uri="{FF2B5EF4-FFF2-40B4-BE49-F238E27FC236}">
                <a16:creationId xmlns:a16="http://schemas.microsoft.com/office/drawing/2014/main" id="{04CC61FD-96E9-460E-816E-FA87841093C2}"/>
              </a:ext>
            </a:extLst>
          </p:cNvPr>
          <p:cNvSpPr>
            <a:spLocks noGrp="1"/>
          </p:cNvSpPr>
          <p:nvPr>
            <p:ph type="pic" sz="quarter" idx="15" hasCustomPrompt="1"/>
          </p:nvPr>
        </p:nvSpPr>
        <p:spPr bwMode="gray">
          <a:xfrm>
            <a:off x="164182" y="3259669"/>
            <a:ext cx="5718460" cy="2874091"/>
          </a:xfrm>
          <a:solidFill>
            <a:schemeClr val="bg2"/>
          </a:solidFill>
        </p:spPr>
        <p:txBody>
          <a:bodyPr vert="horz" lIns="36000" tIns="1440000" rIns="36000" bIns="36000" rtlCol="0">
            <a:noAutofit/>
          </a:bodyPr>
          <a:lstStyle>
            <a:lvl1pPr>
              <a:defRPr lang="en-GB" sz="1333" dirty="0">
                <a:solidFill>
                  <a:schemeClr val="tx2"/>
                </a:solidFill>
              </a:defRPr>
            </a:lvl1pPr>
          </a:lstStyle>
          <a:p>
            <a:pPr lvl="0" algn="ctr"/>
            <a:r>
              <a:rPr lang="es-ES"/>
              <a:t>Imagen</a:t>
            </a:r>
            <a:endParaRPr lang="es-ES" dirty="0"/>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599761" y="1361295"/>
            <a:ext cx="5282881" cy="1666388"/>
          </a:xfrm>
        </p:spPr>
        <p:txBody>
          <a:bodyPr/>
          <a:lstStyle>
            <a:lvl1pPr>
              <a:defRPr/>
            </a:lvl1pPr>
            <a:lvl2pPr>
              <a:defRPr/>
            </a:lvl2pPr>
            <a:lvl3pPr>
              <a:defRPr/>
            </a:lvl3pPr>
          </a:lstStyle>
          <a:p>
            <a:pPr lvl="0"/>
            <a:r>
              <a:rPr lang="es-ES" noProof="0" dirty="0"/>
              <a:t>Añadir texto haciendo clic</a:t>
            </a:r>
          </a:p>
          <a:p>
            <a:pPr lvl="1">
              <a:buClr>
                <a:schemeClr val="accent1"/>
              </a:buClr>
            </a:pPr>
            <a:r>
              <a:rPr lang="es-ES" dirty="0"/>
              <a:t>Segundo nivel</a:t>
            </a:r>
          </a:p>
          <a:p>
            <a:pPr lvl="2">
              <a:buClr>
                <a:schemeClr val="accent1"/>
              </a:buClr>
            </a:pPr>
            <a:r>
              <a:rPr lang="es-ES" dirty="0"/>
              <a:t>Tercer nivel</a:t>
            </a:r>
          </a:p>
        </p:txBody>
      </p:sp>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599758" y="320284"/>
            <a:ext cx="11414444" cy="720725"/>
          </a:xfrm>
        </p:spPr>
        <p:txBody>
          <a:bodyPr/>
          <a:lstStyle>
            <a:lvl1pPr>
              <a:defRPr/>
            </a:lvl1pPr>
          </a:lstStyle>
          <a:p>
            <a:r>
              <a:rPr lang="es-ES"/>
              <a:t>Añadir título haciendo clic</a:t>
            </a:r>
            <a:endParaRPr lang="es-ES" dirty="0"/>
          </a:p>
        </p:txBody>
      </p:sp>
      <p:sp>
        <p:nvSpPr>
          <p:cNvPr id="9" name="Textplatzhalter 7">
            <a:extLst>
              <a:ext uri="{FF2B5EF4-FFF2-40B4-BE49-F238E27FC236}">
                <a16:creationId xmlns:a16="http://schemas.microsoft.com/office/drawing/2014/main" id="{22732D1C-05D1-4A5F-B576-23063E1D7BD4}"/>
              </a:ext>
            </a:extLst>
          </p:cNvPr>
          <p:cNvSpPr>
            <a:spLocks noGrp="1"/>
          </p:cNvSpPr>
          <p:nvPr>
            <p:ph type="body" sz="quarter" idx="14" hasCustomPrompt="1"/>
          </p:nvPr>
        </p:nvSpPr>
        <p:spPr bwMode="gray">
          <a:xfrm>
            <a:off x="6740979" y="1361295"/>
            <a:ext cx="5273223" cy="1666388"/>
          </a:xfrm>
        </p:spPr>
        <p:txBody>
          <a:bodyPr/>
          <a:lstStyle>
            <a:lvl1pPr>
              <a:defRPr/>
            </a:lvl1pPr>
            <a:lvl2pPr>
              <a:defRPr/>
            </a:lvl2pPr>
            <a:lvl3pPr>
              <a:defRPr/>
            </a:lvl3pPr>
          </a:lstStyle>
          <a:p>
            <a:pPr lvl="0"/>
            <a:r>
              <a:rPr lang="es-ES" noProof="0" dirty="0"/>
              <a:t>Añadir texto haciendo clic</a:t>
            </a:r>
          </a:p>
          <a:p>
            <a:pPr lvl="1">
              <a:buClr>
                <a:schemeClr val="accent1"/>
              </a:buClr>
            </a:pPr>
            <a:r>
              <a:rPr lang="es-ES" dirty="0"/>
              <a:t>Segundo nivel</a:t>
            </a:r>
          </a:p>
          <a:p>
            <a:pPr lvl="2">
              <a:buClr>
                <a:schemeClr val="accent1"/>
              </a:buClr>
            </a:pPr>
            <a:r>
              <a:rPr lang="es-ES" dirty="0"/>
              <a:t>Tercer nivel</a:t>
            </a:r>
          </a:p>
        </p:txBody>
      </p:sp>
      <p:sp>
        <p:nvSpPr>
          <p:cNvPr id="3" name="Datumsplatzhalter 2">
            <a:extLst>
              <a:ext uri="{FF2B5EF4-FFF2-40B4-BE49-F238E27FC236}">
                <a16:creationId xmlns:a16="http://schemas.microsoft.com/office/drawing/2014/main" id="{0C018030-29BB-4AC7-924C-FA00E1D44E85}"/>
              </a:ext>
            </a:extLst>
          </p:cNvPr>
          <p:cNvSpPr>
            <a:spLocks noGrp="1"/>
          </p:cNvSpPr>
          <p:nvPr>
            <p:ph type="dt" sz="half" idx="17"/>
          </p:nvPr>
        </p:nvSpPr>
        <p:spPr/>
        <p:txBody>
          <a:bodyPr/>
          <a:lstStyle/>
          <a:p>
            <a:r>
              <a:rPr lang="es-ES"/>
              <a:t>14.02.2019</a:t>
            </a:r>
            <a:endParaRPr lang="es-ES" dirty="0"/>
          </a:p>
        </p:txBody>
      </p:sp>
      <p:sp>
        <p:nvSpPr>
          <p:cNvPr id="4" name="Fußzeilenplatzhalter 3">
            <a:extLst>
              <a:ext uri="{FF2B5EF4-FFF2-40B4-BE49-F238E27FC236}">
                <a16:creationId xmlns:a16="http://schemas.microsoft.com/office/drawing/2014/main" id="{C043C784-8B7D-4485-BCCC-7509CD0547C8}"/>
              </a:ext>
            </a:extLst>
          </p:cNvPr>
          <p:cNvSpPr>
            <a:spLocks noGrp="1"/>
          </p:cNvSpPr>
          <p:nvPr>
            <p:ph type="ftr" sz="quarter" idx="18"/>
          </p:nvPr>
        </p:nvSpPr>
        <p:spPr/>
        <p:txBody>
          <a:bodyPr/>
          <a:lstStyle/>
          <a:p>
            <a:r>
              <a:rPr lang="es-ES"/>
              <a:t>Título de la presentación</a:t>
            </a:r>
            <a:endParaRPr lang="es-ES" dirty="0"/>
          </a:p>
        </p:txBody>
      </p:sp>
      <p:sp>
        <p:nvSpPr>
          <p:cNvPr id="5" name="Foliennummernplatzhalter 4">
            <a:extLst>
              <a:ext uri="{FF2B5EF4-FFF2-40B4-BE49-F238E27FC236}">
                <a16:creationId xmlns:a16="http://schemas.microsoft.com/office/drawing/2014/main" id="{7BB561E2-A996-4C87-BD08-F12F8BD3FA5B}"/>
              </a:ext>
            </a:extLst>
          </p:cNvPr>
          <p:cNvSpPr>
            <a:spLocks noGrp="1"/>
          </p:cNvSpPr>
          <p:nvPr>
            <p:ph type="sldNum" sz="quarter" idx="19"/>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3591959471"/>
      </p:ext>
    </p:extLst>
  </p:cSld>
  <p:clrMapOvr>
    <a:masterClrMapping/>
  </p:clrMapOvr>
  <p:transition>
    <p:fade/>
  </p:transition>
  <p:extLst>
    <p:ext uri="{DCECCB84-F9BA-43D5-87BE-67443E8EF086}">
      <p15:sldGuideLst xmlns:p15="http://schemas.microsoft.com/office/powerpoint/2012/main">
        <p15:guide id="1"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ap. texto 3 fotos y 3 columnas">
    <p:spTree>
      <p:nvGrpSpPr>
        <p:cNvPr id="1" name=""/>
        <p:cNvGrpSpPr/>
        <p:nvPr/>
      </p:nvGrpSpPr>
      <p:grpSpPr>
        <a:xfrm>
          <a:off x="0" y="0"/>
          <a:ext cx="0" cy="0"/>
          <a:chOff x="0" y="0"/>
          <a:chExt cx="0" cy="0"/>
        </a:xfrm>
      </p:grpSpPr>
      <p:sp>
        <p:nvSpPr>
          <p:cNvPr id="11" name="Bildplatzhalter 6">
            <a:extLst>
              <a:ext uri="{FF2B5EF4-FFF2-40B4-BE49-F238E27FC236}">
                <a16:creationId xmlns:a16="http://schemas.microsoft.com/office/drawing/2014/main" id="{6AFC61C6-D36D-49CC-A15E-B4D2086BCDB1}"/>
              </a:ext>
            </a:extLst>
          </p:cNvPr>
          <p:cNvSpPr>
            <a:spLocks noGrp="1"/>
          </p:cNvSpPr>
          <p:nvPr>
            <p:ph type="pic" sz="quarter" idx="16" hasCustomPrompt="1"/>
          </p:nvPr>
        </p:nvSpPr>
        <p:spPr bwMode="gray">
          <a:xfrm>
            <a:off x="4187824" y="3992957"/>
            <a:ext cx="3811200" cy="2140800"/>
          </a:xfrm>
          <a:solidFill>
            <a:schemeClr val="bg2"/>
          </a:solidFill>
        </p:spPr>
        <p:txBody>
          <a:bodyPr vert="horz" lIns="36000" tIns="1080000" rIns="36000" bIns="36000" rtlCol="0">
            <a:noAutofit/>
          </a:bodyPr>
          <a:lstStyle>
            <a:lvl1pPr algn="ctr">
              <a:defRPr lang="en-GB" sz="1333" dirty="0">
                <a:solidFill>
                  <a:schemeClr val="tx2"/>
                </a:solidFill>
              </a:defRPr>
            </a:lvl1pPr>
          </a:lstStyle>
          <a:p>
            <a:pPr lvl="0" algn="ctr"/>
            <a:r>
              <a:rPr lang="es-ES"/>
              <a:t>Imagen</a:t>
            </a:r>
            <a:endParaRPr lang="es-ES" dirty="0"/>
          </a:p>
        </p:txBody>
      </p:sp>
      <p:sp>
        <p:nvSpPr>
          <p:cNvPr id="7" name="Bildplatzhalter 6">
            <a:extLst>
              <a:ext uri="{FF2B5EF4-FFF2-40B4-BE49-F238E27FC236}">
                <a16:creationId xmlns:a16="http://schemas.microsoft.com/office/drawing/2014/main" id="{04CC61FD-96E9-460E-816E-FA87841093C2}"/>
              </a:ext>
            </a:extLst>
          </p:cNvPr>
          <p:cNvSpPr>
            <a:spLocks noGrp="1"/>
          </p:cNvSpPr>
          <p:nvPr>
            <p:ph type="pic" sz="quarter" idx="15" hasCustomPrompt="1"/>
          </p:nvPr>
        </p:nvSpPr>
        <p:spPr bwMode="gray">
          <a:xfrm>
            <a:off x="164180" y="3992957"/>
            <a:ext cx="3811200" cy="2140800"/>
          </a:xfrm>
          <a:solidFill>
            <a:schemeClr val="bg2"/>
          </a:solidFill>
        </p:spPr>
        <p:txBody>
          <a:bodyPr vert="horz" lIns="36000" tIns="1080000" rIns="36000" bIns="36000" rtlCol="0">
            <a:noAutofit/>
          </a:bodyPr>
          <a:lstStyle>
            <a:lvl1pPr algn="ctr">
              <a:defRPr lang="en-GB" sz="1333" dirty="0">
                <a:solidFill>
                  <a:schemeClr val="tx2"/>
                </a:solidFill>
              </a:defRPr>
            </a:lvl1pPr>
          </a:lstStyle>
          <a:p>
            <a:pPr lvl="0" algn="ctr"/>
            <a:r>
              <a:rPr lang="es-ES"/>
              <a:t>Imagen</a:t>
            </a:r>
            <a:endParaRPr lang="es-ES" dirty="0"/>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599761" y="1361295"/>
            <a:ext cx="3375623" cy="2358831"/>
          </a:xfrm>
        </p:spPr>
        <p:txBody>
          <a:bodyPr/>
          <a:lstStyle>
            <a:lvl1pPr>
              <a:defRPr/>
            </a:lvl1pPr>
            <a:lvl2pPr>
              <a:defRPr/>
            </a:lvl2pPr>
            <a:lvl3pPr>
              <a:defRPr/>
            </a:lvl3pPr>
          </a:lstStyle>
          <a:p>
            <a:pPr lvl="0"/>
            <a:r>
              <a:rPr lang="es-ES" noProof="0" dirty="0"/>
              <a:t>Añadir texto haciendo clic</a:t>
            </a:r>
          </a:p>
          <a:p>
            <a:pPr lvl="1">
              <a:buClr>
                <a:schemeClr val="accent1"/>
              </a:buClr>
            </a:pPr>
            <a:r>
              <a:rPr lang="es-ES" dirty="0"/>
              <a:t>Segundo nivel</a:t>
            </a:r>
          </a:p>
          <a:p>
            <a:pPr lvl="2">
              <a:buClr>
                <a:schemeClr val="accent1"/>
              </a:buClr>
            </a:pPr>
            <a:r>
              <a:rPr lang="es-ES" dirty="0"/>
              <a:t>Tercer nivel</a:t>
            </a:r>
          </a:p>
        </p:txBody>
      </p:sp>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599758" y="320284"/>
            <a:ext cx="11414444" cy="720725"/>
          </a:xfrm>
        </p:spPr>
        <p:txBody>
          <a:bodyPr/>
          <a:lstStyle>
            <a:lvl1pPr>
              <a:defRPr/>
            </a:lvl1pPr>
          </a:lstStyle>
          <a:p>
            <a:r>
              <a:rPr lang="es-ES"/>
              <a:t>Añadir título haciendo clic</a:t>
            </a:r>
            <a:endParaRPr lang="es-ES" dirty="0"/>
          </a:p>
        </p:txBody>
      </p:sp>
      <p:sp>
        <p:nvSpPr>
          <p:cNvPr id="9" name="Textplatzhalter 7">
            <a:extLst>
              <a:ext uri="{FF2B5EF4-FFF2-40B4-BE49-F238E27FC236}">
                <a16:creationId xmlns:a16="http://schemas.microsoft.com/office/drawing/2014/main" id="{22732D1C-05D1-4A5F-B576-23063E1D7BD4}"/>
              </a:ext>
            </a:extLst>
          </p:cNvPr>
          <p:cNvSpPr>
            <a:spLocks noGrp="1"/>
          </p:cNvSpPr>
          <p:nvPr>
            <p:ph type="body" sz="quarter" idx="14" hasCustomPrompt="1"/>
          </p:nvPr>
        </p:nvSpPr>
        <p:spPr bwMode="gray">
          <a:xfrm>
            <a:off x="4623403" y="1361295"/>
            <a:ext cx="3375623" cy="2358831"/>
          </a:xfrm>
        </p:spPr>
        <p:txBody>
          <a:bodyPr/>
          <a:lstStyle>
            <a:lvl1pPr>
              <a:defRPr/>
            </a:lvl1pPr>
            <a:lvl2pPr>
              <a:defRPr/>
            </a:lvl2pPr>
            <a:lvl3pPr>
              <a:defRPr/>
            </a:lvl3pPr>
          </a:lstStyle>
          <a:p>
            <a:pPr lvl="0"/>
            <a:r>
              <a:rPr lang="es-ES" noProof="0" dirty="0"/>
              <a:t>Añadir texto haciendo clic</a:t>
            </a:r>
          </a:p>
          <a:p>
            <a:pPr lvl="1">
              <a:buClr>
                <a:schemeClr val="accent1"/>
              </a:buClr>
            </a:pPr>
            <a:r>
              <a:rPr lang="es-ES" dirty="0"/>
              <a:t>Segundo nivel</a:t>
            </a:r>
          </a:p>
          <a:p>
            <a:pPr lvl="2">
              <a:buClr>
                <a:schemeClr val="accent1"/>
              </a:buClr>
            </a:pPr>
            <a:r>
              <a:rPr lang="es-ES" dirty="0"/>
              <a:t>Tercer nivel</a:t>
            </a:r>
          </a:p>
        </p:txBody>
      </p:sp>
      <p:sp>
        <p:nvSpPr>
          <p:cNvPr id="16" name="Bildplatzhalter 6">
            <a:extLst>
              <a:ext uri="{FF2B5EF4-FFF2-40B4-BE49-F238E27FC236}">
                <a16:creationId xmlns:a16="http://schemas.microsoft.com/office/drawing/2014/main" id="{AB38192C-6783-4C98-AB15-3A38EFFC1B08}"/>
              </a:ext>
            </a:extLst>
          </p:cNvPr>
          <p:cNvSpPr>
            <a:spLocks noGrp="1"/>
          </p:cNvSpPr>
          <p:nvPr>
            <p:ph type="pic" sz="quarter" idx="17" hasCustomPrompt="1"/>
          </p:nvPr>
        </p:nvSpPr>
        <p:spPr bwMode="gray">
          <a:xfrm>
            <a:off x="8211467" y="3992957"/>
            <a:ext cx="3811200" cy="2140800"/>
          </a:xfrm>
          <a:solidFill>
            <a:schemeClr val="bg2"/>
          </a:solidFill>
        </p:spPr>
        <p:txBody>
          <a:bodyPr vert="horz" lIns="36000" tIns="1080000" rIns="36000" bIns="36000" rtlCol="0">
            <a:noAutofit/>
          </a:bodyPr>
          <a:lstStyle>
            <a:lvl1pPr algn="ctr">
              <a:defRPr lang="en-GB" sz="1333" dirty="0">
                <a:solidFill>
                  <a:schemeClr val="tx2"/>
                </a:solidFill>
              </a:defRPr>
            </a:lvl1pPr>
          </a:lstStyle>
          <a:p>
            <a:pPr lvl="0" algn="ctr"/>
            <a:r>
              <a:rPr lang="es-ES"/>
              <a:t>Imagen</a:t>
            </a:r>
            <a:endParaRPr lang="es-ES" dirty="0"/>
          </a:p>
        </p:txBody>
      </p:sp>
      <p:sp>
        <p:nvSpPr>
          <p:cNvPr id="20" name="Textplatzhalter 7">
            <a:extLst>
              <a:ext uri="{FF2B5EF4-FFF2-40B4-BE49-F238E27FC236}">
                <a16:creationId xmlns:a16="http://schemas.microsoft.com/office/drawing/2014/main" id="{DED8696E-3F6E-4312-8474-D7B6C988FDD5}"/>
              </a:ext>
            </a:extLst>
          </p:cNvPr>
          <p:cNvSpPr>
            <a:spLocks noGrp="1"/>
          </p:cNvSpPr>
          <p:nvPr>
            <p:ph type="body" sz="quarter" idx="18" hasCustomPrompt="1"/>
          </p:nvPr>
        </p:nvSpPr>
        <p:spPr bwMode="gray">
          <a:xfrm>
            <a:off x="8647047" y="1361295"/>
            <a:ext cx="3375623" cy="2358831"/>
          </a:xfrm>
        </p:spPr>
        <p:txBody>
          <a:bodyPr/>
          <a:lstStyle>
            <a:lvl1pPr>
              <a:defRPr/>
            </a:lvl1pPr>
            <a:lvl2pPr>
              <a:defRPr/>
            </a:lvl2pPr>
            <a:lvl3pPr>
              <a:defRPr/>
            </a:lvl3pPr>
          </a:lstStyle>
          <a:p>
            <a:pPr lvl="0"/>
            <a:r>
              <a:rPr lang="es-ES" noProof="0" dirty="0"/>
              <a:t>Añadir texto haciendo clic</a:t>
            </a:r>
          </a:p>
          <a:p>
            <a:pPr lvl="1">
              <a:buClr>
                <a:schemeClr val="accent1"/>
              </a:buClr>
            </a:pPr>
            <a:r>
              <a:rPr lang="es-ES" dirty="0"/>
              <a:t>Segundo nivel</a:t>
            </a:r>
          </a:p>
          <a:p>
            <a:pPr lvl="2">
              <a:buClr>
                <a:schemeClr val="accent1"/>
              </a:buClr>
            </a:pPr>
            <a:r>
              <a:rPr lang="es-ES" dirty="0"/>
              <a:t>Tercer nivel</a:t>
            </a:r>
          </a:p>
        </p:txBody>
      </p:sp>
      <p:sp>
        <p:nvSpPr>
          <p:cNvPr id="3" name="Datumsplatzhalter 2">
            <a:extLst>
              <a:ext uri="{FF2B5EF4-FFF2-40B4-BE49-F238E27FC236}">
                <a16:creationId xmlns:a16="http://schemas.microsoft.com/office/drawing/2014/main" id="{7A37156E-DDB3-49F6-87E3-8B34FFC76FAA}"/>
              </a:ext>
            </a:extLst>
          </p:cNvPr>
          <p:cNvSpPr>
            <a:spLocks noGrp="1"/>
          </p:cNvSpPr>
          <p:nvPr>
            <p:ph type="dt" sz="half" idx="19"/>
          </p:nvPr>
        </p:nvSpPr>
        <p:spPr/>
        <p:txBody>
          <a:bodyPr/>
          <a:lstStyle/>
          <a:p>
            <a:r>
              <a:rPr lang="es-ES"/>
              <a:t>14.02.2019</a:t>
            </a:r>
            <a:endParaRPr lang="es-ES" dirty="0"/>
          </a:p>
        </p:txBody>
      </p:sp>
      <p:sp>
        <p:nvSpPr>
          <p:cNvPr id="4" name="Fußzeilenplatzhalter 3">
            <a:extLst>
              <a:ext uri="{FF2B5EF4-FFF2-40B4-BE49-F238E27FC236}">
                <a16:creationId xmlns:a16="http://schemas.microsoft.com/office/drawing/2014/main" id="{36A315B9-43A2-406C-8666-034AA17B475E}"/>
              </a:ext>
            </a:extLst>
          </p:cNvPr>
          <p:cNvSpPr>
            <a:spLocks noGrp="1"/>
          </p:cNvSpPr>
          <p:nvPr>
            <p:ph type="ftr" sz="quarter" idx="20"/>
          </p:nvPr>
        </p:nvSpPr>
        <p:spPr/>
        <p:txBody>
          <a:bodyPr/>
          <a:lstStyle/>
          <a:p>
            <a:r>
              <a:rPr lang="es-ES"/>
              <a:t>Título de la presentación</a:t>
            </a:r>
            <a:endParaRPr lang="es-ES" dirty="0"/>
          </a:p>
        </p:txBody>
      </p:sp>
      <p:sp>
        <p:nvSpPr>
          <p:cNvPr id="5" name="Foliennummernplatzhalter 4">
            <a:extLst>
              <a:ext uri="{FF2B5EF4-FFF2-40B4-BE49-F238E27FC236}">
                <a16:creationId xmlns:a16="http://schemas.microsoft.com/office/drawing/2014/main" id="{84938731-B067-4957-8915-7A68867E5A70}"/>
              </a:ext>
            </a:extLst>
          </p:cNvPr>
          <p:cNvSpPr>
            <a:spLocks noGrp="1"/>
          </p:cNvSpPr>
          <p:nvPr>
            <p:ph type="sldNum" sz="quarter" idx="21"/>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3069192385"/>
      </p:ext>
    </p:extLst>
  </p:cSld>
  <p:clrMapOvr>
    <a:masterClrMapping/>
  </p:clrMapOvr>
  <p:transition>
    <p:fade/>
  </p:transition>
  <p:extLst>
    <p:ext uri="{DCECCB84-F9BA-43D5-87BE-67443E8EF086}">
      <p15:sldGuideLst xmlns:p15="http://schemas.microsoft.com/office/powerpoint/2012/main">
        <p15:guide id="1"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ap. para proyecto">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AD865FD3-1198-4DEC-9CE4-A71B7C84CD08}"/>
              </a:ext>
            </a:extLst>
          </p:cNvPr>
          <p:cNvSpPr>
            <a:spLocks noGrp="1"/>
          </p:cNvSpPr>
          <p:nvPr>
            <p:ph type="pic" sz="quarter" idx="15" hasCustomPrompt="1"/>
          </p:nvPr>
        </p:nvSpPr>
        <p:spPr bwMode="gray">
          <a:xfrm>
            <a:off x="613833" y="4150519"/>
            <a:ext cx="3526768" cy="1983583"/>
          </a:xfrm>
          <a:solidFill>
            <a:schemeClr val="bg2"/>
          </a:solidFill>
        </p:spPr>
        <p:txBody>
          <a:bodyPr vert="horz" lIns="36000" tIns="1152000" rIns="36000" bIns="36000" rtlCol="0">
            <a:noAutofit/>
          </a:bodyPr>
          <a:lstStyle>
            <a:lvl1pPr algn="ctr">
              <a:defRPr lang="en-GB" sz="1333" dirty="0">
                <a:solidFill>
                  <a:schemeClr val="tx2"/>
                </a:solidFill>
              </a:defRPr>
            </a:lvl1pPr>
          </a:lstStyle>
          <a:p>
            <a:pPr lvl="0" algn="ctr"/>
            <a:r>
              <a:rPr lang="es-ES"/>
              <a:t>Imagen</a:t>
            </a:r>
            <a:endParaRPr lang="es-ES" dirty="0"/>
          </a:p>
        </p:txBody>
      </p:sp>
      <p:sp>
        <p:nvSpPr>
          <p:cNvPr id="18" name="Rechteck 17">
            <a:extLst>
              <a:ext uri="{FF2B5EF4-FFF2-40B4-BE49-F238E27FC236}">
                <a16:creationId xmlns:a16="http://schemas.microsoft.com/office/drawing/2014/main" id="{2FE0F192-365F-4B9B-9AE5-A8DCD077B27C}"/>
              </a:ext>
            </a:extLst>
          </p:cNvPr>
          <p:cNvSpPr/>
          <p:nvPr userDrawn="1"/>
        </p:nvSpPr>
        <p:spPr bwMode="gray">
          <a:xfrm>
            <a:off x="613832" y="1294231"/>
            <a:ext cx="3526368" cy="18534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err="1"/>
          </a:p>
        </p:txBody>
      </p:sp>
      <p:sp>
        <p:nvSpPr>
          <p:cNvPr id="12" name="Rechteck 11">
            <a:extLst>
              <a:ext uri="{FF2B5EF4-FFF2-40B4-BE49-F238E27FC236}">
                <a16:creationId xmlns:a16="http://schemas.microsoft.com/office/drawing/2014/main" id="{FD20B6CE-6FB5-47BE-ACA3-1FADB18A5F9F}"/>
              </a:ext>
            </a:extLst>
          </p:cNvPr>
          <p:cNvSpPr/>
          <p:nvPr userDrawn="1"/>
        </p:nvSpPr>
        <p:spPr bwMode="gray">
          <a:xfrm>
            <a:off x="613832" y="3228949"/>
            <a:ext cx="3526368" cy="8458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err="1"/>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613832" y="3223373"/>
            <a:ext cx="3526368" cy="282675"/>
          </a:xfrm>
          <a:noFill/>
        </p:spPr>
        <p:txBody>
          <a:bodyPr vert="horz" lIns="72000" tIns="36000" rIns="72000" bIns="36000" rtlCol="0" anchor="ctr">
            <a:noAutofit/>
          </a:bodyPr>
          <a:lstStyle>
            <a:lvl1pPr marL="0" marR="0" indent="0" algn="l" defTabSz="914392" rtl="0" eaLnBrk="1" fontAlgn="auto" latinLnBrk="0" hangingPunct="1">
              <a:lnSpc>
                <a:spcPct val="90000"/>
              </a:lnSpc>
              <a:spcBef>
                <a:spcPts val="800"/>
              </a:spcBef>
              <a:spcAft>
                <a:spcPts val="0"/>
              </a:spcAft>
              <a:buClrTx/>
              <a:buSzTx/>
              <a:buFont typeface="Arial" panose="020B0604020202020204" pitchFamily="34" charset="0"/>
              <a:buNone/>
              <a:tabLst/>
              <a:defRPr lang="de-DE" sz="1333" b="1" baseline="0">
                <a:solidFill>
                  <a:schemeClr val="bg1"/>
                </a:solidFill>
              </a:defRPr>
            </a:lvl1pPr>
            <a:lvl2pPr>
              <a:defRPr lang="de-DE" dirty="0"/>
            </a:lvl2pPr>
            <a:lvl3pPr>
              <a:defRPr lang="en-GB" dirty="0"/>
            </a:lvl3pPr>
          </a:lstStyle>
          <a:p>
            <a:pPr marL="0" marR="0" lvl="0" indent="0" algn="l" defTabSz="914392" rtl="0" eaLnBrk="1" fontAlgn="auto" latinLnBrk="0" hangingPunct="1">
              <a:lnSpc>
                <a:spcPct val="90000"/>
              </a:lnSpc>
              <a:spcBef>
                <a:spcPts val="800"/>
              </a:spcBef>
              <a:spcAft>
                <a:spcPts val="0"/>
              </a:spcAft>
              <a:buClrTx/>
              <a:buSzTx/>
              <a:buFont typeface="Arial" panose="020B0604020202020204" pitchFamily="34" charset="0"/>
              <a:buNone/>
              <a:tabLst/>
              <a:defRPr/>
            </a:pPr>
            <a:r>
              <a:rPr lang="de-DE" dirty="0" err="1"/>
              <a:t>Nombre</a:t>
            </a:r>
            <a:r>
              <a:rPr lang="de-DE" dirty="0"/>
              <a:t> de la </a:t>
            </a:r>
            <a:r>
              <a:rPr lang="de-DE" dirty="0" err="1"/>
              <a:t>contraparte</a:t>
            </a:r>
            <a:endParaRPr lang="de-DE" dirty="0"/>
          </a:p>
        </p:txBody>
      </p:sp>
      <p:sp>
        <p:nvSpPr>
          <p:cNvPr id="19" name="Titel 1">
            <a:extLst>
              <a:ext uri="{FF2B5EF4-FFF2-40B4-BE49-F238E27FC236}">
                <a16:creationId xmlns:a16="http://schemas.microsoft.com/office/drawing/2014/main" id="{E5EE29FF-B139-4CD9-A32C-25A2CCBFB41B}"/>
              </a:ext>
            </a:extLst>
          </p:cNvPr>
          <p:cNvSpPr>
            <a:spLocks noGrp="1"/>
          </p:cNvSpPr>
          <p:nvPr>
            <p:ph type="title" hasCustomPrompt="1"/>
          </p:nvPr>
        </p:nvSpPr>
        <p:spPr bwMode="gray">
          <a:xfrm>
            <a:off x="599755" y="320284"/>
            <a:ext cx="6452847" cy="720725"/>
          </a:xfrm>
        </p:spPr>
        <p:txBody>
          <a:bodyPr/>
          <a:lstStyle>
            <a:lvl1pPr>
              <a:defRPr/>
            </a:lvl1pPr>
          </a:lstStyle>
          <a:p>
            <a:r>
              <a:rPr lang="es-ES"/>
              <a:t>Añadir título haciendo clic</a:t>
            </a:r>
            <a:endParaRPr lang="es-ES" dirty="0"/>
          </a:p>
        </p:txBody>
      </p:sp>
      <p:sp>
        <p:nvSpPr>
          <p:cNvPr id="14" name="Textplatzhalter 8">
            <a:extLst>
              <a:ext uri="{FF2B5EF4-FFF2-40B4-BE49-F238E27FC236}">
                <a16:creationId xmlns:a16="http://schemas.microsoft.com/office/drawing/2014/main" id="{40AE37FF-8E79-4DC2-894F-409F5F142440}"/>
              </a:ext>
            </a:extLst>
          </p:cNvPr>
          <p:cNvSpPr>
            <a:spLocks noGrp="1"/>
          </p:cNvSpPr>
          <p:nvPr>
            <p:ph type="body" sz="quarter" idx="17" hasCustomPrompt="1"/>
          </p:nvPr>
        </p:nvSpPr>
        <p:spPr bwMode="gray">
          <a:xfrm>
            <a:off x="613832" y="3532557"/>
            <a:ext cx="3526368" cy="525937"/>
          </a:xfrm>
          <a:noFill/>
        </p:spPr>
        <p:txBody>
          <a:bodyPr lIns="72000" anchor="t"/>
          <a:lstStyle>
            <a:lvl1pPr>
              <a:lnSpc>
                <a:spcPct val="100000"/>
              </a:lnSpc>
              <a:spcBef>
                <a:spcPts val="0"/>
              </a:spcBef>
              <a:defRPr sz="1067" b="0" baseline="0">
                <a:solidFill>
                  <a:schemeClr val="bg1"/>
                </a:solidFill>
              </a:defRPr>
            </a:lvl1pPr>
          </a:lstStyle>
          <a:p>
            <a:pPr lvl="0"/>
            <a:r>
              <a:rPr lang="de-DE" dirty="0"/>
              <a:t>MM/AAAA – MM/AAAA</a:t>
            </a:r>
            <a:br>
              <a:rPr lang="de-DE" dirty="0"/>
            </a:br>
            <a:r>
              <a:rPr lang="de-DE" dirty="0"/>
              <a:t>Volumen: 00 </a:t>
            </a:r>
            <a:r>
              <a:rPr lang="de-DE" dirty="0" err="1"/>
              <a:t>millones</a:t>
            </a:r>
            <a:r>
              <a:rPr lang="de-DE" dirty="0"/>
              <a:t> de </a:t>
            </a:r>
            <a:r>
              <a:rPr lang="de-DE" dirty="0" err="1"/>
              <a:t>euros</a:t>
            </a:r>
            <a:br>
              <a:rPr lang="de-DE" dirty="0"/>
            </a:br>
            <a:r>
              <a:rPr lang="de-DE" dirty="0" err="1"/>
              <a:t>Aporte</a:t>
            </a:r>
            <a:r>
              <a:rPr lang="de-DE" dirty="0"/>
              <a:t> </a:t>
            </a:r>
            <a:r>
              <a:rPr lang="de-DE" dirty="0" err="1"/>
              <a:t>público</a:t>
            </a:r>
            <a:r>
              <a:rPr lang="de-DE" dirty="0"/>
              <a:t>: 000.000 </a:t>
            </a:r>
            <a:r>
              <a:rPr lang="de-DE" dirty="0" err="1"/>
              <a:t>euros</a:t>
            </a:r>
            <a:endParaRPr lang="de-DE" dirty="0"/>
          </a:p>
        </p:txBody>
      </p:sp>
      <p:sp>
        <p:nvSpPr>
          <p:cNvPr id="15" name="Textplatzhalter 8">
            <a:extLst>
              <a:ext uri="{FF2B5EF4-FFF2-40B4-BE49-F238E27FC236}">
                <a16:creationId xmlns:a16="http://schemas.microsoft.com/office/drawing/2014/main" id="{133FB7B2-F1B0-4BE4-A9A1-2AA5AD68EB76}"/>
              </a:ext>
            </a:extLst>
          </p:cNvPr>
          <p:cNvSpPr>
            <a:spLocks noGrp="1"/>
          </p:cNvSpPr>
          <p:nvPr>
            <p:ph type="body" sz="quarter" idx="18" hasCustomPrompt="1"/>
          </p:nvPr>
        </p:nvSpPr>
        <p:spPr bwMode="gray">
          <a:xfrm>
            <a:off x="613832" y="1295083"/>
            <a:ext cx="3526368" cy="362396"/>
          </a:xfrm>
          <a:noFill/>
        </p:spPr>
        <p:txBody>
          <a:bodyPr lIns="72000" tIns="36000" bIns="36000" anchor="ctr"/>
          <a:lstStyle>
            <a:lvl1pPr>
              <a:defRPr sz="1467" b="1" baseline="0">
                <a:solidFill>
                  <a:schemeClr val="tx1"/>
                </a:solidFill>
              </a:defRPr>
            </a:lvl1pPr>
          </a:lstStyle>
          <a:p>
            <a:pPr lvl="0"/>
            <a:r>
              <a:rPr lang="de-DE" dirty="0" err="1"/>
              <a:t>Nombre</a:t>
            </a:r>
            <a:r>
              <a:rPr lang="de-DE" dirty="0"/>
              <a:t> del </a:t>
            </a:r>
            <a:r>
              <a:rPr lang="de-DE" dirty="0" err="1"/>
              <a:t>país</a:t>
            </a:r>
            <a:endParaRPr lang="de-DE" dirty="0"/>
          </a:p>
        </p:txBody>
      </p:sp>
      <p:sp>
        <p:nvSpPr>
          <p:cNvPr id="16" name="Textplatzhalter 8">
            <a:extLst>
              <a:ext uri="{FF2B5EF4-FFF2-40B4-BE49-F238E27FC236}">
                <a16:creationId xmlns:a16="http://schemas.microsoft.com/office/drawing/2014/main" id="{50874649-3395-4A9D-A057-03A867415BCC}"/>
              </a:ext>
            </a:extLst>
          </p:cNvPr>
          <p:cNvSpPr>
            <a:spLocks noGrp="1"/>
          </p:cNvSpPr>
          <p:nvPr>
            <p:ph type="body" sz="quarter" idx="19" hasCustomPrompt="1"/>
          </p:nvPr>
        </p:nvSpPr>
        <p:spPr bwMode="gray">
          <a:xfrm>
            <a:off x="613832" y="1657477"/>
            <a:ext cx="3526368" cy="1490155"/>
          </a:xfrm>
          <a:noFill/>
        </p:spPr>
        <p:txBody>
          <a:bodyPr lIns="72000" tIns="0" bIns="36000" anchor="t"/>
          <a:lstStyle>
            <a:lvl1pPr marL="0" indent="0" algn="l" defTabSz="914392" rtl="0" eaLnBrk="1" latinLnBrk="0" hangingPunct="1">
              <a:lnSpc>
                <a:spcPct val="100000"/>
              </a:lnSpc>
              <a:spcBef>
                <a:spcPts val="0"/>
              </a:spcBef>
              <a:buFont typeface="Arial" panose="020B0604020202020204" pitchFamily="34" charset="0"/>
              <a:buNone/>
              <a:defRPr lang="de-DE" sz="1333" b="0" kern="1200" baseline="0" dirty="0" smtClean="0">
                <a:solidFill>
                  <a:schemeClr val="tx1"/>
                </a:solidFill>
                <a:latin typeface="+mn-lt"/>
                <a:ea typeface="+mn-ea"/>
                <a:cs typeface="+mn-cs"/>
              </a:defRPr>
            </a:lvl1pPr>
          </a:lstStyle>
          <a:p>
            <a:pPr marL="0" lvl="0" indent="0" algn="l" defTabSz="914392" rtl="0" eaLnBrk="1" latinLnBrk="0" hangingPunct="1">
              <a:lnSpc>
                <a:spcPct val="100000"/>
              </a:lnSpc>
              <a:spcBef>
                <a:spcPts val="0"/>
              </a:spcBef>
              <a:buFont typeface="Arial" panose="020B0604020202020204" pitchFamily="34" charset="0"/>
              <a:buNone/>
            </a:pPr>
            <a:r>
              <a:rPr lang="de-DE" dirty="0" err="1"/>
              <a:t>Texto</a:t>
            </a:r>
            <a:r>
              <a:rPr lang="de-DE" dirty="0"/>
              <a:t> </a:t>
            </a:r>
            <a:r>
              <a:rPr lang="de-DE" dirty="0" err="1"/>
              <a:t>con</a:t>
            </a:r>
            <a:r>
              <a:rPr lang="de-DE" dirty="0"/>
              <a:t> </a:t>
            </a:r>
            <a:r>
              <a:rPr lang="de-DE" dirty="0" err="1"/>
              <a:t>el</a:t>
            </a:r>
            <a:r>
              <a:rPr lang="de-DE" dirty="0"/>
              <a:t> </a:t>
            </a:r>
            <a:r>
              <a:rPr lang="de-DE" dirty="0" err="1"/>
              <a:t>nombre</a:t>
            </a:r>
            <a:r>
              <a:rPr lang="de-DE" dirty="0"/>
              <a:t> del </a:t>
            </a:r>
            <a:r>
              <a:rPr lang="de-DE" dirty="0" err="1"/>
              <a:t>país</a:t>
            </a:r>
            <a:r>
              <a:rPr lang="de-DE" dirty="0"/>
              <a:t>.</a:t>
            </a:r>
          </a:p>
        </p:txBody>
      </p:sp>
      <p:sp>
        <p:nvSpPr>
          <p:cNvPr id="7" name="Textplatzhalter 6">
            <a:extLst>
              <a:ext uri="{FF2B5EF4-FFF2-40B4-BE49-F238E27FC236}">
                <a16:creationId xmlns:a16="http://schemas.microsoft.com/office/drawing/2014/main" id="{47B8F238-9E4D-4367-BF20-CAA4F4E82F22}"/>
              </a:ext>
            </a:extLst>
          </p:cNvPr>
          <p:cNvSpPr>
            <a:spLocks noGrp="1"/>
          </p:cNvSpPr>
          <p:nvPr>
            <p:ph type="body" sz="quarter" idx="20" hasCustomPrompt="1"/>
          </p:nvPr>
        </p:nvSpPr>
        <p:spPr bwMode="gray">
          <a:xfrm>
            <a:off x="4414129" y="1361017"/>
            <a:ext cx="7623355" cy="4773083"/>
          </a:xfrm>
        </p:spPr>
        <p:txBody>
          <a:bodyPr/>
          <a:lstStyle>
            <a:lvl1pPr>
              <a:defRPr/>
            </a:lvl1pPr>
            <a:lvl2pPr>
              <a:defRPr/>
            </a:lvl2pPr>
            <a:lvl3pPr>
              <a:defRPr/>
            </a:lvl3pPr>
          </a:lstStyle>
          <a:p>
            <a:pPr lvl="0"/>
            <a:r>
              <a:rPr lang="es-ES" noProof="0" dirty="0"/>
              <a:t>Añadir texto haciendo clic</a:t>
            </a:r>
          </a:p>
          <a:p>
            <a:pPr lvl="1">
              <a:buClr>
                <a:schemeClr val="accent1"/>
              </a:buClr>
            </a:pPr>
            <a:r>
              <a:rPr lang="es-ES" dirty="0"/>
              <a:t>Segundo nivel</a:t>
            </a:r>
          </a:p>
          <a:p>
            <a:pPr lvl="2">
              <a:buClr>
                <a:schemeClr val="accent1"/>
              </a:buClr>
            </a:pPr>
            <a:r>
              <a:rPr lang="es-ES" dirty="0"/>
              <a:t>Tercer nivel</a:t>
            </a:r>
          </a:p>
        </p:txBody>
      </p:sp>
      <p:sp>
        <p:nvSpPr>
          <p:cNvPr id="3" name="Datumsplatzhalter 2">
            <a:extLst>
              <a:ext uri="{FF2B5EF4-FFF2-40B4-BE49-F238E27FC236}">
                <a16:creationId xmlns:a16="http://schemas.microsoft.com/office/drawing/2014/main" id="{68DE2E05-6712-49F0-9F11-CA750209F30B}"/>
              </a:ext>
            </a:extLst>
          </p:cNvPr>
          <p:cNvSpPr>
            <a:spLocks noGrp="1"/>
          </p:cNvSpPr>
          <p:nvPr>
            <p:ph type="dt" sz="half" idx="21"/>
          </p:nvPr>
        </p:nvSpPr>
        <p:spPr/>
        <p:txBody>
          <a:bodyPr/>
          <a:lstStyle/>
          <a:p>
            <a:r>
              <a:rPr lang="es-ES"/>
              <a:t>14.02.2019</a:t>
            </a:r>
            <a:endParaRPr lang="es-ES" dirty="0"/>
          </a:p>
        </p:txBody>
      </p:sp>
      <p:sp>
        <p:nvSpPr>
          <p:cNvPr id="4" name="Fußzeilenplatzhalter 3">
            <a:extLst>
              <a:ext uri="{FF2B5EF4-FFF2-40B4-BE49-F238E27FC236}">
                <a16:creationId xmlns:a16="http://schemas.microsoft.com/office/drawing/2014/main" id="{87E70F1E-146B-45A9-BCA7-DD029CB2E564}"/>
              </a:ext>
            </a:extLst>
          </p:cNvPr>
          <p:cNvSpPr>
            <a:spLocks noGrp="1"/>
          </p:cNvSpPr>
          <p:nvPr>
            <p:ph type="ftr" sz="quarter" idx="22"/>
          </p:nvPr>
        </p:nvSpPr>
        <p:spPr/>
        <p:txBody>
          <a:bodyPr/>
          <a:lstStyle/>
          <a:p>
            <a:r>
              <a:rPr lang="es-ES"/>
              <a:t>Título de la presentación</a:t>
            </a:r>
            <a:endParaRPr lang="es-ES" dirty="0"/>
          </a:p>
        </p:txBody>
      </p:sp>
      <p:sp>
        <p:nvSpPr>
          <p:cNvPr id="5" name="Foliennummernplatzhalter 4">
            <a:extLst>
              <a:ext uri="{FF2B5EF4-FFF2-40B4-BE49-F238E27FC236}">
                <a16:creationId xmlns:a16="http://schemas.microsoft.com/office/drawing/2014/main" id="{FED5D7B5-CBB9-4480-B09F-E66E777B1B2C}"/>
              </a:ext>
            </a:extLst>
          </p:cNvPr>
          <p:cNvSpPr>
            <a:spLocks noGrp="1"/>
          </p:cNvSpPr>
          <p:nvPr>
            <p:ph type="sldNum" sz="quarter" idx="23"/>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390030578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o 1">
    <p:spTree>
      <p:nvGrpSpPr>
        <p:cNvPr id="1" name=""/>
        <p:cNvGrpSpPr/>
        <p:nvPr/>
      </p:nvGrpSpPr>
      <p:grpSpPr>
        <a:xfrm>
          <a:off x="0" y="0"/>
          <a:ext cx="0" cy="0"/>
          <a:chOff x="0" y="0"/>
          <a:chExt cx="0" cy="0"/>
        </a:xfrm>
      </p:grpSpPr>
      <p:pic>
        <p:nvPicPr>
          <p:cNvPr id="18" name="Grafik 17">
            <a:extLst>
              <a:ext uri="{FF2B5EF4-FFF2-40B4-BE49-F238E27FC236}">
                <a16:creationId xmlns:a16="http://schemas.microsoft.com/office/drawing/2014/main" id="{DF58C217-C4E2-448E-B6B5-E56CEFB6D358}"/>
              </a:ext>
            </a:extLst>
          </p:cNvPr>
          <p:cNvPicPr>
            <a:picLocks/>
          </p:cNvPicPr>
          <p:nvPr userDrawn="1"/>
        </p:nvPicPr>
        <p:blipFill rotWithShape="1">
          <a:blip r:embed="rId2"/>
          <a:srcRect t="234" b="7466"/>
          <a:stretch/>
        </p:blipFill>
        <p:spPr bwMode="gray">
          <a:xfrm>
            <a:off x="164183" y="165101"/>
            <a:ext cx="11858487" cy="5968659"/>
          </a:xfrm>
          <a:prstGeom prst="rect">
            <a:avLst/>
          </a:prstGeom>
        </p:spPr>
      </p:pic>
      <p:sp>
        <p:nvSpPr>
          <p:cNvPr id="6" name="Rechteck 5">
            <a:extLst>
              <a:ext uri="{FF2B5EF4-FFF2-40B4-BE49-F238E27FC236}">
                <a16:creationId xmlns:a16="http://schemas.microsoft.com/office/drawing/2014/main" id="{1E3E3E95-0AFA-477F-B88E-9AEDC037418E}"/>
              </a:ext>
            </a:extLst>
          </p:cNvPr>
          <p:cNvSpPr>
            <a:spLocks/>
          </p:cNvSpPr>
          <p:nvPr userDrawn="1"/>
        </p:nvSpPr>
        <p:spPr bwMode="gray">
          <a:xfrm>
            <a:off x="164183" y="165101"/>
            <a:ext cx="11858487" cy="5968659"/>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6" name="Titel 1">
            <a:extLst>
              <a:ext uri="{FF2B5EF4-FFF2-40B4-BE49-F238E27FC236}">
                <a16:creationId xmlns:a16="http://schemas.microsoft.com/office/drawing/2014/main" id="{3B6C23A5-1B72-42F2-B92F-DC68B632F6B0}"/>
              </a:ext>
            </a:extLst>
          </p:cNvPr>
          <p:cNvSpPr>
            <a:spLocks noGrp="1"/>
          </p:cNvSpPr>
          <p:nvPr>
            <p:ph type="title" hasCustomPrompt="1"/>
          </p:nvPr>
        </p:nvSpPr>
        <p:spPr bwMode="gray">
          <a:xfrm>
            <a:off x="599756" y="320284"/>
            <a:ext cx="11123323" cy="720725"/>
          </a:xfrm>
        </p:spPr>
        <p:txBody>
          <a:bodyPr/>
          <a:lstStyle>
            <a:lvl1pPr>
              <a:defRPr/>
            </a:lvl1pPr>
          </a:lstStyle>
          <a:p>
            <a:r>
              <a:rPr lang="es-ES" dirty="0"/>
              <a:t>Añadir título haciendo clic</a:t>
            </a:r>
          </a:p>
        </p:txBody>
      </p:sp>
      <p:sp>
        <p:nvSpPr>
          <p:cNvPr id="19" name="Textplatzhalter 16">
            <a:extLst>
              <a:ext uri="{FF2B5EF4-FFF2-40B4-BE49-F238E27FC236}">
                <a16:creationId xmlns:a16="http://schemas.microsoft.com/office/drawing/2014/main" id="{F0C65784-9410-409B-82EA-6584D4732CDD}"/>
              </a:ext>
            </a:extLst>
          </p:cNvPr>
          <p:cNvSpPr>
            <a:spLocks noGrp="1"/>
          </p:cNvSpPr>
          <p:nvPr>
            <p:ph type="body" sz="quarter" idx="15" hasCustomPrompt="1"/>
          </p:nvPr>
        </p:nvSpPr>
        <p:spPr bwMode="gray">
          <a:xfrm>
            <a:off x="2853715" y="2760961"/>
            <a:ext cx="4492748" cy="1366715"/>
          </a:xfrm>
        </p:spPr>
        <p:txBody>
          <a:bodyPr/>
          <a:lstStyle>
            <a:lvl1pPr>
              <a:lnSpc>
                <a:spcPct val="100000"/>
              </a:lnSpc>
              <a:spcBef>
                <a:spcPts val="0"/>
              </a:spcBef>
              <a:defRPr sz="1600"/>
            </a:lvl1pPr>
          </a:lstStyle>
          <a:p>
            <a:r>
              <a:rPr lang="fr-FR" dirty="0"/>
              <a:t>nombre.apellidos@giz.de</a:t>
            </a:r>
          </a:p>
          <a:p>
            <a:r>
              <a:rPr lang="fr-FR" dirty="0"/>
              <a:t>T +49 (0) x xx </a:t>
            </a:r>
            <a:r>
              <a:rPr lang="fr-FR" dirty="0" err="1"/>
              <a:t>xx</a:t>
            </a:r>
            <a:r>
              <a:rPr lang="fr-FR" dirty="0"/>
              <a:t> </a:t>
            </a:r>
            <a:r>
              <a:rPr lang="fr-FR" dirty="0" err="1"/>
              <a:t>xx</a:t>
            </a:r>
            <a:r>
              <a:rPr lang="fr-FR" dirty="0"/>
              <a:t> </a:t>
            </a:r>
          </a:p>
          <a:p>
            <a:r>
              <a:rPr lang="fr-FR" dirty="0"/>
              <a:t>F +49 (0) x xx </a:t>
            </a:r>
            <a:r>
              <a:rPr lang="fr-FR" dirty="0" err="1"/>
              <a:t>xx</a:t>
            </a:r>
            <a:r>
              <a:rPr lang="fr-FR" dirty="0"/>
              <a:t> </a:t>
            </a:r>
            <a:r>
              <a:rPr lang="fr-FR" dirty="0" err="1"/>
              <a:t>xx</a:t>
            </a:r>
            <a:endParaRPr lang="fr-FR" dirty="0"/>
          </a:p>
        </p:txBody>
      </p:sp>
      <p:sp>
        <p:nvSpPr>
          <p:cNvPr id="20" name="Textplatzhalter 29">
            <a:extLst>
              <a:ext uri="{FF2B5EF4-FFF2-40B4-BE49-F238E27FC236}">
                <a16:creationId xmlns:a16="http://schemas.microsoft.com/office/drawing/2014/main" id="{85761457-A63B-46F2-99C5-E217A1E0A705}"/>
              </a:ext>
            </a:extLst>
          </p:cNvPr>
          <p:cNvSpPr>
            <a:spLocks noGrp="1"/>
          </p:cNvSpPr>
          <p:nvPr>
            <p:ph type="body" sz="quarter" idx="22" hasCustomPrompt="1"/>
          </p:nvPr>
        </p:nvSpPr>
        <p:spPr bwMode="gray">
          <a:xfrm>
            <a:off x="2853715" y="1857149"/>
            <a:ext cx="4492748" cy="235035"/>
          </a:xfrm>
        </p:spPr>
        <p:txBody>
          <a:bodyPr/>
          <a:lstStyle>
            <a:lvl1pPr>
              <a:defRPr sz="1600" b="1"/>
            </a:lvl1pPr>
          </a:lstStyle>
          <a:p>
            <a:r>
              <a:rPr lang="de-DE" dirty="0" err="1"/>
              <a:t>Nombre</a:t>
            </a:r>
            <a:r>
              <a:rPr lang="de-DE" dirty="0"/>
              <a:t> y </a:t>
            </a:r>
            <a:r>
              <a:rPr lang="de-DE" dirty="0" err="1"/>
              <a:t>apellido</a:t>
            </a:r>
            <a:r>
              <a:rPr lang="de-DE" dirty="0"/>
              <a:t>(s)</a:t>
            </a:r>
            <a:endParaRPr lang="en-GB" dirty="0"/>
          </a:p>
        </p:txBody>
      </p:sp>
      <p:sp>
        <p:nvSpPr>
          <p:cNvPr id="21" name="Textplatzhalter 30">
            <a:extLst>
              <a:ext uri="{FF2B5EF4-FFF2-40B4-BE49-F238E27FC236}">
                <a16:creationId xmlns:a16="http://schemas.microsoft.com/office/drawing/2014/main" id="{CB52D947-0416-4964-B28D-129580E47725}"/>
              </a:ext>
            </a:extLst>
          </p:cNvPr>
          <p:cNvSpPr>
            <a:spLocks noGrp="1"/>
          </p:cNvSpPr>
          <p:nvPr>
            <p:ph type="body" sz="quarter" idx="23" hasCustomPrompt="1"/>
          </p:nvPr>
        </p:nvSpPr>
        <p:spPr bwMode="gray">
          <a:xfrm>
            <a:off x="2853715" y="2181305"/>
            <a:ext cx="4492748" cy="235035"/>
          </a:xfrm>
        </p:spPr>
        <p:txBody>
          <a:bodyPr/>
          <a:lstStyle>
            <a:lvl1pPr>
              <a:defRPr sz="1600"/>
            </a:lvl1pPr>
          </a:lstStyle>
          <a:p>
            <a:r>
              <a:rPr lang="de-DE" dirty="0" err="1"/>
              <a:t>Función</a:t>
            </a:r>
            <a:r>
              <a:rPr lang="de-DE" dirty="0"/>
              <a:t>, </a:t>
            </a:r>
            <a:r>
              <a:rPr lang="de-DE" dirty="0" err="1"/>
              <a:t>lugar</a:t>
            </a:r>
            <a:endParaRPr lang="de-DE" dirty="0"/>
          </a:p>
        </p:txBody>
      </p:sp>
      <p:sp>
        <p:nvSpPr>
          <p:cNvPr id="35" name="Bildplatzhalter 6">
            <a:extLst>
              <a:ext uri="{FF2B5EF4-FFF2-40B4-BE49-F238E27FC236}">
                <a16:creationId xmlns:a16="http://schemas.microsoft.com/office/drawing/2014/main" id="{FC763A8F-9E6C-4EEB-90DC-0F65B80379CA}"/>
              </a:ext>
            </a:extLst>
          </p:cNvPr>
          <p:cNvSpPr>
            <a:spLocks noGrp="1"/>
          </p:cNvSpPr>
          <p:nvPr>
            <p:ph type="pic" sz="quarter" idx="17" hasCustomPrompt="1"/>
          </p:nvPr>
        </p:nvSpPr>
        <p:spPr bwMode="gray">
          <a:xfrm>
            <a:off x="599758" y="1857149"/>
            <a:ext cx="1957439" cy="2270523"/>
          </a:xfrm>
          <a:solidFill>
            <a:schemeClr val="bg2"/>
          </a:solidFill>
        </p:spPr>
        <p:txBody>
          <a:bodyPr vert="horz" lIns="36000" tIns="1080000" rIns="36000" bIns="36000" rtlCol="0">
            <a:noAutofit/>
          </a:bodyPr>
          <a:lstStyle>
            <a:lvl1pPr algn="ctr">
              <a:defRPr lang="en-GB" sz="1333" dirty="0">
                <a:solidFill>
                  <a:schemeClr val="tx2"/>
                </a:solidFill>
              </a:defRPr>
            </a:lvl1pPr>
          </a:lstStyle>
          <a:p>
            <a:pPr lvl="0" algn="ctr"/>
            <a:r>
              <a:rPr lang="es-ES"/>
              <a:t>Imagen</a:t>
            </a:r>
            <a:endParaRPr lang="es-ES" dirty="0"/>
          </a:p>
        </p:txBody>
      </p:sp>
      <p:sp>
        <p:nvSpPr>
          <p:cNvPr id="37" name="TextBox 7">
            <a:extLst>
              <a:ext uri="{FF2B5EF4-FFF2-40B4-BE49-F238E27FC236}">
                <a16:creationId xmlns:a16="http://schemas.microsoft.com/office/drawing/2014/main" id="{A45E5920-77D2-4E1E-832E-8A215D8A1078}"/>
              </a:ext>
            </a:extLst>
          </p:cNvPr>
          <p:cNvSpPr txBox="1"/>
          <p:nvPr userDrawn="1"/>
        </p:nvSpPr>
        <p:spPr bwMode="gray">
          <a:xfrm>
            <a:off x="1046185" y="5403599"/>
            <a:ext cx="1048877" cy="297454"/>
          </a:xfrm>
          <a:prstGeom prst="rect">
            <a:avLst/>
          </a:prstGeom>
          <a:noFill/>
        </p:spPr>
        <p:txBody>
          <a:bodyPr wrap="none" rtlCol="0">
            <a:spAutoFit/>
          </a:bodyPr>
          <a:lstStyle/>
          <a:p>
            <a:pPr>
              <a:spcBef>
                <a:spcPts val="3200"/>
              </a:spcBef>
              <a:buClr>
                <a:srgbClr val="C00000"/>
              </a:buClr>
            </a:pPr>
            <a:r>
              <a:rPr lang="es-ES" sz="1333">
                <a:solidFill>
                  <a:schemeClr val="tx1">
                    <a:lumMod val="75000"/>
                    <a:lumOff val="25000"/>
                  </a:schemeClr>
                </a:solidFill>
              </a:rPr>
              <a:t>www.giz.de</a:t>
            </a:r>
            <a:endParaRPr lang="es-ES" sz="1333" dirty="0">
              <a:solidFill>
                <a:schemeClr val="tx1">
                  <a:lumMod val="75000"/>
                  <a:lumOff val="25000"/>
                </a:schemeClr>
              </a:solidFill>
            </a:endParaRPr>
          </a:p>
        </p:txBody>
      </p:sp>
      <p:pic>
        <p:nvPicPr>
          <p:cNvPr id="38" name="Grafik 37" descr="Ein Bild, das Axt, Werkzeug enthält.&#10;&#10;Mit sehr hoher Zuverlässigkeit generierte Beschreibung">
            <a:extLst>
              <a:ext uri="{FF2B5EF4-FFF2-40B4-BE49-F238E27FC236}">
                <a16:creationId xmlns:a16="http://schemas.microsoft.com/office/drawing/2014/main" id="{195D3B85-8F61-41B8-939D-6F7806BB044E}"/>
              </a:ext>
            </a:extLst>
          </p:cNvPr>
          <p:cNvPicPr>
            <a:picLocks noChangeAspect="1"/>
          </p:cNvPicPr>
          <p:nvPr userDrawn="1"/>
        </p:nvPicPr>
        <p:blipFill>
          <a:blip r:embed="rId3"/>
          <a:stretch>
            <a:fillRect/>
          </a:stretch>
        </p:blipFill>
        <p:spPr bwMode="gray">
          <a:xfrm>
            <a:off x="3031312" y="5442596"/>
            <a:ext cx="387637" cy="315277"/>
          </a:xfrm>
          <a:prstGeom prst="rect">
            <a:avLst/>
          </a:prstGeom>
        </p:spPr>
      </p:pic>
      <p:pic>
        <p:nvPicPr>
          <p:cNvPr id="39" name="Grafik 38">
            <a:extLst>
              <a:ext uri="{FF2B5EF4-FFF2-40B4-BE49-F238E27FC236}">
                <a16:creationId xmlns:a16="http://schemas.microsoft.com/office/drawing/2014/main" id="{E3F751BB-E4FA-4732-80BD-F94670E22B0F}"/>
              </a:ext>
            </a:extLst>
          </p:cNvPr>
          <p:cNvPicPr>
            <a:picLocks noChangeAspect="1"/>
          </p:cNvPicPr>
          <p:nvPr userDrawn="1"/>
        </p:nvPicPr>
        <p:blipFill>
          <a:blip r:embed="rId4"/>
          <a:stretch>
            <a:fillRect/>
          </a:stretch>
        </p:blipFill>
        <p:spPr bwMode="gray">
          <a:xfrm>
            <a:off x="6614904" y="5408252"/>
            <a:ext cx="312688" cy="312685"/>
          </a:xfrm>
          <a:prstGeom prst="rect">
            <a:avLst/>
          </a:prstGeom>
        </p:spPr>
      </p:pic>
      <p:grpSp>
        <p:nvGrpSpPr>
          <p:cNvPr id="40" name="Gruppieren 39">
            <a:extLst>
              <a:ext uri="{FF2B5EF4-FFF2-40B4-BE49-F238E27FC236}">
                <a16:creationId xmlns:a16="http://schemas.microsoft.com/office/drawing/2014/main" id="{58EDDA33-F3A1-4081-87DD-3B5C06FD4DD3}"/>
              </a:ext>
            </a:extLst>
          </p:cNvPr>
          <p:cNvGrpSpPr/>
          <p:nvPr userDrawn="1"/>
        </p:nvGrpSpPr>
        <p:grpSpPr bwMode="gray">
          <a:xfrm>
            <a:off x="592656" y="5372336"/>
            <a:ext cx="350163" cy="396344"/>
            <a:chOff x="4933951" y="-41275"/>
            <a:chExt cx="2130425" cy="2411413"/>
          </a:xfrm>
        </p:grpSpPr>
        <p:sp>
          <p:nvSpPr>
            <p:cNvPr id="41" name="Freeform 6">
              <a:extLst>
                <a:ext uri="{FF2B5EF4-FFF2-40B4-BE49-F238E27FC236}">
                  <a16:creationId xmlns:a16="http://schemas.microsoft.com/office/drawing/2014/main" id="{29CE574A-E366-49FD-9460-14AADB765FE9}"/>
                </a:ext>
              </a:extLst>
            </p:cNvPr>
            <p:cNvSpPr>
              <a:spLocks noEditPoints="1"/>
            </p:cNvSpPr>
            <p:nvPr/>
          </p:nvSpPr>
          <p:spPr bwMode="gray">
            <a:xfrm>
              <a:off x="4945063" y="1435100"/>
              <a:ext cx="2114550" cy="935038"/>
            </a:xfrm>
            <a:custGeom>
              <a:avLst/>
              <a:gdLst>
                <a:gd name="T0" fmla="*/ 287 w 425"/>
                <a:gd name="T1" fmla="*/ 25 h 188"/>
                <a:gd name="T2" fmla="*/ 297 w 425"/>
                <a:gd name="T3" fmla="*/ 2 h 188"/>
                <a:gd name="T4" fmla="*/ 325 w 425"/>
                <a:gd name="T5" fmla="*/ 0 h 188"/>
                <a:gd name="T6" fmla="*/ 321 w 425"/>
                <a:gd name="T7" fmla="*/ 23 h 188"/>
                <a:gd name="T8" fmla="*/ 382 w 425"/>
                <a:gd name="T9" fmla="*/ 25 h 188"/>
                <a:gd name="T10" fmla="*/ 394 w 425"/>
                <a:gd name="T11" fmla="*/ 2 h 188"/>
                <a:gd name="T12" fmla="*/ 423 w 425"/>
                <a:gd name="T13" fmla="*/ 0 h 188"/>
                <a:gd name="T14" fmla="*/ 307 w 425"/>
                <a:gd name="T15" fmla="*/ 135 h 188"/>
                <a:gd name="T16" fmla="*/ 0 w 425"/>
                <a:gd name="T17" fmla="*/ 2 h 188"/>
                <a:gd name="T18" fmla="*/ 28 w 425"/>
                <a:gd name="T19" fmla="*/ 0 h 188"/>
                <a:gd name="T20" fmla="*/ 40 w 425"/>
                <a:gd name="T21" fmla="*/ 23 h 188"/>
                <a:gd name="T22" fmla="*/ 101 w 425"/>
                <a:gd name="T23" fmla="*/ 25 h 188"/>
                <a:gd name="T24" fmla="*/ 97 w 425"/>
                <a:gd name="T25" fmla="*/ 3 h 188"/>
                <a:gd name="T26" fmla="*/ 125 w 425"/>
                <a:gd name="T27" fmla="*/ 0 h 188"/>
                <a:gd name="T28" fmla="*/ 134 w 425"/>
                <a:gd name="T29" fmla="*/ 23 h 188"/>
                <a:gd name="T30" fmla="*/ 192 w 425"/>
                <a:gd name="T31" fmla="*/ 25 h 188"/>
                <a:gd name="T32" fmla="*/ 194 w 425"/>
                <a:gd name="T33" fmla="*/ 2 h 188"/>
                <a:gd name="T34" fmla="*/ 221 w 425"/>
                <a:gd name="T35" fmla="*/ 0 h 188"/>
                <a:gd name="T36" fmla="*/ 224 w 425"/>
                <a:gd name="T37" fmla="*/ 23 h 188"/>
                <a:gd name="T38" fmla="*/ 256 w 425"/>
                <a:gd name="T39" fmla="*/ 25 h 188"/>
                <a:gd name="T40" fmla="*/ 362 w 425"/>
                <a:gd name="T41" fmla="*/ 55 h 188"/>
                <a:gd name="T42" fmla="*/ 307 w 425"/>
                <a:gd name="T43" fmla="*/ 56 h 188"/>
                <a:gd name="T44" fmla="*/ 256 w 425"/>
                <a:gd name="T45" fmla="*/ 121 h 188"/>
                <a:gd name="T46" fmla="*/ 363 w 425"/>
                <a:gd name="T47" fmla="*/ 56 h 188"/>
                <a:gd name="T48" fmla="*/ 87 w 425"/>
                <a:gd name="T49" fmla="*/ 55 h 188"/>
                <a:gd name="T50" fmla="*/ 61 w 425"/>
                <a:gd name="T51" fmla="*/ 55 h 188"/>
                <a:gd name="T52" fmla="*/ 155 w 425"/>
                <a:gd name="T53" fmla="*/ 118 h 188"/>
                <a:gd name="T54" fmla="*/ 156 w 425"/>
                <a:gd name="T55" fmla="*/ 117 h 188"/>
                <a:gd name="T56" fmla="*/ 111 w 425"/>
                <a:gd name="T57" fmla="*/ 55 h 188"/>
                <a:gd name="T58" fmla="*/ 224 w 425"/>
                <a:gd name="T59" fmla="*/ 81 h 188"/>
                <a:gd name="T60" fmla="*/ 224 w 425"/>
                <a:gd name="T61" fmla="*/ 108 h 188"/>
                <a:gd name="T62" fmla="*/ 273 w 425"/>
                <a:gd name="T63" fmla="*/ 56 h 188"/>
                <a:gd name="T64" fmla="*/ 225 w 425"/>
                <a:gd name="T65" fmla="*/ 55 h 188"/>
                <a:gd name="T66" fmla="*/ 224 w 425"/>
                <a:gd name="T67" fmla="*/ 81 h 188"/>
                <a:gd name="T68" fmla="*/ 194 w 425"/>
                <a:gd name="T69" fmla="*/ 56 h 188"/>
                <a:gd name="T70" fmla="*/ 148 w 425"/>
                <a:gd name="T71" fmla="*/ 55 h 188"/>
                <a:gd name="T72" fmla="*/ 192 w 425"/>
                <a:gd name="T73" fmla="*/ 109 h 188"/>
                <a:gd name="T74" fmla="*/ 194 w 425"/>
                <a:gd name="T75" fmla="*/ 10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5" h="188">
                  <a:moveTo>
                    <a:pt x="256" y="25"/>
                  </a:moveTo>
                  <a:cubicBezTo>
                    <a:pt x="267" y="25"/>
                    <a:pt x="277" y="25"/>
                    <a:pt x="287" y="25"/>
                  </a:cubicBezTo>
                  <a:cubicBezTo>
                    <a:pt x="288" y="25"/>
                    <a:pt x="290" y="24"/>
                    <a:pt x="290" y="23"/>
                  </a:cubicBezTo>
                  <a:cubicBezTo>
                    <a:pt x="292" y="16"/>
                    <a:pt x="294" y="9"/>
                    <a:pt x="297" y="2"/>
                  </a:cubicBezTo>
                  <a:cubicBezTo>
                    <a:pt x="297" y="2"/>
                    <a:pt x="298" y="0"/>
                    <a:pt x="299" y="0"/>
                  </a:cubicBezTo>
                  <a:cubicBezTo>
                    <a:pt x="308" y="0"/>
                    <a:pt x="316" y="0"/>
                    <a:pt x="325" y="0"/>
                  </a:cubicBezTo>
                  <a:cubicBezTo>
                    <a:pt x="326" y="0"/>
                    <a:pt x="327" y="2"/>
                    <a:pt x="326" y="2"/>
                  </a:cubicBezTo>
                  <a:cubicBezTo>
                    <a:pt x="325" y="9"/>
                    <a:pt x="323" y="16"/>
                    <a:pt x="321" y="23"/>
                  </a:cubicBezTo>
                  <a:cubicBezTo>
                    <a:pt x="321" y="23"/>
                    <a:pt x="322" y="25"/>
                    <a:pt x="322" y="25"/>
                  </a:cubicBezTo>
                  <a:cubicBezTo>
                    <a:pt x="342" y="25"/>
                    <a:pt x="362" y="25"/>
                    <a:pt x="382" y="25"/>
                  </a:cubicBezTo>
                  <a:cubicBezTo>
                    <a:pt x="383" y="25"/>
                    <a:pt x="384" y="24"/>
                    <a:pt x="384" y="23"/>
                  </a:cubicBezTo>
                  <a:cubicBezTo>
                    <a:pt x="388" y="16"/>
                    <a:pt x="391" y="9"/>
                    <a:pt x="394" y="2"/>
                  </a:cubicBezTo>
                  <a:cubicBezTo>
                    <a:pt x="394" y="1"/>
                    <a:pt x="395" y="0"/>
                    <a:pt x="396" y="0"/>
                  </a:cubicBezTo>
                  <a:cubicBezTo>
                    <a:pt x="405" y="0"/>
                    <a:pt x="414" y="0"/>
                    <a:pt x="423" y="0"/>
                  </a:cubicBezTo>
                  <a:cubicBezTo>
                    <a:pt x="424" y="0"/>
                    <a:pt x="425" y="2"/>
                    <a:pt x="425" y="3"/>
                  </a:cubicBezTo>
                  <a:cubicBezTo>
                    <a:pt x="405" y="64"/>
                    <a:pt x="365" y="108"/>
                    <a:pt x="307" y="135"/>
                  </a:cubicBezTo>
                  <a:cubicBezTo>
                    <a:pt x="195" y="188"/>
                    <a:pt x="60" y="139"/>
                    <a:pt x="10" y="28"/>
                  </a:cubicBezTo>
                  <a:cubicBezTo>
                    <a:pt x="6" y="20"/>
                    <a:pt x="3" y="11"/>
                    <a:pt x="0" y="2"/>
                  </a:cubicBezTo>
                  <a:cubicBezTo>
                    <a:pt x="0" y="2"/>
                    <a:pt x="1" y="0"/>
                    <a:pt x="1" y="0"/>
                  </a:cubicBezTo>
                  <a:cubicBezTo>
                    <a:pt x="10" y="0"/>
                    <a:pt x="19" y="0"/>
                    <a:pt x="28" y="0"/>
                  </a:cubicBezTo>
                  <a:cubicBezTo>
                    <a:pt x="29" y="0"/>
                    <a:pt x="30" y="1"/>
                    <a:pt x="31" y="2"/>
                  </a:cubicBezTo>
                  <a:cubicBezTo>
                    <a:pt x="34" y="9"/>
                    <a:pt x="37" y="16"/>
                    <a:pt x="40" y="23"/>
                  </a:cubicBezTo>
                  <a:cubicBezTo>
                    <a:pt x="41" y="24"/>
                    <a:pt x="42" y="25"/>
                    <a:pt x="43" y="25"/>
                  </a:cubicBezTo>
                  <a:cubicBezTo>
                    <a:pt x="62" y="25"/>
                    <a:pt x="81" y="25"/>
                    <a:pt x="101" y="25"/>
                  </a:cubicBezTo>
                  <a:cubicBezTo>
                    <a:pt x="101" y="25"/>
                    <a:pt x="102" y="23"/>
                    <a:pt x="102" y="23"/>
                  </a:cubicBezTo>
                  <a:cubicBezTo>
                    <a:pt x="101" y="16"/>
                    <a:pt x="99" y="9"/>
                    <a:pt x="97" y="3"/>
                  </a:cubicBezTo>
                  <a:cubicBezTo>
                    <a:pt x="97" y="2"/>
                    <a:pt x="98" y="0"/>
                    <a:pt x="99" y="0"/>
                  </a:cubicBezTo>
                  <a:cubicBezTo>
                    <a:pt x="108" y="0"/>
                    <a:pt x="116" y="0"/>
                    <a:pt x="125" y="0"/>
                  </a:cubicBezTo>
                  <a:cubicBezTo>
                    <a:pt x="126" y="0"/>
                    <a:pt x="127" y="1"/>
                    <a:pt x="127" y="2"/>
                  </a:cubicBezTo>
                  <a:cubicBezTo>
                    <a:pt x="130" y="9"/>
                    <a:pt x="131" y="16"/>
                    <a:pt x="134" y="23"/>
                  </a:cubicBezTo>
                  <a:cubicBezTo>
                    <a:pt x="134" y="24"/>
                    <a:pt x="135" y="25"/>
                    <a:pt x="136" y="25"/>
                  </a:cubicBezTo>
                  <a:cubicBezTo>
                    <a:pt x="155" y="25"/>
                    <a:pt x="173" y="25"/>
                    <a:pt x="192" y="25"/>
                  </a:cubicBezTo>
                  <a:cubicBezTo>
                    <a:pt x="193" y="25"/>
                    <a:pt x="194" y="24"/>
                    <a:pt x="194" y="23"/>
                  </a:cubicBezTo>
                  <a:cubicBezTo>
                    <a:pt x="194" y="16"/>
                    <a:pt x="194" y="9"/>
                    <a:pt x="194" y="2"/>
                  </a:cubicBezTo>
                  <a:cubicBezTo>
                    <a:pt x="194" y="2"/>
                    <a:pt x="195" y="0"/>
                    <a:pt x="196" y="0"/>
                  </a:cubicBezTo>
                  <a:cubicBezTo>
                    <a:pt x="205" y="0"/>
                    <a:pt x="213" y="0"/>
                    <a:pt x="221" y="0"/>
                  </a:cubicBezTo>
                  <a:cubicBezTo>
                    <a:pt x="222" y="0"/>
                    <a:pt x="223" y="2"/>
                    <a:pt x="223" y="3"/>
                  </a:cubicBezTo>
                  <a:cubicBezTo>
                    <a:pt x="224" y="9"/>
                    <a:pt x="223" y="16"/>
                    <a:pt x="224" y="23"/>
                  </a:cubicBezTo>
                  <a:cubicBezTo>
                    <a:pt x="224" y="23"/>
                    <a:pt x="225" y="25"/>
                    <a:pt x="226" y="25"/>
                  </a:cubicBezTo>
                  <a:cubicBezTo>
                    <a:pt x="236" y="25"/>
                    <a:pt x="246" y="25"/>
                    <a:pt x="256" y="25"/>
                  </a:cubicBezTo>
                  <a:close/>
                  <a:moveTo>
                    <a:pt x="364" y="55"/>
                  </a:moveTo>
                  <a:cubicBezTo>
                    <a:pt x="363" y="55"/>
                    <a:pt x="363" y="55"/>
                    <a:pt x="362" y="55"/>
                  </a:cubicBezTo>
                  <a:cubicBezTo>
                    <a:pt x="345" y="55"/>
                    <a:pt x="328" y="54"/>
                    <a:pt x="311" y="55"/>
                  </a:cubicBezTo>
                  <a:cubicBezTo>
                    <a:pt x="310" y="55"/>
                    <a:pt x="308" y="56"/>
                    <a:pt x="307" y="56"/>
                  </a:cubicBezTo>
                  <a:cubicBezTo>
                    <a:pt x="295" y="81"/>
                    <a:pt x="279" y="103"/>
                    <a:pt x="257" y="120"/>
                  </a:cubicBezTo>
                  <a:cubicBezTo>
                    <a:pt x="257" y="121"/>
                    <a:pt x="257" y="121"/>
                    <a:pt x="256" y="121"/>
                  </a:cubicBezTo>
                  <a:cubicBezTo>
                    <a:pt x="257" y="122"/>
                    <a:pt x="257" y="122"/>
                    <a:pt x="258" y="122"/>
                  </a:cubicBezTo>
                  <a:cubicBezTo>
                    <a:pt x="300" y="111"/>
                    <a:pt x="335" y="90"/>
                    <a:pt x="363" y="56"/>
                  </a:cubicBezTo>
                  <a:cubicBezTo>
                    <a:pt x="363" y="56"/>
                    <a:pt x="364" y="55"/>
                    <a:pt x="364" y="55"/>
                  </a:cubicBezTo>
                  <a:close/>
                  <a:moveTo>
                    <a:pt x="87" y="55"/>
                  </a:moveTo>
                  <a:cubicBezTo>
                    <a:pt x="79" y="55"/>
                    <a:pt x="71" y="54"/>
                    <a:pt x="62" y="55"/>
                  </a:cubicBezTo>
                  <a:cubicBezTo>
                    <a:pt x="62" y="55"/>
                    <a:pt x="61" y="55"/>
                    <a:pt x="61" y="55"/>
                  </a:cubicBezTo>
                  <a:cubicBezTo>
                    <a:pt x="61" y="55"/>
                    <a:pt x="61" y="56"/>
                    <a:pt x="62" y="56"/>
                  </a:cubicBezTo>
                  <a:cubicBezTo>
                    <a:pt x="86" y="86"/>
                    <a:pt x="118" y="107"/>
                    <a:pt x="155" y="118"/>
                  </a:cubicBezTo>
                  <a:cubicBezTo>
                    <a:pt x="156" y="118"/>
                    <a:pt x="156" y="118"/>
                    <a:pt x="156" y="118"/>
                  </a:cubicBezTo>
                  <a:cubicBezTo>
                    <a:pt x="156" y="118"/>
                    <a:pt x="156" y="118"/>
                    <a:pt x="156" y="117"/>
                  </a:cubicBezTo>
                  <a:cubicBezTo>
                    <a:pt x="137" y="100"/>
                    <a:pt x="124" y="79"/>
                    <a:pt x="114" y="56"/>
                  </a:cubicBezTo>
                  <a:cubicBezTo>
                    <a:pt x="114" y="55"/>
                    <a:pt x="112" y="55"/>
                    <a:pt x="111" y="55"/>
                  </a:cubicBezTo>
                  <a:cubicBezTo>
                    <a:pt x="103" y="54"/>
                    <a:pt x="95" y="55"/>
                    <a:pt x="87" y="55"/>
                  </a:cubicBezTo>
                  <a:close/>
                  <a:moveTo>
                    <a:pt x="224" y="81"/>
                  </a:moveTo>
                  <a:cubicBezTo>
                    <a:pt x="224" y="89"/>
                    <a:pt x="224" y="98"/>
                    <a:pt x="224" y="106"/>
                  </a:cubicBezTo>
                  <a:cubicBezTo>
                    <a:pt x="224" y="107"/>
                    <a:pt x="224" y="107"/>
                    <a:pt x="224" y="108"/>
                  </a:cubicBezTo>
                  <a:cubicBezTo>
                    <a:pt x="224" y="108"/>
                    <a:pt x="225" y="107"/>
                    <a:pt x="226" y="107"/>
                  </a:cubicBezTo>
                  <a:cubicBezTo>
                    <a:pt x="246" y="94"/>
                    <a:pt x="261" y="76"/>
                    <a:pt x="273" y="56"/>
                  </a:cubicBezTo>
                  <a:cubicBezTo>
                    <a:pt x="274" y="56"/>
                    <a:pt x="273" y="55"/>
                    <a:pt x="272" y="55"/>
                  </a:cubicBezTo>
                  <a:cubicBezTo>
                    <a:pt x="257" y="54"/>
                    <a:pt x="241" y="54"/>
                    <a:pt x="225" y="55"/>
                  </a:cubicBezTo>
                  <a:cubicBezTo>
                    <a:pt x="225" y="55"/>
                    <a:pt x="224" y="56"/>
                    <a:pt x="224" y="56"/>
                  </a:cubicBezTo>
                  <a:cubicBezTo>
                    <a:pt x="224" y="65"/>
                    <a:pt x="224" y="73"/>
                    <a:pt x="224" y="81"/>
                  </a:cubicBezTo>
                  <a:close/>
                  <a:moveTo>
                    <a:pt x="194" y="82"/>
                  </a:moveTo>
                  <a:cubicBezTo>
                    <a:pt x="194" y="73"/>
                    <a:pt x="194" y="65"/>
                    <a:pt x="194" y="56"/>
                  </a:cubicBezTo>
                  <a:cubicBezTo>
                    <a:pt x="194" y="56"/>
                    <a:pt x="193" y="55"/>
                    <a:pt x="192" y="55"/>
                  </a:cubicBezTo>
                  <a:cubicBezTo>
                    <a:pt x="178" y="54"/>
                    <a:pt x="163" y="54"/>
                    <a:pt x="148" y="55"/>
                  </a:cubicBezTo>
                  <a:cubicBezTo>
                    <a:pt x="148" y="55"/>
                    <a:pt x="147" y="56"/>
                    <a:pt x="147" y="56"/>
                  </a:cubicBezTo>
                  <a:cubicBezTo>
                    <a:pt x="158" y="77"/>
                    <a:pt x="172" y="95"/>
                    <a:pt x="192" y="109"/>
                  </a:cubicBezTo>
                  <a:cubicBezTo>
                    <a:pt x="193" y="109"/>
                    <a:pt x="193" y="109"/>
                    <a:pt x="194" y="109"/>
                  </a:cubicBezTo>
                  <a:cubicBezTo>
                    <a:pt x="194" y="109"/>
                    <a:pt x="194" y="108"/>
                    <a:pt x="194" y="108"/>
                  </a:cubicBezTo>
                  <a:cubicBezTo>
                    <a:pt x="194" y="99"/>
                    <a:pt x="194" y="91"/>
                    <a:pt x="194" y="8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42" name="Freeform 7">
              <a:extLst>
                <a:ext uri="{FF2B5EF4-FFF2-40B4-BE49-F238E27FC236}">
                  <a16:creationId xmlns:a16="http://schemas.microsoft.com/office/drawing/2014/main" id="{38A2A830-AF34-4C5B-87EB-D628018EE322}"/>
                </a:ext>
              </a:extLst>
            </p:cNvPr>
            <p:cNvSpPr>
              <a:spLocks noEditPoints="1"/>
            </p:cNvSpPr>
            <p:nvPr/>
          </p:nvSpPr>
          <p:spPr bwMode="gray">
            <a:xfrm>
              <a:off x="4945063" y="-41275"/>
              <a:ext cx="2108200" cy="860425"/>
            </a:xfrm>
            <a:custGeom>
              <a:avLst/>
              <a:gdLst>
                <a:gd name="T0" fmla="*/ 45 w 424"/>
                <a:gd name="T1" fmla="*/ 148 h 173"/>
                <a:gd name="T2" fmla="*/ 32 w 424"/>
                <a:gd name="T3" fmla="*/ 170 h 173"/>
                <a:gd name="T4" fmla="*/ 3 w 424"/>
                <a:gd name="T5" fmla="*/ 173 h 173"/>
                <a:gd name="T6" fmla="*/ 155 w 424"/>
                <a:gd name="T7" fmla="*/ 28 h 173"/>
                <a:gd name="T8" fmla="*/ 424 w 424"/>
                <a:gd name="T9" fmla="*/ 171 h 173"/>
                <a:gd name="T10" fmla="*/ 395 w 424"/>
                <a:gd name="T11" fmla="*/ 173 h 173"/>
                <a:gd name="T12" fmla="*/ 382 w 424"/>
                <a:gd name="T13" fmla="*/ 149 h 173"/>
                <a:gd name="T14" fmla="*/ 321 w 424"/>
                <a:gd name="T15" fmla="*/ 148 h 173"/>
                <a:gd name="T16" fmla="*/ 325 w 424"/>
                <a:gd name="T17" fmla="*/ 171 h 173"/>
                <a:gd name="T18" fmla="*/ 297 w 424"/>
                <a:gd name="T19" fmla="*/ 173 h 173"/>
                <a:gd name="T20" fmla="*/ 287 w 424"/>
                <a:gd name="T21" fmla="*/ 149 h 173"/>
                <a:gd name="T22" fmla="*/ 225 w 424"/>
                <a:gd name="T23" fmla="*/ 148 h 173"/>
                <a:gd name="T24" fmla="*/ 223 w 424"/>
                <a:gd name="T25" fmla="*/ 170 h 173"/>
                <a:gd name="T26" fmla="*/ 196 w 424"/>
                <a:gd name="T27" fmla="*/ 173 h 173"/>
                <a:gd name="T28" fmla="*/ 194 w 424"/>
                <a:gd name="T29" fmla="*/ 150 h 173"/>
                <a:gd name="T30" fmla="*/ 137 w 424"/>
                <a:gd name="T31" fmla="*/ 148 h 173"/>
                <a:gd name="T32" fmla="*/ 128 w 424"/>
                <a:gd name="T33" fmla="*/ 171 h 173"/>
                <a:gd name="T34" fmla="*/ 99 w 424"/>
                <a:gd name="T35" fmla="*/ 173 h 173"/>
                <a:gd name="T36" fmla="*/ 103 w 424"/>
                <a:gd name="T37" fmla="*/ 150 h 173"/>
                <a:gd name="T38" fmla="*/ 73 w 424"/>
                <a:gd name="T39" fmla="*/ 148 h 173"/>
                <a:gd name="T40" fmla="*/ 359 w 424"/>
                <a:gd name="T41" fmla="*/ 118 h 173"/>
                <a:gd name="T42" fmla="*/ 360 w 424"/>
                <a:gd name="T43" fmla="*/ 116 h 173"/>
                <a:gd name="T44" fmla="*/ 258 w 424"/>
                <a:gd name="T45" fmla="*/ 56 h 173"/>
                <a:gd name="T46" fmla="*/ 305 w 424"/>
                <a:gd name="T47" fmla="*/ 116 h 173"/>
                <a:gd name="T48" fmla="*/ 333 w 424"/>
                <a:gd name="T49" fmla="*/ 118 h 173"/>
                <a:gd name="T50" fmla="*/ 113 w 424"/>
                <a:gd name="T51" fmla="*/ 118 h 173"/>
                <a:gd name="T52" fmla="*/ 157 w 424"/>
                <a:gd name="T53" fmla="*/ 59 h 173"/>
                <a:gd name="T54" fmla="*/ 157 w 424"/>
                <a:gd name="T55" fmla="*/ 58 h 173"/>
                <a:gd name="T56" fmla="*/ 64 w 424"/>
                <a:gd name="T57" fmla="*/ 118 h 173"/>
                <a:gd name="T58" fmla="*/ 90 w 424"/>
                <a:gd name="T59" fmla="*/ 118 h 173"/>
                <a:gd name="T60" fmla="*/ 269 w 424"/>
                <a:gd name="T61" fmla="*/ 118 h 173"/>
                <a:gd name="T62" fmla="*/ 225 w 424"/>
                <a:gd name="T63" fmla="*/ 68 h 173"/>
                <a:gd name="T64" fmla="*/ 224 w 424"/>
                <a:gd name="T65" fmla="*/ 69 h 173"/>
                <a:gd name="T66" fmla="*/ 225 w 424"/>
                <a:gd name="T67" fmla="*/ 118 h 173"/>
                <a:gd name="T68" fmla="*/ 194 w 424"/>
                <a:gd name="T69" fmla="*/ 93 h 173"/>
                <a:gd name="T70" fmla="*/ 194 w 424"/>
                <a:gd name="T71" fmla="*/ 68 h 173"/>
                <a:gd name="T72" fmla="*/ 150 w 424"/>
                <a:gd name="T73" fmla="*/ 116 h 173"/>
                <a:gd name="T74" fmla="*/ 192 w 424"/>
                <a:gd name="T75" fmla="*/ 118 h 173"/>
                <a:gd name="T76" fmla="*/ 194 w 424"/>
                <a:gd name="T77" fmla="*/ 9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4" h="173">
                  <a:moveTo>
                    <a:pt x="73" y="148"/>
                  </a:moveTo>
                  <a:cubicBezTo>
                    <a:pt x="64" y="148"/>
                    <a:pt x="55" y="148"/>
                    <a:pt x="45" y="148"/>
                  </a:cubicBezTo>
                  <a:cubicBezTo>
                    <a:pt x="44" y="148"/>
                    <a:pt x="43" y="149"/>
                    <a:pt x="42" y="149"/>
                  </a:cubicBezTo>
                  <a:cubicBezTo>
                    <a:pt x="39" y="156"/>
                    <a:pt x="36" y="164"/>
                    <a:pt x="32" y="170"/>
                  </a:cubicBezTo>
                  <a:cubicBezTo>
                    <a:pt x="32" y="171"/>
                    <a:pt x="30" y="173"/>
                    <a:pt x="29" y="173"/>
                  </a:cubicBezTo>
                  <a:cubicBezTo>
                    <a:pt x="21" y="173"/>
                    <a:pt x="12" y="173"/>
                    <a:pt x="3" y="173"/>
                  </a:cubicBezTo>
                  <a:cubicBezTo>
                    <a:pt x="1" y="173"/>
                    <a:pt x="0" y="172"/>
                    <a:pt x="1" y="170"/>
                  </a:cubicBezTo>
                  <a:cubicBezTo>
                    <a:pt x="28" y="96"/>
                    <a:pt x="80" y="48"/>
                    <a:pt x="155" y="28"/>
                  </a:cubicBezTo>
                  <a:cubicBezTo>
                    <a:pt x="258" y="0"/>
                    <a:pt x="366" y="50"/>
                    <a:pt x="413" y="144"/>
                  </a:cubicBezTo>
                  <a:cubicBezTo>
                    <a:pt x="417" y="153"/>
                    <a:pt x="420" y="162"/>
                    <a:pt x="424" y="171"/>
                  </a:cubicBezTo>
                  <a:cubicBezTo>
                    <a:pt x="424" y="171"/>
                    <a:pt x="423" y="173"/>
                    <a:pt x="422" y="173"/>
                  </a:cubicBezTo>
                  <a:cubicBezTo>
                    <a:pt x="413" y="173"/>
                    <a:pt x="404" y="173"/>
                    <a:pt x="395" y="173"/>
                  </a:cubicBezTo>
                  <a:cubicBezTo>
                    <a:pt x="394" y="173"/>
                    <a:pt x="393" y="172"/>
                    <a:pt x="392" y="171"/>
                  </a:cubicBezTo>
                  <a:cubicBezTo>
                    <a:pt x="389" y="164"/>
                    <a:pt x="386" y="156"/>
                    <a:pt x="382" y="149"/>
                  </a:cubicBezTo>
                  <a:cubicBezTo>
                    <a:pt x="382" y="148"/>
                    <a:pt x="381" y="148"/>
                    <a:pt x="380" y="148"/>
                  </a:cubicBezTo>
                  <a:cubicBezTo>
                    <a:pt x="360" y="148"/>
                    <a:pt x="340" y="148"/>
                    <a:pt x="321" y="148"/>
                  </a:cubicBezTo>
                  <a:cubicBezTo>
                    <a:pt x="320" y="148"/>
                    <a:pt x="319" y="149"/>
                    <a:pt x="319" y="150"/>
                  </a:cubicBezTo>
                  <a:cubicBezTo>
                    <a:pt x="321" y="157"/>
                    <a:pt x="323" y="164"/>
                    <a:pt x="325" y="171"/>
                  </a:cubicBezTo>
                  <a:cubicBezTo>
                    <a:pt x="325" y="171"/>
                    <a:pt x="325" y="173"/>
                    <a:pt x="324" y="173"/>
                  </a:cubicBezTo>
                  <a:cubicBezTo>
                    <a:pt x="315" y="173"/>
                    <a:pt x="306" y="173"/>
                    <a:pt x="297" y="173"/>
                  </a:cubicBezTo>
                  <a:cubicBezTo>
                    <a:pt x="296" y="173"/>
                    <a:pt x="295" y="172"/>
                    <a:pt x="295" y="171"/>
                  </a:cubicBezTo>
                  <a:cubicBezTo>
                    <a:pt x="292" y="164"/>
                    <a:pt x="290" y="156"/>
                    <a:pt x="287" y="149"/>
                  </a:cubicBezTo>
                  <a:cubicBezTo>
                    <a:pt x="287" y="148"/>
                    <a:pt x="286" y="148"/>
                    <a:pt x="285" y="148"/>
                  </a:cubicBezTo>
                  <a:cubicBezTo>
                    <a:pt x="265" y="148"/>
                    <a:pt x="245" y="148"/>
                    <a:pt x="225" y="148"/>
                  </a:cubicBezTo>
                  <a:cubicBezTo>
                    <a:pt x="225" y="148"/>
                    <a:pt x="224" y="149"/>
                    <a:pt x="224" y="150"/>
                  </a:cubicBezTo>
                  <a:cubicBezTo>
                    <a:pt x="223" y="156"/>
                    <a:pt x="224" y="163"/>
                    <a:pt x="223" y="170"/>
                  </a:cubicBezTo>
                  <a:cubicBezTo>
                    <a:pt x="223" y="171"/>
                    <a:pt x="222" y="173"/>
                    <a:pt x="221" y="173"/>
                  </a:cubicBezTo>
                  <a:cubicBezTo>
                    <a:pt x="213" y="173"/>
                    <a:pt x="205" y="173"/>
                    <a:pt x="196" y="173"/>
                  </a:cubicBezTo>
                  <a:cubicBezTo>
                    <a:pt x="195" y="173"/>
                    <a:pt x="194" y="171"/>
                    <a:pt x="194" y="170"/>
                  </a:cubicBezTo>
                  <a:cubicBezTo>
                    <a:pt x="194" y="164"/>
                    <a:pt x="194" y="157"/>
                    <a:pt x="194" y="150"/>
                  </a:cubicBezTo>
                  <a:cubicBezTo>
                    <a:pt x="194" y="149"/>
                    <a:pt x="193" y="148"/>
                    <a:pt x="192" y="148"/>
                  </a:cubicBezTo>
                  <a:cubicBezTo>
                    <a:pt x="174" y="148"/>
                    <a:pt x="156" y="148"/>
                    <a:pt x="137" y="148"/>
                  </a:cubicBezTo>
                  <a:cubicBezTo>
                    <a:pt x="137" y="148"/>
                    <a:pt x="135" y="149"/>
                    <a:pt x="135" y="149"/>
                  </a:cubicBezTo>
                  <a:cubicBezTo>
                    <a:pt x="133" y="156"/>
                    <a:pt x="131" y="164"/>
                    <a:pt x="128" y="171"/>
                  </a:cubicBezTo>
                  <a:cubicBezTo>
                    <a:pt x="128" y="172"/>
                    <a:pt x="127" y="173"/>
                    <a:pt x="126" y="173"/>
                  </a:cubicBezTo>
                  <a:cubicBezTo>
                    <a:pt x="117" y="173"/>
                    <a:pt x="108" y="173"/>
                    <a:pt x="99" y="173"/>
                  </a:cubicBezTo>
                  <a:cubicBezTo>
                    <a:pt x="99" y="173"/>
                    <a:pt x="98" y="171"/>
                    <a:pt x="98" y="171"/>
                  </a:cubicBezTo>
                  <a:cubicBezTo>
                    <a:pt x="100" y="164"/>
                    <a:pt x="101" y="157"/>
                    <a:pt x="103" y="150"/>
                  </a:cubicBezTo>
                  <a:cubicBezTo>
                    <a:pt x="103" y="149"/>
                    <a:pt x="102" y="148"/>
                    <a:pt x="102" y="148"/>
                  </a:cubicBezTo>
                  <a:cubicBezTo>
                    <a:pt x="92" y="148"/>
                    <a:pt x="83" y="148"/>
                    <a:pt x="73" y="148"/>
                  </a:cubicBezTo>
                  <a:close/>
                  <a:moveTo>
                    <a:pt x="333" y="118"/>
                  </a:moveTo>
                  <a:cubicBezTo>
                    <a:pt x="342" y="118"/>
                    <a:pt x="350" y="118"/>
                    <a:pt x="359" y="118"/>
                  </a:cubicBezTo>
                  <a:cubicBezTo>
                    <a:pt x="359" y="118"/>
                    <a:pt x="360" y="118"/>
                    <a:pt x="360" y="118"/>
                  </a:cubicBezTo>
                  <a:cubicBezTo>
                    <a:pt x="360" y="117"/>
                    <a:pt x="360" y="117"/>
                    <a:pt x="360" y="116"/>
                  </a:cubicBezTo>
                  <a:cubicBezTo>
                    <a:pt x="332" y="86"/>
                    <a:pt x="299" y="66"/>
                    <a:pt x="259" y="56"/>
                  </a:cubicBezTo>
                  <a:cubicBezTo>
                    <a:pt x="259" y="56"/>
                    <a:pt x="258" y="56"/>
                    <a:pt x="258" y="56"/>
                  </a:cubicBezTo>
                  <a:cubicBezTo>
                    <a:pt x="258" y="56"/>
                    <a:pt x="258" y="57"/>
                    <a:pt x="259" y="57"/>
                  </a:cubicBezTo>
                  <a:cubicBezTo>
                    <a:pt x="278" y="74"/>
                    <a:pt x="293" y="94"/>
                    <a:pt x="305" y="116"/>
                  </a:cubicBezTo>
                  <a:cubicBezTo>
                    <a:pt x="305" y="117"/>
                    <a:pt x="307" y="118"/>
                    <a:pt x="308" y="118"/>
                  </a:cubicBezTo>
                  <a:cubicBezTo>
                    <a:pt x="316" y="118"/>
                    <a:pt x="325" y="118"/>
                    <a:pt x="333" y="118"/>
                  </a:cubicBezTo>
                  <a:close/>
                  <a:moveTo>
                    <a:pt x="90" y="118"/>
                  </a:moveTo>
                  <a:cubicBezTo>
                    <a:pt x="98" y="118"/>
                    <a:pt x="106" y="118"/>
                    <a:pt x="113" y="118"/>
                  </a:cubicBezTo>
                  <a:cubicBezTo>
                    <a:pt x="114" y="118"/>
                    <a:pt x="116" y="117"/>
                    <a:pt x="116" y="116"/>
                  </a:cubicBezTo>
                  <a:cubicBezTo>
                    <a:pt x="127" y="95"/>
                    <a:pt x="140" y="76"/>
                    <a:pt x="157" y="59"/>
                  </a:cubicBezTo>
                  <a:cubicBezTo>
                    <a:pt x="158" y="59"/>
                    <a:pt x="158" y="58"/>
                    <a:pt x="158" y="58"/>
                  </a:cubicBezTo>
                  <a:cubicBezTo>
                    <a:pt x="158" y="58"/>
                    <a:pt x="157" y="58"/>
                    <a:pt x="157" y="58"/>
                  </a:cubicBezTo>
                  <a:cubicBezTo>
                    <a:pt x="121" y="69"/>
                    <a:pt x="90" y="88"/>
                    <a:pt x="65" y="116"/>
                  </a:cubicBezTo>
                  <a:cubicBezTo>
                    <a:pt x="65" y="117"/>
                    <a:pt x="65" y="117"/>
                    <a:pt x="64" y="118"/>
                  </a:cubicBezTo>
                  <a:cubicBezTo>
                    <a:pt x="65" y="118"/>
                    <a:pt x="65" y="118"/>
                    <a:pt x="66" y="118"/>
                  </a:cubicBezTo>
                  <a:cubicBezTo>
                    <a:pt x="74" y="118"/>
                    <a:pt x="82" y="118"/>
                    <a:pt x="90" y="118"/>
                  </a:cubicBezTo>
                  <a:close/>
                  <a:moveTo>
                    <a:pt x="247" y="118"/>
                  </a:moveTo>
                  <a:cubicBezTo>
                    <a:pt x="255" y="118"/>
                    <a:pt x="262" y="118"/>
                    <a:pt x="269" y="118"/>
                  </a:cubicBezTo>
                  <a:cubicBezTo>
                    <a:pt x="270" y="118"/>
                    <a:pt x="270" y="117"/>
                    <a:pt x="270" y="116"/>
                  </a:cubicBezTo>
                  <a:cubicBezTo>
                    <a:pt x="258" y="98"/>
                    <a:pt x="244" y="81"/>
                    <a:pt x="225" y="68"/>
                  </a:cubicBezTo>
                  <a:cubicBezTo>
                    <a:pt x="225" y="68"/>
                    <a:pt x="224" y="68"/>
                    <a:pt x="224" y="67"/>
                  </a:cubicBezTo>
                  <a:cubicBezTo>
                    <a:pt x="224" y="68"/>
                    <a:pt x="224" y="69"/>
                    <a:pt x="224" y="69"/>
                  </a:cubicBezTo>
                  <a:cubicBezTo>
                    <a:pt x="224" y="85"/>
                    <a:pt x="224" y="100"/>
                    <a:pt x="224" y="116"/>
                  </a:cubicBezTo>
                  <a:cubicBezTo>
                    <a:pt x="224" y="117"/>
                    <a:pt x="225" y="118"/>
                    <a:pt x="225" y="118"/>
                  </a:cubicBezTo>
                  <a:cubicBezTo>
                    <a:pt x="233" y="118"/>
                    <a:pt x="240" y="118"/>
                    <a:pt x="247" y="118"/>
                  </a:cubicBezTo>
                  <a:close/>
                  <a:moveTo>
                    <a:pt x="194" y="93"/>
                  </a:moveTo>
                  <a:cubicBezTo>
                    <a:pt x="194" y="85"/>
                    <a:pt x="194" y="78"/>
                    <a:pt x="194" y="70"/>
                  </a:cubicBezTo>
                  <a:cubicBezTo>
                    <a:pt x="194" y="69"/>
                    <a:pt x="194" y="68"/>
                    <a:pt x="194" y="68"/>
                  </a:cubicBezTo>
                  <a:cubicBezTo>
                    <a:pt x="193" y="68"/>
                    <a:pt x="192" y="68"/>
                    <a:pt x="192" y="69"/>
                  </a:cubicBezTo>
                  <a:cubicBezTo>
                    <a:pt x="175" y="82"/>
                    <a:pt x="161" y="98"/>
                    <a:pt x="150" y="116"/>
                  </a:cubicBezTo>
                  <a:cubicBezTo>
                    <a:pt x="150" y="117"/>
                    <a:pt x="151" y="118"/>
                    <a:pt x="151" y="118"/>
                  </a:cubicBezTo>
                  <a:cubicBezTo>
                    <a:pt x="165" y="118"/>
                    <a:pt x="179" y="118"/>
                    <a:pt x="192" y="118"/>
                  </a:cubicBezTo>
                  <a:cubicBezTo>
                    <a:pt x="193" y="118"/>
                    <a:pt x="194" y="117"/>
                    <a:pt x="194" y="116"/>
                  </a:cubicBezTo>
                  <a:cubicBezTo>
                    <a:pt x="194" y="108"/>
                    <a:pt x="194" y="101"/>
                    <a:pt x="194" y="9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43" name="Freeform 8">
              <a:extLst>
                <a:ext uri="{FF2B5EF4-FFF2-40B4-BE49-F238E27FC236}">
                  <a16:creationId xmlns:a16="http://schemas.microsoft.com/office/drawing/2014/main" id="{EF5B3A25-E6A5-43A3-AFD2-A4D64B803FEB}"/>
                </a:ext>
              </a:extLst>
            </p:cNvPr>
            <p:cNvSpPr>
              <a:spLocks/>
            </p:cNvSpPr>
            <p:nvPr/>
          </p:nvSpPr>
          <p:spPr bwMode="gray">
            <a:xfrm>
              <a:off x="4933951" y="952500"/>
              <a:ext cx="617538" cy="363538"/>
            </a:xfrm>
            <a:custGeom>
              <a:avLst/>
              <a:gdLst>
                <a:gd name="T0" fmla="*/ 90 w 124"/>
                <a:gd name="T1" fmla="*/ 72 h 73"/>
                <a:gd name="T2" fmla="*/ 77 w 124"/>
                <a:gd name="T3" fmla="*/ 63 h 73"/>
                <a:gd name="T4" fmla="*/ 63 w 124"/>
                <a:gd name="T5" fmla="*/ 23 h 73"/>
                <a:gd name="T6" fmla="*/ 62 w 124"/>
                <a:gd name="T7" fmla="*/ 21 h 73"/>
                <a:gd name="T8" fmla="*/ 61 w 124"/>
                <a:gd name="T9" fmla="*/ 23 h 73"/>
                <a:gd name="T10" fmla="*/ 46 w 124"/>
                <a:gd name="T11" fmla="*/ 64 h 73"/>
                <a:gd name="T12" fmla="*/ 32 w 124"/>
                <a:gd name="T13" fmla="*/ 73 h 73"/>
                <a:gd name="T14" fmla="*/ 19 w 124"/>
                <a:gd name="T15" fmla="*/ 63 h 73"/>
                <a:gd name="T16" fmla="*/ 2 w 124"/>
                <a:gd name="T17" fmla="*/ 14 h 73"/>
                <a:gd name="T18" fmla="*/ 6 w 124"/>
                <a:gd name="T19" fmla="*/ 2 h 73"/>
                <a:gd name="T20" fmla="*/ 21 w 124"/>
                <a:gd name="T21" fmla="*/ 7 h 73"/>
                <a:gd name="T22" fmla="*/ 31 w 124"/>
                <a:gd name="T23" fmla="*/ 41 h 73"/>
                <a:gd name="T24" fmla="*/ 34 w 124"/>
                <a:gd name="T25" fmla="*/ 49 h 73"/>
                <a:gd name="T26" fmla="*/ 37 w 124"/>
                <a:gd name="T27" fmla="*/ 42 h 73"/>
                <a:gd name="T28" fmla="*/ 47 w 124"/>
                <a:gd name="T29" fmla="*/ 11 h 73"/>
                <a:gd name="T30" fmla="*/ 62 w 124"/>
                <a:gd name="T31" fmla="*/ 1 h 73"/>
                <a:gd name="T32" fmla="*/ 76 w 124"/>
                <a:gd name="T33" fmla="*/ 11 h 73"/>
                <a:gd name="T34" fmla="*/ 89 w 124"/>
                <a:gd name="T35" fmla="*/ 47 h 73"/>
                <a:gd name="T36" fmla="*/ 90 w 124"/>
                <a:gd name="T37" fmla="*/ 49 h 73"/>
                <a:gd name="T38" fmla="*/ 90 w 124"/>
                <a:gd name="T39" fmla="*/ 47 h 73"/>
                <a:gd name="T40" fmla="*/ 101 w 124"/>
                <a:gd name="T41" fmla="*/ 10 h 73"/>
                <a:gd name="T42" fmla="*/ 113 w 124"/>
                <a:gd name="T43" fmla="*/ 1 h 73"/>
                <a:gd name="T44" fmla="*/ 121 w 124"/>
                <a:gd name="T45" fmla="*/ 13 h 73"/>
                <a:gd name="T46" fmla="*/ 104 w 124"/>
                <a:gd name="T47" fmla="*/ 63 h 73"/>
                <a:gd name="T48" fmla="*/ 90 w 124"/>
                <a:gd name="T49"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73">
                  <a:moveTo>
                    <a:pt x="90" y="72"/>
                  </a:moveTo>
                  <a:cubicBezTo>
                    <a:pt x="84" y="73"/>
                    <a:pt x="79" y="70"/>
                    <a:pt x="77" y="63"/>
                  </a:cubicBezTo>
                  <a:cubicBezTo>
                    <a:pt x="72" y="50"/>
                    <a:pt x="67" y="37"/>
                    <a:pt x="63" y="23"/>
                  </a:cubicBezTo>
                  <a:cubicBezTo>
                    <a:pt x="62" y="22"/>
                    <a:pt x="62" y="22"/>
                    <a:pt x="62" y="21"/>
                  </a:cubicBezTo>
                  <a:cubicBezTo>
                    <a:pt x="61" y="22"/>
                    <a:pt x="61" y="22"/>
                    <a:pt x="61" y="23"/>
                  </a:cubicBezTo>
                  <a:cubicBezTo>
                    <a:pt x="56" y="37"/>
                    <a:pt x="51" y="50"/>
                    <a:pt x="46" y="64"/>
                  </a:cubicBezTo>
                  <a:cubicBezTo>
                    <a:pt x="44" y="70"/>
                    <a:pt x="40" y="73"/>
                    <a:pt x="32" y="73"/>
                  </a:cubicBezTo>
                  <a:cubicBezTo>
                    <a:pt x="25" y="72"/>
                    <a:pt x="21" y="69"/>
                    <a:pt x="19" y="63"/>
                  </a:cubicBezTo>
                  <a:cubicBezTo>
                    <a:pt x="13" y="47"/>
                    <a:pt x="8" y="30"/>
                    <a:pt x="2" y="14"/>
                  </a:cubicBezTo>
                  <a:cubicBezTo>
                    <a:pt x="0" y="8"/>
                    <a:pt x="1" y="4"/>
                    <a:pt x="6" y="2"/>
                  </a:cubicBezTo>
                  <a:cubicBezTo>
                    <a:pt x="12" y="0"/>
                    <a:pt x="19" y="2"/>
                    <a:pt x="21" y="7"/>
                  </a:cubicBezTo>
                  <a:cubicBezTo>
                    <a:pt x="25" y="18"/>
                    <a:pt x="28" y="30"/>
                    <a:pt x="31" y="41"/>
                  </a:cubicBezTo>
                  <a:cubicBezTo>
                    <a:pt x="32" y="44"/>
                    <a:pt x="33" y="47"/>
                    <a:pt x="34" y="49"/>
                  </a:cubicBezTo>
                  <a:cubicBezTo>
                    <a:pt x="35" y="47"/>
                    <a:pt x="36" y="44"/>
                    <a:pt x="37" y="42"/>
                  </a:cubicBezTo>
                  <a:cubicBezTo>
                    <a:pt x="40" y="31"/>
                    <a:pt x="44" y="21"/>
                    <a:pt x="47" y="11"/>
                  </a:cubicBezTo>
                  <a:cubicBezTo>
                    <a:pt x="50" y="4"/>
                    <a:pt x="54" y="1"/>
                    <a:pt x="62" y="1"/>
                  </a:cubicBezTo>
                  <a:cubicBezTo>
                    <a:pt x="69" y="1"/>
                    <a:pt x="73" y="4"/>
                    <a:pt x="76" y="11"/>
                  </a:cubicBezTo>
                  <a:cubicBezTo>
                    <a:pt x="80" y="23"/>
                    <a:pt x="84" y="35"/>
                    <a:pt x="89" y="47"/>
                  </a:cubicBezTo>
                  <a:cubicBezTo>
                    <a:pt x="89" y="48"/>
                    <a:pt x="89" y="49"/>
                    <a:pt x="90" y="49"/>
                  </a:cubicBezTo>
                  <a:cubicBezTo>
                    <a:pt x="90" y="48"/>
                    <a:pt x="90" y="48"/>
                    <a:pt x="90" y="47"/>
                  </a:cubicBezTo>
                  <a:cubicBezTo>
                    <a:pt x="94" y="35"/>
                    <a:pt x="97" y="23"/>
                    <a:pt x="101" y="10"/>
                  </a:cubicBezTo>
                  <a:cubicBezTo>
                    <a:pt x="103" y="3"/>
                    <a:pt x="106" y="1"/>
                    <a:pt x="113" y="1"/>
                  </a:cubicBezTo>
                  <a:cubicBezTo>
                    <a:pt x="121" y="2"/>
                    <a:pt x="124" y="6"/>
                    <a:pt x="121" y="13"/>
                  </a:cubicBezTo>
                  <a:cubicBezTo>
                    <a:pt x="116" y="30"/>
                    <a:pt x="110" y="47"/>
                    <a:pt x="104" y="63"/>
                  </a:cubicBezTo>
                  <a:cubicBezTo>
                    <a:pt x="102" y="70"/>
                    <a:pt x="98" y="72"/>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44" name="Freeform 9">
              <a:extLst>
                <a:ext uri="{FF2B5EF4-FFF2-40B4-BE49-F238E27FC236}">
                  <a16:creationId xmlns:a16="http://schemas.microsoft.com/office/drawing/2014/main" id="{456DF07A-687E-4C5E-A327-5581E21105CD}"/>
                </a:ext>
              </a:extLst>
            </p:cNvPr>
            <p:cNvSpPr>
              <a:spLocks/>
            </p:cNvSpPr>
            <p:nvPr/>
          </p:nvSpPr>
          <p:spPr bwMode="gray">
            <a:xfrm>
              <a:off x="6446838" y="952500"/>
              <a:ext cx="617538" cy="363538"/>
            </a:xfrm>
            <a:custGeom>
              <a:avLst/>
              <a:gdLst>
                <a:gd name="T0" fmla="*/ 90 w 124"/>
                <a:gd name="T1" fmla="*/ 72 h 73"/>
                <a:gd name="T2" fmla="*/ 77 w 124"/>
                <a:gd name="T3" fmla="*/ 63 h 73"/>
                <a:gd name="T4" fmla="*/ 63 w 124"/>
                <a:gd name="T5" fmla="*/ 23 h 73"/>
                <a:gd name="T6" fmla="*/ 62 w 124"/>
                <a:gd name="T7" fmla="*/ 21 h 73"/>
                <a:gd name="T8" fmla="*/ 61 w 124"/>
                <a:gd name="T9" fmla="*/ 23 h 73"/>
                <a:gd name="T10" fmla="*/ 47 w 124"/>
                <a:gd name="T11" fmla="*/ 63 h 73"/>
                <a:gd name="T12" fmla="*/ 32 w 124"/>
                <a:gd name="T13" fmla="*/ 72 h 73"/>
                <a:gd name="T14" fmla="*/ 19 w 124"/>
                <a:gd name="T15" fmla="*/ 63 h 73"/>
                <a:gd name="T16" fmla="*/ 2 w 124"/>
                <a:gd name="T17" fmla="*/ 14 h 73"/>
                <a:gd name="T18" fmla="*/ 6 w 124"/>
                <a:gd name="T19" fmla="*/ 2 h 73"/>
                <a:gd name="T20" fmla="*/ 21 w 124"/>
                <a:gd name="T21" fmla="*/ 6 h 73"/>
                <a:gd name="T22" fmla="*/ 31 w 124"/>
                <a:gd name="T23" fmla="*/ 40 h 73"/>
                <a:gd name="T24" fmla="*/ 33 w 124"/>
                <a:gd name="T25" fmla="*/ 48 h 73"/>
                <a:gd name="T26" fmla="*/ 34 w 124"/>
                <a:gd name="T27" fmla="*/ 49 h 73"/>
                <a:gd name="T28" fmla="*/ 35 w 124"/>
                <a:gd name="T29" fmla="*/ 48 h 73"/>
                <a:gd name="T30" fmla="*/ 47 w 124"/>
                <a:gd name="T31" fmla="*/ 12 h 73"/>
                <a:gd name="T32" fmla="*/ 62 w 124"/>
                <a:gd name="T33" fmla="*/ 1 h 73"/>
                <a:gd name="T34" fmla="*/ 76 w 124"/>
                <a:gd name="T35" fmla="*/ 12 h 73"/>
                <a:gd name="T36" fmla="*/ 89 w 124"/>
                <a:gd name="T37" fmla="*/ 48 h 73"/>
                <a:gd name="T38" fmla="*/ 90 w 124"/>
                <a:gd name="T39" fmla="*/ 49 h 73"/>
                <a:gd name="T40" fmla="*/ 90 w 124"/>
                <a:gd name="T41" fmla="*/ 48 h 73"/>
                <a:gd name="T42" fmla="*/ 101 w 124"/>
                <a:gd name="T43" fmla="*/ 10 h 73"/>
                <a:gd name="T44" fmla="*/ 112 w 124"/>
                <a:gd name="T45" fmla="*/ 1 h 73"/>
                <a:gd name="T46" fmla="*/ 121 w 124"/>
                <a:gd name="T47" fmla="*/ 14 h 73"/>
                <a:gd name="T48" fmla="*/ 104 w 124"/>
                <a:gd name="T49" fmla="*/ 63 h 73"/>
                <a:gd name="T50" fmla="*/ 90 w 124"/>
                <a:gd name="T51"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 h="73">
                  <a:moveTo>
                    <a:pt x="90" y="72"/>
                  </a:moveTo>
                  <a:cubicBezTo>
                    <a:pt x="84" y="73"/>
                    <a:pt x="79" y="70"/>
                    <a:pt x="77" y="63"/>
                  </a:cubicBezTo>
                  <a:cubicBezTo>
                    <a:pt x="72" y="50"/>
                    <a:pt x="68" y="36"/>
                    <a:pt x="63" y="23"/>
                  </a:cubicBezTo>
                  <a:cubicBezTo>
                    <a:pt x="63" y="22"/>
                    <a:pt x="62" y="22"/>
                    <a:pt x="62" y="21"/>
                  </a:cubicBezTo>
                  <a:cubicBezTo>
                    <a:pt x="62" y="22"/>
                    <a:pt x="61" y="22"/>
                    <a:pt x="61" y="23"/>
                  </a:cubicBezTo>
                  <a:cubicBezTo>
                    <a:pt x="56" y="36"/>
                    <a:pt x="52" y="50"/>
                    <a:pt x="47" y="63"/>
                  </a:cubicBezTo>
                  <a:cubicBezTo>
                    <a:pt x="44" y="70"/>
                    <a:pt x="40" y="73"/>
                    <a:pt x="32" y="72"/>
                  </a:cubicBezTo>
                  <a:cubicBezTo>
                    <a:pt x="25" y="72"/>
                    <a:pt x="22" y="70"/>
                    <a:pt x="19" y="63"/>
                  </a:cubicBezTo>
                  <a:cubicBezTo>
                    <a:pt x="13" y="46"/>
                    <a:pt x="8" y="30"/>
                    <a:pt x="2" y="14"/>
                  </a:cubicBezTo>
                  <a:cubicBezTo>
                    <a:pt x="0" y="9"/>
                    <a:pt x="0" y="5"/>
                    <a:pt x="6" y="2"/>
                  </a:cubicBezTo>
                  <a:cubicBezTo>
                    <a:pt x="12" y="0"/>
                    <a:pt x="19" y="1"/>
                    <a:pt x="21" y="6"/>
                  </a:cubicBezTo>
                  <a:cubicBezTo>
                    <a:pt x="25" y="17"/>
                    <a:pt x="28" y="29"/>
                    <a:pt x="31" y="40"/>
                  </a:cubicBezTo>
                  <a:cubicBezTo>
                    <a:pt x="32" y="42"/>
                    <a:pt x="33" y="45"/>
                    <a:pt x="33" y="48"/>
                  </a:cubicBezTo>
                  <a:cubicBezTo>
                    <a:pt x="33" y="48"/>
                    <a:pt x="34" y="49"/>
                    <a:pt x="34" y="49"/>
                  </a:cubicBezTo>
                  <a:cubicBezTo>
                    <a:pt x="34" y="49"/>
                    <a:pt x="34" y="48"/>
                    <a:pt x="35" y="48"/>
                  </a:cubicBezTo>
                  <a:cubicBezTo>
                    <a:pt x="39" y="36"/>
                    <a:pt x="43" y="24"/>
                    <a:pt x="47" y="12"/>
                  </a:cubicBezTo>
                  <a:cubicBezTo>
                    <a:pt x="50" y="4"/>
                    <a:pt x="54" y="1"/>
                    <a:pt x="62" y="1"/>
                  </a:cubicBezTo>
                  <a:cubicBezTo>
                    <a:pt x="70" y="1"/>
                    <a:pt x="73" y="4"/>
                    <a:pt x="76" y="12"/>
                  </a:cubicBezTo>
                  <a:cubicBezTo>
                    <a:pt x="81" y="23"/>
                    <a:pt x="85" y="36"/>
                    <a:pt x="89" y="48"/>
                  </a:cubicBezTo>
                  <a:cubicBezTo>
                    <a:pt x="89" y="48"/>
                    <a:pt x="90" y="49"/>
                    <a:pt x="90" y="49"/>
                  </a:cubicBezTo>
                  <a:cubicBezTo>
                    <a:pt x="90" y="49"/>
                    <a:pt x="90" y="48"/>
                    <a:pt x="90" y="48"/>
                  </a:cubicBezTo>
                  <a:cubicBezTo>
                    <a:pt x="94" y="35"/>
                    <a:pt x="98" y="23"/>
                    <a:pt x="101" y="10"/>
                  </a:cubicBezTo>
                  <a:cubicBezTo>
                    <a:pt x="103" y="5"/>
                    <a:pt x="106" y="2"/>
                    <a:pt x="112" y="1"/>
                  </a:cubicBezTo>
                  <a:cubicBezTo>
                    <a:pt x="121" y="1"/>
                    <a:pt x="124" y="6"/>
                    <a:pt x="121" y="14"/>
                  </a:cubicBezTo>
                  <a:cubicBezTo>
                    <a:pt x="116" y="31"/>
                    <a:pt x="110" y="47"/>
                    <a:pt x="104" y="63"/>
                  </a:cubicBezTo>
                  <a:cubicBezTo>
                    <a:pt x="102" y="70"/>
                    <a:pt x="98" y="72"/>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45" name="Freeform 10">
              <a:extLst>
                <a:ext uri="{FF2B5EF4-FFF2-40B4-BE49-F238E27FC236}">
                  <a16:creationId xmlns:a16="http://schemas.microsoft.com/office/drawing/2014/main" id="{A1EFA999-3BA8-4B1E-B6F4-0A44A111E24E}"/>
                </a:ext>
              </a:extLst>
            </p:cNvPr>
            <p:cNvSpPr>
              <a:spLocks/>
            </p:cNvSpPr>
            <p:nvPr/>
          </p:nvSpPr>
          <p:spPr bwMode="gray">
            <a:xfrm>
              <a:off x="5691188" y="952500"/>
              <a:ext cx="615950" cy="363538"/>
            </a:xfrm>
            <a:custGeom>
              <a:avLst/>
              <a:gdLst>
                <a:gd name="T0" fmla="*/ 90 w 124"/>
                <a:gd name="T1" fmla="*/ 72 h 73"/>
                <a:gd name="T2" fmla="*/ 77 w 124"/>
                <a:gd name="T3" fmla="*/ 64 h 73"/>
                <a:gd name="T4" fmla="*/ 63 w 124"/>
                <a:gd name="T5" fmla="*/ 23 h 73"/>
                <a:gd name="T6" fmla="*/ 62 w 124"/>
                <a:gd name="T7" fmla="*/ 21 h 73"/>
                <a:gd name="T8" fmla="*/ 61 w 124"/>
                <a:gd name="T9" fmla="*/ 23 h 73"/>
                <a:gd name="T10" fmla="*/ 46 w 124"/>
                <a:gd name="T11" fmla="*/ 63 h 73"/>
                <a:gd name="T12" fmla="*/ 32 w 124"/>
                <a:gd name="T13" fmla="*/ 72 h 73"/>
                <a:gd name="T14" fmla="*/ 19 w 124"/>
                <a:gd name="T15" fmla="*/ 63 h 73"/>
                <a:gd name="T16" fmla="*/ 2 w 124"/>
                <a:gd name="T17" fmla="*/ 14 h 73"/>
                <a:gd name="T18" fmla="*/ 6 w 124"/>
                <a:gd name="T19" fmla="*/ 2 h 73"/>
                <a:gd name="T20" fmla="*/ 21 w 124"/>
                <a:gd name="T21" fmla="*/ 7 h 73"/>
                <a:gd name="T22" fmla="*/ 31 w 124"/>
                <a:gd name="T23" fmla="*/ 42 h 73"/>
                <a:gd name="T24" fmla="*/ 34 w 124"/>
                <a:gd name="T25" fmla="*/ 49 h 73"/>
                <a:gd name="T26" fmla="*/ 37 w 124"/>
                <a:gd name="T27" fmla="*/ 42 h 73"/>
                <a:gd name="T28" fmla="*/ 48 w 124"/>
                <a:gd name="T29" fmla="*/ 10 h 73"/>
                <a:gd name="T30" fmla="*/ 62 w 124"/>
                <a:gd name="T31" fmla="*/ 1 h 73"/>
                <a:gd name="T32" fmla="*/ 76 w 124"/>
                <a:gd name="T33" fmla="*/ 10 h 73"/>
                <a:gd name="T34" fmla="*/ 89 w 124"/>
                <a:gd name="T35" fmla="*/ 47 h 73"/>
                <a:gd name="T36" fmla="*/ 90 w 124"/>
                <a:gd name="T37" fmla="*/ 49 h 73"/>
                <a:gd name="T38" fmla="*/ 91 w 124"/>
                <a:gd name="T39" fmla="*/ 47 h 73"/>
                <a:gd name="T40" fmla="*/ 101 w 124"/>
                <a:gd name="T41" fmla="*/ 10 h 73"/>
                <a:gd name="T42" fmla="*/ 116 w 124"/>
                <a:gd name="T43" fmla="*/ 2 h 73"/>
                <a:gd name="T44" fmla="*/ 122 w 124"/>
                <a:gd name="T45" fmla="*/ 12 h 73"/>
                <a:gd name="T46" fmla="*/ 104 w 124"/>
                <a:gd name="T47" fmla="*/ 65 h 73"/>
                <a:gd name="T48" fmla="*/ 90 w 124"/>
                <a:gd name="T49"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73">
                  <a:moveTo>
                    <a:pt x="90" y="72"/>
                  </a:moveTo>
                  <a:cubicBezTo>
                    <a:pt x="84" y="73"/>
                    <a:pt x="79" y="70"/>
                    <a:pt x="77" y="64"/>
                  </a:cubicBezTo>
                  <a:cubicBezTo>
                    <a:pt x="72" y="50"/>
                    <a:pt x="68" y="36"/>
                    <a:pt x="63" y="23"/>
                  </a:cubicBezTo>
                  <a:cubicBezTo>
                    <a:pt x="62" y="22"/>
                    <a:pt x="62" y="22"/>
                    <a:pt x="62" y="21"/>
                  </a:cubicBezTo>
                  <a:cubicBezTo>
                    <a:pt x="61" y="22"/>
                    <a:pt x="61" y="22"/>
                    <a:pt x="61" y="23"/>
                  </a:cubicBezTo>
                  <a:cubicBezTo>
                    <a:pt x="56" y="36"/>
                    <a:pt x="51" y="50"/>
                    <a:pt x="46" y="63"/>
                  </a:cubicBezTo>
                  <a:cubicBezTo>
                    <a:pt x="44" y="70"/>
                    <a:pt x="40" y="73"/>
                    <a:pt x="32" y="72"/>
                  </a:cubicBezTo>
                  <a:cubicBezTo>
                    <a:pt x="25" y="72"/>
                    <a:pt x="22" y="70"/>
                    <a:pt x="19" y="63"/>
                  </a:cubicBezTo>
                  <a:cubicBezTo>
                    <a:pt x="13" y="46"/>
                    <a:pt x="8" y="30"/>
                    <a:pt x="2" y="14"/>
                  </a:cubicBezTo>
                  <a:cubicBezTo>
                    <a:pt x="0" y="7"/>
                    <a:pt x="1" y="4"/>
                    <a:pt x="6" y="2"/>
                  </a:cubicBezTo>
                  <a:cubicBezTo>
                    <a:pt x="12" y="0"/>
                    <a:pt x="19" y="2"/>
                    <a:pt x="21" y="7"/>
                  </a:cubicBezTo>
                  <a:cubicBezTo>
                    <a:pt x="25" y="19"/>
                    <a:pt x="28" y="30"/>
                    <a:pt x="31" y="42"/>
                  </a:cubicBezTo>
                  <a:cubicBezTo>
                    <a:pt x="32" y="44"/>
                    <a:pt x="33" y="47"/>
                    <a:pt x="34" y="49"/>
                  </a:cubicBezTo>
                  <a:cubicBezTo>
                    <a:pt x="35" y="47"/>
                    <a:pt x="36" y="44"/>
                    <a:pt x="37" y="42"/>
                  </a:cubicBezTo>
                  <a:cubicBezTo>
                    <a:pt x="40" y="31"/>
                    <a:pt x="44" y="21"/>
                    <a:pt x="48" y="10"/>
                  </a:cubicBezTo>
                  <a:cubicBezTo>
                    <a:pt x="50" y="3"/>
                    <a:pt x="55" y="1"/>
                    <a:pt x="62" y="1"/>
                  </a:cubicBezTo>
                  <a:cubicBezTo>
                    <a:pt x="69" y="1"/>
                    <a:pt x="73" y="4"/>
                    <a:pt x="76" y="10"/>
                  </a:cubicBezTo>
                  <a:cubicBezTo>
                    <a:pt x="80" y="23"/>
                    <a:pt x="84" y="35"/>
                    <a:pt x="89" y="47"/>
                  </a:cubicBezTo>
                  <a:cubicBezTo>
                    <a:pt x="89" y="48"/>
                    <a:pt x="89" y="48"/>
                    <a:pt x="90" y="49"/>
                  </a:cubicBezTo>
                  <a:cubicBezTo>
                    <a:pt x="90" y="48"/>
                    <a:pt x="90" y="48"/>
                    <a:pt x="91" y="47"/>
                  </a:cubicBezTo>
                  <a:cubicBezTo>
                    <a:pt x="94" y="35"/>
                    <a:pt x="98" y="22"/>
                    <a:pt x="101" y="10"/>
                  </a:cubicBezTo>
                  <a:cubicBezTo>
                    <a:pt x="103" y="3"/>
                    <a:pt x="108" y="0"/>
                    <a:pt x="116" y="2"/>
                  </a:cubicBezTo>
                  <a:cubicBezTo>
                    <a:pt x="121" y="3"/>
                    <a:pt x="124" y="7"/>
                    <a:pt x="122" y="12"/>
                  </a:cubicBezTo>
                  <a:cubicBezTo>
                    <a:pt x="116" y="30"/>
                    <a:pt x="110" y="47"/>
                    <a:pt x="104" y="65"/>
                  </a:cubicBezTo>
                  <a:cubicBezTo>
                    <a:pt x="101" y="71"/>
                    <a:pt x="97" y="73"/>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grpSp>
      <p:sp>
        <p:nvSpPr>
          <p:cNvPr id="46" name="TextBox 7">
            <a:extLst>
              <a:ext uri="{FF2B5EF4-FFF2-40B4-BE49-F238E27FC236}">
                <a16:creationId xmlns:a16="http://schemas.microsoft.com/office/drawing/2014/main" id="{AB1D21B3-5EA8-4583-8B39-5C5D45B4127F}"/>
              </a:ext>
            </a:extLst>
          </p:cNvPr>
          <p:cNvSpPr txBox="1"/>
          <p:nvPr userDrawn="1"/>
        </p:nvSpPr>
        <p:spPr bwMode="gray">
          <a:xfrm>
            <a:off x="3496267" y="5403599"/>
            <a:ext cx="2305631" cy="297454"/>
          </a:xfrm>
          <a:prstGeom prst="rect">
            <a:avLst/>
          </a:prstGeom>
          <a:noFill/>
        </p:spPr>
        <p:txBody>
          <a:bodyPr wrap="none" rtlCol="0">
            <a:spAutoFit/>
          </a:bodyPr>
          <a:lstStyle/>
          <a:p>
            <a:pPr>
              <a:spcBef>
                <a:spcPts val="3200"/>
              </a:spcBef>
              <a:buClr>
                <a:srgbClr val="C00000"/>
              </a:buClr>
            </a:pPr>
            <a:r>
              <a:rPr lang="es-ES" sz="1333">
                <a:solidFill>
                  <a:schemeClr val="tx1">
                    <a:lumMod val="75000"/>
                    <a:lumOff val="25000"/>
                  </a:schemeClr>
                </a:solidFill>
              </a:rPr>
              <a:t>https://twitter.com/giz_gmbh</a:t>
            </a:r>
            <a:endParaRPr lang="es-ES" sz="1333" dirty="0">
              <a:solidFill>
                <a:schemeClr val="tx1">
                  <a:lumMod val="75000"/>
                  <a:lumOff val="25000"/>
                </a:schemeClr>
              </a:solidFill>
            </a:endParaRPr>
          </a:p>
        </p:txBody>
      </p:sp>
      <p:sp>
        <p:nvSpPr>
          <p:cNvPr id="47" name="TextBox 7">
            <a:extLst>
              <a:ext uri="{FF2B5EF4-FFF2-40B4-BE49-F238E27FC236}">
                <a16:creationId xmlns:a16="http://schemas.microsoft.com/office/drawing/2014/main" id="{143F2906-482C-48A6-8D87-67C6BCEBAF88}"/>
              </a:ext>
            </a:extLst>
          </p:cNvPr>
          <p:cNvSpPr txBox="1"/>
          <p:nvPr userDrawn="1"/>
        </p:nvSpPr>
        <p:spPr bwMode="gray">
          <a:xfrm>
            <a:off x="7004908" y="5403599"/>
            <a:ext cx="2950038" cy="297454"/>
          </a:xfrm>
          <a:prstGeom prst="rect">
            <a:avLst/>
          </a:prstGeom>
          <a:noFill/>
        </p:spPr>
        <p:txBody>
          <a:bodyPr wrap="none" rtlCol="0">
            <a:spAutoFit/>
          </a:bodyPr>
          <a:lstStyle/>
          <a:p>
            <a:pPr>
              <a:spcBef>
                <a:spcPts val="3200"/>
              </a:spcBef>
              <a:buClr>
                <a:srgbClr val="C00000"/>
              </a:buClr>
            </a:pPr>
            <a:r>
              <a:rPr lang="es-ES" sz="1333">
                <a:solidFill>
                  <a:schemeClr val="tx1">
                    <a:lumMod val="75000"/>
                    <a:lumOff val="25000"/>
                  </a:schemeClr>
                </a:solidFill>
              </a:rPr>
              <a:t>https://www.facebook.com/gizprofile/</a:t>
            </a:r>
            <a:endParaRPr lang="es-ES" sz="1333" dirty="0">
              <a:solidFill>
                <a:schemeClr val="tx1">
                  <a:lumMod val="75000"/>
                  <a:lumOff val="25000"/>
                </a:schemeClr>
              </a:solidFill>
            </a:endParaRPr>
          </a:p>
        </p:txBody>
      </p:sp>
      <p:sp>
        <p:nvSpPr>
          <p:cNvPr id="2" name="Datumsplatzhalter 1">
            <a:extLst>
              <a:ext uri="{FF2B5EF4-FFF2-40B4-BE49-F238E27FC236}">
                <a16:creationId xmlns:a16="http://schemas.microsoft.com/office/drawing/2014/main" id="{CEA6B603-AED2-46A7-AE29-2D5EAAC6246B}"/>
              </a:ext>
            </a:extLst>
          </p:cNvPr>
          <p:cNvSpPr>
            <a:spLocks noGrp="1"/>
          </p:cNvSpPr>
          <p:nvPr>
            <p:ph type="dt" sz="half" idx="24"/>
          </p:nvPr>
        </p:nvSpPr>
        <p:spPr/>
        <p:txBody>
          <a:bodyPr/>
          <a:lstStyle/>
          <a:p>
            <a:r>
              <a:rPr lang="es-ES"/>
              <a:t>14.02.2019</a:t>
            </a:r>
            <a:endParaRPr lang="es-ES" dirty="0"/>
          </a:p>
        </p:txBody>
      </p:sp>
      <p:sp>
        <p:nvSpPr>
          <p:cNvPr id="3" name="Fußzeilenplatzhalter 2">
            <a:extLst>
              <a:ext uri="{FF2B5EF4-FFF2-40B4-BE49-F238E27FC236}">
                <a16:creationId xmlns:a16="http://schemas.microsoft.com/office/drawing/2014/main" id="{B8739D72-540A-49AE-BA89-13BD14BF0156}"/>
              </a:ext>
            </a:extLst>
          </p:cNvPr>
          <p:cNvSpPr>
            <a:spLocks noGrp="1"/>
          </p:cNvSpPr>
          <p:nvPr>
            <p:ph type="ftr" sz="quarter" idx="25"/>
          </p:nvPr>
        </p:nvSpPr>
        <p:spPr/>
        <p:txBody>
          <a:bodyPr/>
          <a:lstStyle/>
          <a:p>
            <a:r>
              <a:rPr lang="es-ES"/>
              <a:t>Título de la presentación</a:t>
            </a:r>
            <a:endParaRPr lang="es-ES" dirty="0"/>
          </a:p>
        </p:txBody>
      </p:sp>
      <p:sp>
        <p:nvSpPr>
          <p:cNvPr id="4" name="Foliennummernplatzhalter 3">
            <a:extLst>
              <a:ext uri="{FF2B5EF4-FFF2-40B4-BE49-F238E27FC236}">
                <a16:creationId xmlns:a16="http://schemas.microsoft.com/office/drawing/2014/main" id="{E73BDBE8-98AD-471D-A81E-67AAC5819DBE}"/>
              </a:ext>
            </a:extLst>
          </p:cNvPr>
          <p:cNvSpPr>
            <a:spLocks noGrp="1"/>
          </p:cNvSpPr>
          <p:nvPr>
            <p:ph type="sldNum" sz="quarter" idx="26"/>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140540611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acto 2">
    <p:spTree>
      <p:nvGrpSpPr>
        <p:cNvPr id="1" name=""/>
        <p:cNvGrpSpPr/>
        <p:nvPr/>
      </p:nvGrpSpPr>
      <p:grpSpPr>
        <a:xfrm>
          <a:off x="0" y="0"/>
          <a:ext cx="0" cy="0"/>
          <a:chOff x="0" y="0"/>
          <a:chExt cx="0" cy="0"/>
        </a:xfrm>
      </p:grpSpPr>
      <p:pic>
        <p:nvPicPr>
          <p:cNvPr id="18" name="Grafik 17">
            <a:extLst>
              <a:ext uri="{FF2B5EF4-FFF2-40B4-BE49-F238E27FC236}">
                <a16:creationId xmlns:a16="http://schemas.microsoft.com/office/drawing/2014/main" id="{DF58C217-C4E2-448E-B6B5-E56CEFB6D358}"/>
              </a:ext>
            </a:extLst>
          </p:cNvPr>
          <p:cNvPicPr>
            <a:picLocks/>
          </p:cNvPicPr>
          <p:nvPr userDrawn="1"/>
        </p:nvPicPr>
        <p:blipFill rotWithShape="1">
          <a:blip r:embed="rId2"/>
          <a:srcRect t="234" b="7466"/>
          <a:stretch/>
        </p:blipFill>
        <p:spPr bwMode="gray">
          <a:xfrm>
            <a:off x="164183" y="165101"/>
            <a:ext cx="11858487" cy="5968659"/>
          </a:xfrm>
          <a:prstGeom prst="rect">
            <a:avLst/>
          </a:prstGeom>
        </p:spPr>
      </p:pic>
      <p:sp>
        <p:nvSpPr>
          <p:cNvPr id="6" name="Rechteck 5">
            <a:extLst>
              <a:ext uri="{FF2B5EF4-FFF2-40B4-BE49-F238E27FC236}">
                <a16:creationId xmlns:a16="http://schemas.microsoft.com/office/drawing/2014/main" id="{1E3E3E95-0AFA-477F-B88E-9AEDC037418E}"/>
              </a:ext>
            </a:extLst>
          </p:cNvPr>
          <p:cNvSpPr>
            <a:spLocks/>
          </p:cNvSpPr>
          <p:nvPr userDrawn="1"/>
        </p:nvSpPr>
        <p:spPr bwMode="gray">
          <a:xfrm>
            <a:off x="164183" y="165101"/>
            <a:ext cx="11858487" cy="5968659"/>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42" name="TextBox 7">
            <a:extLst>
              <a:ext uri="{FF2B5EF4-FFF2-40B4-BE49-F238E27FC236}">
                <a16:creationId xmlns:a16="http://schemas.microsoft.com/office/drawing/2014/main" id="{0ACBC6BD-AF1C-4AC3-B989-7C0851FD4A36}"/>
              </a:ext>
            </a:extLst>
          </p:cNvPr>
          <p:cNvSpPr txBox="1"/>
          <p:nvPr userDrawn="1"/>
        </p:nvSpPr>
        <p:spPr bwMode="gray">
          <a:xfrm>
            <a:off x="1046185" y="5403599"/>
            <a:ext cx="1048877" cy="297454"/>
          </a:xfrm>
          <a:prstGeom prst="rect">
            <a:avLst/>
          </a:prstGeom>
          <a:noFill/>
        </p:spPr>
        <p:txBody>
          <a:bodyPr wrap="none" rtlCol="0">
            <a:spAutoFit/>
          </a:bodyPr>
          <a:lstStyle/>
          <a:p>
            <a:pPr>
              <a:spcBef>
                <a:spcPts val="3200"/>
              </a:spcBef>
              <a:buClr>
                <a:srgbClr val="C00000"/>
              </a:buClr>
            </a:pPr>
            <a:r>
              <a:rPr lang="es-ES" sz="1333">
                <a:solidFill>
                  <a:schemeClr val="tx1">
                    <a:lumMod val="75000"/>
                    <a:lumOff val="25000"/>
                  </a:schemeClr>
                </a:solidFill>
              </a:rPr>
              <a:t>www.giz.de</a:t>
            </a:r>
            <a:endParaRPr lang="es-ES" sz="1333" dirty="0">
              <a:solidFill>
                <a:schemeClr val="tx1">
                  <a:lumMod val="75000"/>
                  <a:lumOff val="25000"/>
                </a:schemeClr>
              </a:solidFill>
            </a:endParaRPr>
          </a:p>
        </p:txBody>
      </p:sp>
      <p:pic>
        <p:nvPicPr>
          <p:cNvPr id="43" name="Grafik 42" descr="Ein Bild, das Axt, Werkzeug enthält.&#10;&#10;Mit sehr hoher Zuverlässigkeit generierte Beschreibung">
            <a:extLst>
              <a:ext uri="{FF2B5EF4-FFF2-40B4-BE49-F238E27FC236}">
                <a16:creationId xmlns:a16="http://schemas.microsoft.com/office/drawing/2014/main" id="{1409F6AC-26EC-4924-85C7-7C52829EA0B7}"/>
              </a:ext>
            </a:extLst>
          </p:cNvPr>
          <p:cNvPicPr>
            <a:picLocks noChangeAspect="1"/>
          </p:cNvPicPr>
          <p:nvPr userDrawn="1"/>
        </p:nvPicPr>
        <p:blipFill>
          <a:blip r:embed="rId3"/>
          <a:stretch>
            <a:fillRect/>
          </a:stretch>
        </p:blipFill>
        <p:spPr bwMode="gray">
          <a:xfrm>
            <a:off x="3031312" y="5442596"/>
            <a:ext cx="387637" cy="315277"/>
          </a:xfrm>
          <a:prstGeom prst="rect">
            <a:avLst/>
          </a:prstGeom>
        </p:spPr>
      </p:pic>
      <p:pic>
        <p:nvPicPr>
          <p:cNvPr id="44" name="Grafik 43">
            <a:extLst>
              <a:ext uri="{FF2B5EF4-FFF2-40B4-BE49-F238E27FC236}">
                <a16:creationId xmlns:a16="http://schemas.microsoft.com/office/drawing/2014/main" id="{95D9641D-18D8-4757-B59C-824BED8ECD98}"/>
              </a:ext>
            </a:extLst>
          </p:cNvPr>
          <p:cNvPicPr>
            <a:picLocks noChangeAspect="1"/>
          </p:cNvPicPr>
          <p:nvPr userDrawn="1"/>
        </p:nvPicPr>
        <p:blipFill>
          <a:blip r:embed="rId4"/>
          <a:stretch>
            <a:fillRect/>
          </a:stretch>
        </p:blipFill>
        <p:spPr bwMode="gray">
          <a:xfrm>
            <a:off x="6614904" y="5408252"/>
            <a:ext cx="312688" cy="312685"/>
          </a:xfrm>
          <a:prstGeom prst="rect">
            <a:avLst/>
          </a:prstGeom>
        </p:spPr>
      </p:pic>
      <p:grpSp>
        <p:nvGrpSpPr>
          <p:cNvPr id="45" name="Gruppieren 44">
            <a:extLst>
              <a:ext uri="{FF2B5EF4-FFF2-40B4-BE49-F238E27FC236}">
                <a16:creationId xmlns:a16="http://schemas.microsoft.com/office/drawing/2014/main" id="{5C7EA8DE-E5C0-4542-A14B-2F893BDFC8D1}"/>
              </a:ext>
            </a:extLst>
          </p:cNvPr>
          <p:cNvGrpSpPr/>
          <p:nvPr userDrawn="1"/>
        </p:nvGrpSpPr>
        <p:grpSpPr bwMode="gray">
          <a:xfrm>
            <a:off x="592656" y="5372336"/>
            <a:ext cx="350163" cy="396344"/>
            <a:chOff x="4933951" y="-41275"/>
            <a:chExt cx="2130425" cy="2411413"/>
          </a:xfrm>
        </p:grpSpPr>
        <p:sp>
          <p:nvSpPr>
            <p:cNvPr id="46" name="Freeform 6">
              <a:extLst>
                <a:ext uri="{FF2B5EF4-FFF2-40B4-BE49-F238E27FC236}">
                  <a16:creationId xmlns:a16="http://schemas.microsoft.com/office/drawing/2014/main" id="{05EE60F5-13C7-4FF2-87FA-B42FCFE9CCF1}"/>
                </a:ext>
              </a:extLst>
            </p:cNvPr>
            <p:cNvSpPr>
              <a:spLocks noEditPoints="1"/>
            </p:cNvSpPr>
            <p:nvPr/>
          </p:nvSpPr>
          <p:spPr bwMode="gray">
            <a:xfrm>
              <a:off x="4945063" y="1435100"/>
              <a:ext cx="2114550" cy="935038"/>
            </a:xfrm>
            <a:custGeom>
              <a:avLst/>
              <a:gdLst>
                <a:gd name="T0" fmla="*/ 287 w 425"/>
                <a:gd name="T1" fmla="*/ 25 h 188"/>
                <a:gd name="T2" fmla="*/ 297 w 425"/>
                <a:gd name="T3" fmla="*/ 2 h 188"/>
                <a:gd name="T4" fmla="*/ 325 w 425"/>
                <a:gd name="T5" fmla="*/ 0 h 188"/>
                <a:gd name="T6" fmla="*/ 321 w 425"/>
                <a:gd name="T7" fmla="*/ 23 h 188"/>
                <a:gd name="T8" fmla="*/ 382 w 425"/>
                <a:gd name="T9" fmla="*/ 25 h 188"/>
                <a:gd name="T10" fmla="*/ 394 w 425"/>
                <a:gd name="T11" fmla="*/ 2 h 188"/>
                <a:gd name="T12" fmla="*/ 423 w 425"/>
                <a:gd name="T13" fmla="*/ 0 h 188"/>
                <a:gd name="T14" fmla="*/ 307 w 425"/>
                <a:gd name="T15" fmla="*/ 135 h 188"/>
                <a:gd name="T16" fmla="*/ 0 w 425"/>
                <a:gd name="T17" fmla="*/ 2 h 188"/>
                <a:gd name="T18" fmla="*/ 28 w 425"/>
                <a:gd name="T19" fmla="*/ 0 h 188"/>
                <a:gd name="T20" fmla="*/ 40 w 425"/>
                <a:gd name="T21" fmla="*/ 23 h 188"/>
                <a:gd name="T22" fmla="*/ 101 w 425"/>
                <a:gd name="T23" fmla="*/ 25 h 188"/>
                <a:gd name="T24" fmla="*/ 97 w 425"/>
                <a:gd name="T25" fmla="*/ 3 h 188"/>
                <a:gd name="T26" fmla="*/ 125 w 425"/>
                <a:gd name="T27" fmla="*/ 0 h 188"/>
                <a:gd name="T28" fmla="*/ 134 w 425"/>
                <a:gd name="T29" fmla="*/ 23 h 188"/>
                <a:gd name="T30" fmla="*/ 192 w 425"/>
                <a:gd name="T31" fmla="*/ 25 h 188"/>
                <a:gd name="T32" fmla="*/ 194 w 425"/>
                <a:gd name="T33" fmla="*/ 2 h 188"/>
                <a:gd name="T34" fmla="*/ 221 w 425"/>
                <a:gd name="T35" fmla="*/ 0 h 188"/>
                <a:gd name="T36" fmla="*/ 224 w 425"/>
                <a:gd name="T37" fmla="*/ 23 h 188"/>
                <a:gd name="T38" fmla="*/ 256 w 425"/>
                <a:gd name="T39" fmla="*/ 25 h 188"/>
                <a:gd name="T40" fmla="*/ 362 w 425"/>
                <a:gd name="T41" fmla="*/ 55 h 188"/>
                <a:gd name="T42" fmla="*/ 307 w 425"/>
                <a:gd name="T43" fmla="*/ 56 h 188"/>
                <a:gd name="T44" fmla="*/ 256 w 425"/>
                <a:gd name="T45" fmla="*/ 121 h 188"/>
                <a:gd name="T46" fmla="*/ 363 w 425"/>
                <a:gd name="T47" fmla="*/ 56 h 188"/>
                <a:gd name="T48" fmla="*/ 87 w 425"/>
                <a:gd name="T49" fmla="*/ 55 h 188"/>
                <a:gd name="T50" fmla="*/ 61 w 425"/>
                <a:gd name="T51" fmla="*/ 55 h 188"/>
                <a:gd name="T52" fmla="*/ 155 w 425"/>
                <a:gd name="T53" fmla="*/ 118 h 188"/>
                <a:gd name="T54" fmla="*/ 156 w 425"/>
                <a:gd name="T55" fmla="*/ 117 h 188"/>
                <a:gd name="T56" fmla="*/ 111 w 425"/>
                <a:gd name="T57" fmla="*/ 55 h 188"/>
                <a:gd name="T58" fmla="*/ 224 w 425"/>
                <a:gd name="T59" fmla="*/ 81 h 188"/>
                <a:gd name="T60" fmla="*/ 224 w 425"/>
                <a:gd name="T61" fmla="*/ 108 h 188"/>
                <a:gd name="T62" fmla="*/ 273 w 425"/>
                <a:gd name="T63" fmla="*/ 56 h 188"/>
                <a:gd name="T64" fmla="*/ 225 w 425"/>
                <a:gd name="T65" fmla="*/ 55 h 188"/>
                <a:gd name="T66" fmla="*/ 224 w 425"/>
                <a:gd name="T67" fmla="*/ 81 h 188"/>
                <a:gd name="T68" fmla="*/ 194 w 425"/>
                <a:gd name="T69" fmla="*/ 56 h 188"/>
                <a:gd name="T70" fmla="*/ 148 w 425"/>
                <a:gd name="T71" fmla="*/ 55 h 188"/>
                <a:gd name="T72" fmla="*/ 192 w 425"/>
                <a:gd name="T73" fmla="*/ 109 h 188"/>
                <a:gd name="T74" fmla="*/ 194 w 425"/>
                <a:gd name="T75" fmla="*/ 10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5" h="188">
                  <a:moveTo>
                    <a:pt x="256" y="25"/>
                  </a:moveTo>
                  <a:cubicBezTo>
                    <a:pt x="267" y="25"/>
                    <a:pt x="277" y="25"/>
                    <a:pt x="287" y="25"/>
                  </a:cubicBezTo>
                  <a:cubicBezTo>
                    <a:pt x="288" y="25"/>
                    <a:pt x="290" y="24"/>
                    <a:pt x="290" y="23"/>
                  </a:cubicBezTo>
                  <a:cubicBezTo>
                    <a:pt x="292" y="16"/>
                    <a:pt x="294" y="9"/>
                    <a:pt x="297" y="2"/>
                  </a:cubicBezTo>
                  <a:cubicBezTo>
                    <a:pt x="297" y="2"/>
                    <a:pt x="298" y="0"/>
                    <a:pt x="299" y="0"/>
                  </a:cubicBezTo>
                  <a:cubicBezTo>
                    <a:pt x="308" y="0"/>
                    <a:pt x="316" y="0"/>
                    <a:pt x="325" y="0"/>
                  </a:cubicBezTo>
                  <a:cubicBezTo>
                    <a:pt x="326" y="0"/>
                    <a:pt x="327" y="2"/>
                    <a:pt x="326" y="2"/>
                  </a:cubicBezTo>
                  <a:cubicBezTo>
                    <a:pt x="325" y="9"/>
                    <a:pt x="323" y="16"/>
                    <a:pt x="321" y="23"/>
                  </a:cubicBezTo>
                  <a:cubicBezTo>
                    <a:pt x="321" y="23"/>
                    <a:pt x="322" y="25"/>
                    <a:pt x="322" y="25"/>
                  </a:cubicBezTo>
                  <a:cubicBezTo>
                    <a:pt x="342" y="25"/>
                    <a:pt x="362" y="25"/>
                    <a:pt x="382" y="25"/>
                  </a:cubicBezTo>
                  <a:cubicBezTo>
                    <a:pt x="383" y="25"/>
                    <a:pt x="384" y="24"/>
                    <a:pt x="384" y="23"/>
                  </a:cubicBezTo>
                  <a:cubicBezTo>
                    <a:pt x="388" y="16"/>
                    <a:pt x="391" y="9"/>
                    <a:pt x="394" y="2"/>
                  </a:cubicBezTo>
                  <a:cubicBezTo>
                    <a:pt x="394" y="1"/>
                    <a:pt x="395" y="0"/>
                    <a:pt x="396" y="0"/>
                  </a:cubicBezTo>
                  <a:cubicBezTo>
                    <a:pt x="405" y="0"/>
                    <a:pt x="414" y="0"/>
                    <a:pt x="423" y="0"/>
                  </a:cubicBezTo>
                  <a:cubicBezTo>
                    <a:pt x="424" y="0"/>
                    <a:pt x="425" y="2"/>
                    <a:pt x="425" y="3"/>
                  </a:cubicBezTo>
                  <a:cubicBezTo>
                    <a:pt x="405" y="64"/>
                    <a:pt x="365" y="108"/>
                    <a:pt x="307" y="135"/>
                  </a:cubicBezTo>
                  <a:cubicBezTo>
                    <a:pt x="195" y="188"/>
                    <a:pt x="60" y="139"/>
                    <a:pt x="10" y="28"/>
                  </a:cubicBezTo>
                  <a:cubicBezTo>
                    <a:pt x="6" y="20"/>
                    <a:pt x="3" y="11"/>
                    <a:pt x="0" y="2"/>
                  </a:cubicBezTo>
                  <a:cubicBezTo>
                    <a:pt x="0" y="2"/>
                    <a:pt x="1" y="0"/>
                    <a:pt x="1" y="0"/>
                  </a:cubicBezTo>
                  <a:cubicBezTo>
                    <a:pt x="10" y="0"/>
                    <a:pt x="19" y="0"/>
                    <a:pt x="28" y="0"/>
                  </a:cubicBezTo>
                  <a:cubicBezTo>
                    <a:pt x="29" y="0"/>
                    <a:pt x="30" y="1"/>
                    <a:pt x="31" y="2"/>
                  </a:cubicBezTo>
                  <a:cubicBezTo>
                    <a:pt x="34" y="9"/>
                    <a:pt x="37" y="16"/>
                    <a:pt x="40" y="23"/>
                  </a:cubicBezTo>
                  <a:cubicBezTo>
                    <a:pt x="41" y="24"/>
                    <a:pt x="42" y="25"/>
                    <a:pt x="43" y="25"/>
                  </a:cubicBezTo>
                  <a:cubicBezTo>
                    <a:pt x="62" y="25"/>
                    <a:pt x="81" y="25"/>
                    <a:pt x="101" y="25"/>
                  </a:cubicBezTo>
                  <a:cubicBezTo>
                    <a:pt x="101" y="25"/>
                    <a:pt x="102" y="23"/>
                    <a:pt x="102" y="23"/>
                  </a:cubicBezTo>
                  <a:cubicBezTo>
                    <a:pt x="101" y="16"/>
                    <a:pt x="99" y="9"/>
                    <a:pt x="97" y="3"/>
                  </a:cubicBezTo>
                  <a:cubicBezTo>
                    <a:pt x="97" y="2"/>
                    <a:pt x="98" y="0"/>
                    <a:pt x="99" y="0"/>
                  </a:cubicBezTo>
                  <a:cubicBezTo>
                    <a:pt x="108" y="0"/>
                    <a:pt x="116" y="0"/>
                    <a:pt x="125" y="0"/>
                  </a:cubicBezTo>
                  <a:cubicBezTo>
                    <a:pt x="126" y="0"/>
                    <a:pt x="127" y="1"/>
                    <a:pt x="127" y="2"/>
                  </a:cubicBezTo>
                  <a:cubicBezTo>
                    <a:pt x="130" y="9"/>
                    <a:pt x="131" y="16"/>
                    <a:pt x="134" y="23"/>
                  </a:cubicBezTo>
                  <a:cubicBezTo>
                    <a:pt x="134" y="24"/>
                    <a:pt x="135" y="25"/>
                    <a:pt x="136" y="25"/>
                  </a:cubicBezTo>
                  <a:cubicBezTo>
                    <a:pt x="155" y="25"/>
                    <a:pt x="173" y="25"/>
                    <a:pt x="192" y="25"/>
                  </a:cubicBezTo>
                  <a:cubicBezTo>
                    <a:pt x="193" y="25"/>
                    <a:pt x="194" y="24"/>
                    <a:pt x="194" y="23"/>
                  </a:cubicBezTo>
                  <a:cubicBezTo>
                    <a:pt x="194" y="16"/>
                    <a:pt x="194" y="9"/>
                    <a:pt x="194" y="2"/>
                  </a:cubicBezTo>
                  <a:cubicBezTo>
                    <a:pt x="194" y="2"/>
                    <a:pt x="195" y="0"/>
                    <a:pt x="196" y="0"/>
                  </a:cubicBezTo>
                  <a:cubicBezTo>
                    <a:pt x="205" y="0"/>
                    <a:pt x="213" y="0"/>
                    <a:pt x="221" y="0"/>
                  </a:cubicBezTo>
                  <a:cubicBezTo>
                    <a:pt x="222" y="0"/>
                    <a:pt x="223" y="2"/>
                    <a:pt x="223" y="3"/>
                  </a:cubicBezTo>
                  <a:cubicBezTo>
                    <a:pt x="224" y="9"/>
                    <a:pt x="223" y="16"/>
                    <a:pt x="224" y="23"/>
                  </a:cubicBezTo>
                  <a:cubicBezTo>
                    <a:pt x="224" y="23"/>
                    <a:pt x="225" y="25"/>
                    <a:pt x="226" y="25"/>
                  </a:cubicBezTo>
                  <a:cubicBezTo>
                    <a:pt x="236" y="25"/>
                    <a:pt x="246" y="25"/>
                    <a:pt x="256" y="25"/>
                  </a:cubicBezTo>
                  <a:close/>
                  <a:moveTo>
                    <a:pt x="364" y="55"/>
                  </a:moveTo>
                  <a:cubicBezTo>
                    <a:pt x="363" y="55"/>
                    <a:pt x="363" y="55"/>
                    <a:pt x="362" y="55"/>
                  </a:cubicBezTo>
                  <a:cubicBezTo>
                    <a:pt x="345" y="55"/>
                    <a:pt x="328" y="54"/>
                    <a:pt x="311" y="55"/>
                  </a:cubicBezTo>
                  <a:cubicBezTo>
                    <a:pt x="310" y="55"/>
                    <a:pt x="308" y="56"/>
                    <a:pt x="307" y="56"/>
                  </a:cubicBezTo>
                  <a:cubicBezTo>
                    <a:pt x="295" y="81"/>
                    <a:pt x="279" y="103"/>
                    <a:pt x="257" y="120"/>
                  </a:cubicBezTo>
                  <a:cubicBezTo>
                    <a:pt x="257" y="121"/>
                    <a:pt x="257" y="121"/>
                    <a:pt x="256" y="121"/>
                  </a:cubicBezTo>
                  <a:cubicBezTo>
                    <a:pt x="257" y="122"/>
                    <a:pt x="257" y="122"/>
                    <a:pt x="258" y="122"/>
                  </a:cubicBezTo>
                  <a:cubicBezTo>
                    <a:pt x="300" y="111"/>
                    <a:pt x="335" y="90"/>
                    <a:pt x="363" y="56"/>
                  </a:cubicBezTo>
                  <a:cubicBezTo>
                    <a:pt x="363" y="56"/>
                    <a:pt x="364" y="55"/>
                    <a:pt x="364" y="55"/>
                  </a:cubicBezTo>
                  <a:close/>
                  <a:moveTo>
                    <a:pt x="87" y="55"/>
                  </a:moveTo>
                  <a:cubicBezTo>
                    <a:pt x="79" y="55"/>
                    <a:pt x="71" y="54"/>
                    <a:pt x="62" y="55"/>
                  </a:cubicBezTo>
                  <a:cubicBezTo>
                    <a:pt x="62" y="55"/>
                    <a:pt x="61" y="55"/>
                    <a:pt x="61" y="55"/>
                  </a:cubicBezTo>
                  <a:cubicBezTo>
                    <a:pt x="61" y="55"/>
                    <a:pt x="61" y="56"/>
                    <a:pt x="62" y="56"/>
                  </a:cubicBezTo>
                  <a:cubicBezTo>
                    <a:pt x="86" y="86"/>
                    <a:pt x="118" y="107"/>
                    <a:pt x="155" y="118"/>
                  </a:cubicBezTo>
                  <a:cubicBezTo>
                    <a:pt x="156" y="118"/>
                    <a:pt x="156" y="118"/>
                    <a:pt x="156" y="118"/>
                  </a:cubicBezTo>
                  <a:cubicBezTo>
                    <a:pt x="156" y="118"/>
                    <a:pt x="156" y="118"/>
                    <a:pt x="156" y="117"/>
                  </a:cubicBezTo>
                  <a:cubicBezTo>
                    <a:pt x="137" y="100"/>
                    <a:pt x="124" y="79"/>
                    <a:pt x="114" y="56"/>
                  </a:cubicBezTo>
                  <a:cubicBezTo>
                    <a:pt x="114" y="55"/>
                    <a:pt x="112" y="55"/>
                    <a:pt x="111" y="55"/>
                  </a:cubicBezTo>
                  <a:cubicBezTo>
                    <a:pt x="103" y="54"/>
                    <a:pt x="95" y="55"/>
                    <a:pt x="87" y="55"/>
                  </a:cubicBezTo>
                  <a:close/>
                  <a:moveTo>
                    <a:pt x="224" y="81"/>
                  </a:moveTo>
                  <a:cubicBezTo>
                    <a:pt x="224" y="89"/>
                    <a:pt x="224" y="98"/>
                    <a:pt x="224" y="106"/>
                  </a:cubicBezTo>
                  <a:cubicBezTo>
                    <a:pt x="224" y="107"/>
                    <a:pt x="224" y="107"/>
                    <a:pt x="224" y="108"/>
                  </a:cubicBezTo>
                  <a:cubicBezTo>
                    <a:pt x="224" y="108"/>
                    <a:pt x="225" y="107"/>
                    <a:pt x="226" y="107"/>
                  </a:cubicBezTo>
                  <a:cubicBezTo>
                    <a:pt x="246" y="94"/>
                    <a:pt x="261" y="76"/>
                    <a:pt x="273" y="56"/>
                  </a:cubicBezTo>
                  <a:cubicBezTo>
                    <a:pt x="274" y="56"/>
                    <a:pt x="273" y="55"/>
                    <a:pt x="272" y="55"/>
                  </a:cubicBezTo>
                  <a:cubicBezTo>
                    <a:pt x="257" y="54"/>
                    <a:pt x="241" y="54"/>
                    <a:pt x="225" y="55"/>
                  </a:cubicBezTo>
                  <a:cubicBezTo>
                    <a:pt x="225" y="55"/>
                    <a:pt x="224" y="56"/>
                    <a:pt x="224" y="56"/>
                  </a:cubicBezTo>
                  <a:cubicBezTo>
                    <a:pt x="224" y="65"/>
                    <a:pt x="224" y="73"/>
                    <a:pt x="224" y="81"/>
                  </a:cubicBezTo>
                  <a:close/>
                  <a:moveTo>
                    <a:pt x="194" y="82"/>
                  </a:moveTo>
                  <a:cubicBezTo>
                    <a:pt x="194" y="73"/>
                    <a:pt x="194" y="65"/>
                    <a:pt x="194" y="56"/>
                  </a:cubicBezTo>
                  <a:cubicBezTo>
                    <a:pt x="194" y="56"/>
                    <a:pt x="193" y="55"/>
                    <a:pt x="192" y="55"/>
                  </a:cubicBezTo>
                  <a:cubicBezTo>
                    <a:pt x="178" y="54"/>
                    <a:pt x="163" y="54"/>
                    <a:pt x="148" y="55"/>
                  </a:cubicBezTo>
                  <a:cubicBezTo>
                    <a:pt x="148" y="55"/>
                    <a:pt x="147" y="56"/>
                    <a:pt x="147" y="56"/>
                  </a:cubicBezTo>
                  <a:cubicBezTo>
                    <a:pt x="158" y="77"/>
                    <a:pt x="172" y="95"/>
                    <a:pt x="192" y="109"/>
                  </a:cubicBezTo>
                  <a:cubicBezTo>
                    <a:pt x="193" y="109"/>
                    <a:pt x="193" y="109"/>
                    <a:pt x="194" y="109"/>
                  </a:cubicBezTo>
                  <a:cubicBezTo>
                    <a:pt x="194" y="109"/>
                    <a:pt x="194" y="108"/>
                    <a:pt x="194" y="108"/>
                  </a:cubicBezTo>
                  <a:cubicBezTo>
                    <a:pt x="194" y="99"/>
                    <a:pt x="194" y="91"/>
                    <a:pt x="194" y="8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47" name="Freeform 7">
              <a:extLst>
                <a:ext uri="{FF2B5EF4-FFF2-40B4-BE49-F238E27FC236}">
                  <a16:creationId xmlns:a16="http://schemas.microsoft.com/office/drawing/2014/main" id="{BAA2DC66-D523-4725-9384-AA70E4C61DD3}"/>
                </a:ext>
              </a:extLst>
            </p:cNvPr>
            <p:cNvSpPr>
              <a:spLocks noEditPoints="1"/>
            </p:cNvSpPr>
            <p:nvPr/>
          </p:nvSpPr>
          <p:spPr bwMode="gray">
            <a:xfrm>
              <a:off x="4945063" y="-41275"/>
              <a:ext cx="2108200" cy="860425"/>
            </a:xfrm>
            <a:custGeom>
              <a:avLst/>
              <a:gdLst>
                <a:gd name="T0" fmla="*/ 45 w 424"/>
                <a:gd name="T1" fmla="*/ 148 h 173"/>
                <a:gd name="T2" fmla="*/ 32 w 424"/>
                <a:gd name="T3" fmla="*/ 170 h 173"/>
                <a:gd name="T4" fmla="*/ 3 w 424"/>
                <a:gd name="T5" fmla="*/ 173 h 173"/>
                <a:gd name="T6" fmla="*/ 155 w 424"/>
                <a:gd name="T7" fmla="*/ 28 h 173"/>
                <a:gd name="T8" fmla="*/ 424 w 424"/>
                <a:gd name="T9" fmla="*/ 171 h 173"/>
                <a:gd name="T10" fmla="*/ 395 w 424"/>
                <a:gd name="T11" fmla="*/ 173 h 173"/>
                <a:gd name="T12" fmla="*/ 382 w 424"/>
                <a:gd name="T13" fmla="*/ 149 h 173"/>
                <a:gd name="T14" fmla="*/ 321 w 424"/>
                <a:gd name="T15" fmla="*/ 148 h 173"/>
                <a:gd name="T16" fmla="*/ 325 w 424"/>
                <a:gd name="T17" fmla="*/ 171 h 173"/>
                <a:gd name="T18" fmla="*/ 297 w 424"/>
                <a:gd name="T19" fmla="*/ 173 h 173"/>
                <a:gd name="T20" fmla="*/ 287 w 424"/>
                <a:gd name="T21" fmla="*/ 149 h 173"/>
                <a:gd name="T22" fmla="*/ 225 w 424"/>
                <a:gd name="T23" fmla="*/ 148 h 173"/>
                <a:gd name="T24" fmla="*/ 223 w 424"/>
                <a:gd name="T25" fmla="*/ 170 h 173"/>
                <a:gd name="T26" fmla="*/ 196 w 424"/>
                <a:gd name="T27" fmla="*/ 173 h 173"/>
                <a:gd name="T28" fmla="*/ 194 w 424"/>
                <a:gd name="T29" fmla="*/ 150 h 173"/>
                <a:gd name="T30" fmla="*/ 137 w 424"/>
                <a:gd name="T31" fmla="*/ 148 h 173"/>
                <a:gd name="T32" fmla="*/ 128 w 424"/>
                <a:gd name="T33" fmla="*/ 171 h 173"/>
                <a:gd name="T34" fmla="*/ 99 w 424"/>
                <a:gd name="T35" fmla="*/ 173 h 173"/>
                <a:gd name="T36" fmla="*/ 103 w 424"/>
                <a:gd name="T37" fmla="*/ 150 h 173"/>
                <a:gd name="T38" fmla="*/ 73 w 424"/>
                <a:gd name="T39" fmla="*/ 148 h 173"/>
                <a:gd name="T40" fmla="*/ 359 w 424"/>
                <a:gd name="T41" fmla="*/ 118 h 173"/>
                <a:gd name="T42" fmla="*/ 360 w 424"/>
                <a:gd name="T43" fmla="*/ 116 h 173"/>
                <a:gd name="T44" fmla="*/ 258 w 424"/>
                <a:gd name="T45" fmla="*/ 56 h 173"/>
                <a:gd name="T46" fmla="*/ 305 w 424"/>
                <a:gd name="T47" fmla="*/ 116 h 173"/>
                <a:gd name="T48" fmla="*/ 333 w 424"/>
                <a:gd name="T49" fmla="*/ 118 h 173"/>
                <a:gd name="T50" fmla="*/ 113 w 424"/>
                <a:gd name="T51" fmla="*/ 118 h 173"/>
                <a:gd name="T52" fmla="*/ 157 w 424"/>
                <a:gd name="T53" fmla="*/ 59 h 173"/>
                <a:gd name="T54" fmla="*/ 157 w 424"/>
                <a:gd name="T55" fmla="*/ 58 h 173"/>
                <a:gd name="T56" fmla="*/ 64 w 424"/>
                <a:gd name="T57" fmla="*/ 118 h 173"/>
                <a:gd name="T58" fmla="*/ 90 w 424"/>
                <a:gd name="T59" fmla="*/ 118 h 173"/>
                <a:gd name="T60" fmla="*/ 269 w 424"/>
                <a:gd name="T61" fmla="*/ 118 h 173"/>
                <a:gd name="T62" fmla="*/ 225 w 424"/>
                <a:gd name="T63" fmla="*/ 68 h 173"/>
                <a:gd name="T64" fmla="*/ 224 w 424"/>
                <a:gd name="T65" fmla="*/ 69 h 173"/>
                <a:gd name="T66" fmla="*/ 225 w 424"/>
                <a:gd name="T67" fmla="*/ 118 h 173"/>
                <a:gd name="T68" fmla="*/ 194 w 424"/>
                <a:gd name="T69" fmla="*/ 93 h 173"/>
                <a:gd name="T70" fmla="*/ 194 w 424"/>
                <a:gd name="T71" fmla="*/ 68 h 173"/>
                <a:gd name="T72" fmla="*/ 150 w 424"/>
                <a:gd name="T73" fmla="*/ 116 h 173"/>
                <a:gd name="T74" fmla="*/ 192 w 424"/>
                <a:gd name="T75" fmla="*/ 118 h 173"/>
                <a:gd name="T76" fmla="*/ 194 w 424"/>
                <a:gd name="T77" fmla="*/ 9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4" h="173">
                  <a:moveTo>
                    <a:pt x="73" y="148"/>
                  </a:moveTo>
                  <a:cubicBezTo>
                    <a:pt x="64" y="148"/>
                    <a:pt x="55" y="148"/>
                    <a:pt x="45" y="148"/>
                  </a:cubicBezTo>
                  <a:cubicBezTo>
                    <a:pt x="44" y="148"/>
                    <a:pt x="43" y="149"/>
                    <a:pt x="42" y="149"/>
                  </a:cubicBezTo>
                  <a:cubicBezTo>
                    <a:pt x="39" y="156"/>
                    <a:pt x="36" y="164"/>
                    <a:pt x="32" y="170"/>
                  </a:cubicBezTo>
                  <a:cubicBezTo>
                    <a:pt x="32" y="171"/>
                    <a:pt x="30" y="173"/>
                    <a:pt x="29" y="173"/>
                  </a:cubicBezTo>
                  <a:cubicBezTo>
                    <a:pt x="21" y="173"/>
                    <a:pt x="12" y="173"/>
                    <a:pt x="3" y="173"/>
                  </a:cubicBezTo>
                  <a:cubicBezTo>
                    <a:pt x="1" y="173"/>
                    <a:pt x="0" y="172"/>
                    <a:pt x="1" y="170"/>
                  </a:cubicBezTo>
                  <a:cubicBezTo>
                    <a:pt x="28" y="96"/>
                    <a:pt x="80" y="48"/>
                    <a:pt x="155" y="28"/>
                  </a:cubicBezTo>
                  <a:cubicBezTo>
                    <a:pt x="258" y="0"/>
                    <a:pt x="366" y="50"/>
                    <a:pt x="413" y="144"/>
                  </a:cubicBezTo>
                  <a:cubicBezTo>
                    <a:pt x="417" y="153"/>
                    <a:pt x="420" y="162"/>
                    <a:pt x="424" y="171"/>
                  </a:cubicBezTo>
                  <a:cubicBezTo>
                    <a:pt x="424" y="171"/>
                    <a:pt x="423" y="173"/>
                    <a:pt x="422" y="173"/>
                  </a:cubicBezTo>
                  <a:cubicBezTo>
                    <a:pt x="413" y="173"/>
                    <a:pt x="404" y="173"/>
                    <a:pt x="395" y="173"/>
                  </a:cubicBezTo>
                  <a:cubicBezTo>
                    <a:pt x="394" y="173"/>
                    <a:pt x="393" y="172"/>
                    <a:pt x="392" y="171"/>
                  </a:cubicBezTo>
                  <a:cubicBezTo>
                    <a:pt x="389" y="164"/>
                    <a:pt x="386" y="156"/>
                    <a:pt x="382" y="149"/>
                  </a:cubicBezTo>
                  <a:cubicBezTo>
                    <a:pt x="382" y="148"/>
                    <a:pt x="381" y="148"/>
                    <a:pt x="380" y="148"/>
                  </a:cubicBezTo>
                  <a:cubicBezTo>
                    <a:pt x="360" y="148"/>
                    <a:pt x="340" y="148"/>
                    <a:pt x="321" y="148"/>
                  </a:cubicBezTo>
                  <a:cubicBezTo>
                    <a:pt x="320" y="148"/>
                    <a:pt x="319" y="149"/>
                    <a:pt x="319" y="150"/>
                  </a:cubicBezTo>
                  <a:cubicBezTo>
                    <a:pt x="321" y="157"/>
                    <a:pt x="323" y="164"/>
                    <a:pt x="325" y="171"/>
                  </a:cubicBezTo>
                  <a:cubicBezTo>
                    <a:pt x="325" y="171"/>
                    <a:pt x="325" y="173"/>
                    <a:pt x="324" y="173"/>
                  </a:cubicBezTo>
                  <a:cubicBezTo>
                    <a:pt x="315" y="173"/>
                    <a:pt x="306" y="173"/>
                    <a:pt x="297" y="173"/>
                  </a:cubicBezTo>
                  <a:cubicBezTo>
                    <a:pt x="296" y="173"/>
                    <a:pt x="295" y="172"/>
                    <a:pt x="295" y="171"/>
                  </a:cubicBezTo>
                  <a:cubicBezTo>
                    <a:pt x="292" y="164"/>
                    <a:pt x="290" y="156"/>
                    <a:pt x="287" y="149"/>
                  </a:cubicBezTo>
                  <a:cubicBezTo>
                    <a:pt x="287" y="148"/>
                    <a:pt x="286" y="148"/>
                    <a:pt x="285" y="148"/>
                  </a:cubicBezTo>
                  <a:cubicBezTo>
                    <a:pt x="265" y="148"/>
                    <a:pt x="245" y="148"/>
                    <a:pt x="225" y="148"/>
                  </a:cubicBezTo>
                  <a:cubicBezTo>
                    <a:pt x="225" y="148"/>
                    <a:pt x="224" y="149"/>
                    <a:pt x="224" y="150"/>
                  </a:cubicBezTo>
                  <a:cubicBezTo>
                    <a:pt x="223" y="156"/>
                    <a:pt x="224" y="163"/>
                    <a:pt x="223" y="170"/>
                  </a:cubicBezTo>
                  <a:cubicBezTo>
                    <a:pt x="223" y="171"/>
                    <a:pt x="222" y="173"/>
                    <a:pt x="221" y="173"/>
                  </a:cubicBezTo>
                  <a:cubicBezTo>
                    <a:pt x="213" y="173"/>
                    <a:pt x="205" y="173"/>
                    <a:pt x="196" y="173"/>
                  </a:cubicBezTo>
                  <a:cubicBezTo>
                    <a:pt x="195" y="173"/>
                    <a:pt x="194" y="171"/>
                    <a:pt x="194" y="170"/>
                  </a:cubicBezTo>
                  <a:cubicBezTo>
                    <a:pt x="194" y="164"/>
                    <a:pt x="194" y="157"/>
                    <a:pt x="194" y="150"/>
                  </a:cubicBezTo>
                  <a:cubicBezTo>
                    <a:pt x="194" y="149"/>
                    <a:pt x="193" y="148"/>
                    <a:pt x="192" y="148"/>
                  </a:cubicBezTo>
                  <a:cubicBezTo>
                    <a:pt x="174" y="148"/>
                    <a:pt x="156" y="148"/>
                    <a:pt x="137" y="148"/>
                  </a:cubicBezTo>
                  <a:cubicBezTo>
                    <a:pt x="137" y="148"/>
                    <a:pt x="135" y="149"/>
                    <a:pt x="135" y="149"/>
                  </a:cubicBezTo>
                  <a:cubicBezTo>
                    <a:pt x="133" y="156"/>
                    <a:pt x="131" y="164"/>
                    <a:pt x="128" y="171"/>
                  </a:cubicBezTo>
                  <a:cubicBezTo>
                    <a:pt x="128" y="172"/>
                    <a:pt x="127" y="173"/>
                    <a:pt x="126" y="173"/>
                  </a:cubicBezTo>
                  <a:cubicBezTo>
                    <a:pt x="117" y="173"/>
                    <a:pt x="108" y="173"/>
                    <a:pt x="99" y="173"/>
                  </a:cubicBezTo>
                  <a:cubicBezTo>
                    <a:pt x="99" y="173"/>
                    <a:pt x="98" y="171"/>
                    <a:pt x="98" y="171"/>
                  </a:cubicBezTo>
                  <a:cubicBezTo>
                    <a:pt x="100" y="164"/>
                    <a:pt x="101" y="157"/>
                    <a:pt x="103" y="150"/>
                  </a:cubicBezTo>
                  <a:cubicBezTo>
                    <a:pt x="103" y="149"/>
                    <a:pt x="102" y="148"/>
                    <a:pt x="102" y="148"/>
                  </a:cubicBezTo>
                  <a:cubicBezTo>
                    <a:pt x="92" y="148"/>
                    <a:pt x="83" y="148"/>
                    <a:pt x="73" y="148"/>
                  </a:cubicBezTo>
                  <a:close/>
                  <a:moveTo>
                    <a:pt x="333" y="118"/>
                  </a:moveTo>
                  <a:cubicBezTo>
                    <a:pt x="342" y="118"/>
                    <a:pt x="350" y="118"/>
                    <a:pt x="359" y="118"/>
                  </a:cubicBezTo>
                  <a:cubicBezTo>
                    <a:pt x="359" y="118"/>
                    <a:pt x="360" y="118"/>
                    <a:pt x="360" y="118"/>
                  </a:cubicBezTo>
                  <a:cubicBezTo>
                    <a:pt x="360" y="117"/>
                    <a:pt x="360" y="117"/>
                    <a:pt x="360" y="116"/>
                  </a:cubicBezTo>
                  <a:cubicBezTo>
                    <a:pt x="332" y="86"/>
                    <a:pt x="299" y="66"/>
                    <a:pt x="259" y="56"/>
                  </a:cubicBezTo>
                  <a:cubicBezTo>
                    <a:pt x="259" y="56"/>
                    <a:pt x="258" y="56"/>
                    <a:pt x="258" y="56"/>
                  </a:cubicBezTo>
                  <a:cubicBezTo>
                    <a:pt x="258" y="56"/>
                    <a:pt x="258" y="57"/>
                    <a:pt x="259" y="57"/>
                  </a:cubicBezTo>
                  <a:cubicBezTo>
                    <a:pt x="278" y="74"/>
                    <a:pt x="293" y="94"/>
                    <a:pt x="305" y="116"/>
                  </a:cubicBezTo>
                  <a:cubicBezTo>
                    <a:pt x="305" y="117"/>
                    <a:pt x="307" y="118"/>
                    <a:pt x="308" y="118"/>
                  </a:cubicBezTo>
                  <a:cubicBezTo>
                    <a:pt x="316" y="118"/>
                    <a:pt x="325" y="118"/>
                    <a:pt x="333" y="118"/>
                  </a:cubicBezTo>
                  <a:close/>
                  <a:moveTo>
                    <a:pt x="90" y="118"/>
                  </a:moveTo>
                  <a:cubicBezTo>
                    <a:pt x="98" y="118"/>
                    <a:pt x="106" y="118"/>
                    <a:pt x="113" y="118"/>
                  </a:cubicBezTo>
                  <a:cubicBezTo>
                    <a:pt x="114" y="118"/>
                    <a:pt x="116" y="117"/>
                    <a:pt x="116" y="116"/>
                  </a:cubicBezTo>
                  <a:cubicBezTo>
                    <a:pt x="127" y="95"/>
                    <a:pt x="140" y="76"/>
                    <a:pt x="157" y="59"/>
                  </a:cubicBezTo>
                  <a:cubicBezTo>
                    <a:pt x="158" y="59"/>
                    <a:pt x="158" y="58"/>
                    <a:pt x="158" y="58"/>
                  </a:cubicBezTo>
                  <a:cubicBezTo>
                    <a:pt x="158" y="58"/>
                    <a:pt x="157" y="58"/>
                    <a:pt x="157" y="58"/>
                  </a:cubicBezTo>
                  <a:cubicBezTo>
                    <a:pt x="121" y="69"/>
                    <a:pt x="90" y="88"/>
                    <a:pt x="65" y="116"/>
                  </a:cubicBezTo>
                  <a:cubicBezTo>
                    <a:pt x="65" y="117"/>
                    <a:pt x="65" y="117"/>
                    <a:pt x="64" y="118"/>
                  </a:cubicBezTo>
                  <a:cubicBezTo>
                    <a:pt x="65" y="118"/>
                    <a:pt x="65" y="118"/>
                    <a:pt x="66" y="118"/>
                  </a:cubicBezTo>
                  <a:cubicBezTo>
                    <a:pt x="74" y="118"/>
                    <a:pt x="82" y="118"/>
                    <a:pt x="90" y="118"/>
                  </a:cubicBezTo>
                  <a:close/>
                  <a:moveTo>
                    <a:pt x="247" y="118"/>
                  </a:moveTo>
                  <a:cubicBezTo>
                    <a:pt x="255" y="118"/>
                    <a:pt x="262" y="118"/>
                    <a:pt x="269" y="118"/>
                  </a:cubicBezTo>
                  <a:cubicBezTo>
                    <a:pt x="270" y="118"/>
                    <a:pt x="270" y="117"/>
                    <a:pt x="270" y="116"/>
                  </a:cubicBezTo>
                  <a:cubicBezTo>
                    <a:pt x="258" y="98"/>
                    <a:pt x="244" y="81"/>
                    <a:pt x="225" y="68"/>
                  </a:cubicBezTo>
                  <a:cubicBezTo>
                    <a:pt x="225" y="68"/>
                    <a:pt x="224" y="68"/>
                    <a:pt x="224" y="67"/>
                  </a:cubicBezTo>
                  <a:cubicBezTo>
                    <a:pt x="224" y="68"/>
                    <a:pt x="224" y="69"/>
                    <a:pt x="224" y="69"/>
                  </a:cubicBezTo>
                  <a:cubicBezTo>
                    <a:pt x="224" y="85"/>
                    <a:pt x="224" y="100"/>
                    <a:pt x="224" y="116"/>
                  </a:cubicBezTo>
                  <a:cubicBezTo>
                    <a:pt x="224" y="117"/>
                    <a:pt x="225" y="118"/>
                    <a:pt x="225" y="118"/>
                  </a:cubicBezTo>
                  <a:cubicBezTo>
                    <a:pt x="233" y="118"/>
                    <a:pt x="240" y="118"/>
                    <a:pt x="247" y="118"/>
                  </a:cubicBezTo>
                  <a:close/>
                  <a:moveTo>
                    <a:pt x="194" y="93"/>
                  </a:moveTo>
                  <a:cubicBezTo>
                    <a:pt x="194" y="85"/>
                    <a:pt x="194" y="78"/>
                    <a:pt x="194" y="70"/>
                  </a:cubicBezTo>
                  <a:cubicBezTo>
                    <a:pt x="194" y="69"/>
                    <a:pt x="194" y="68"/>
                    <a:pt x="194" y="68"/>
                  </a:cubicBezTo>
                  <a:cubicBezTo>
                    <a:pt x="193" y="68"/>
                    <a:pt x="192" y="68"/>
                    <a:pt x="192" y="69"/>
                  </a:cubicBezTo>
                  <a:cubicBezTo>
                    <a:pt x="175" y="82"/>
                    <a:pt x="161" y="98"/>
                    <a:pt x="150" y="116"/>
                  </a:cubicBezTo>
                  <a:cubicBezTo>
                    <a:pt x="150" y="117"/>
                    <a:pt x="151" y="118"/>
                    <a:pt x="151" y="118"/>
                  </a:cubicBezTo>
                  <a:cubicBezTo>
                    <a:pt x="165" y="118"/>
                    <a:pt x="179" y="118"/>
                    <a:pt x="192" y="118"/>
                  </a:cubicBezTo>
                  <a:cubicBezTo>
                    <a:pt x="193" y="118"/>
                    <a:pt x="194" y="117"/>
                    <a:pt x="194" y="116"/>
                  </a:cubicBezTo>
                  <a:cubicBezTo>
                    <a:pt x="194" y="108"/>
                    <a:pt x="194" y="101"/>
                    <a:pt x="194" y="9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48" name="Freeform 8">
              <a:extLst>
                <a:ext uri="{FF2B5EF4-FFF2-40B4-BE49-F238E27FC236}">
                  <a16:creationId xmlns:a16="http://schemas.microsoft.com/office/drawing/2014/main" id="{575115B3-4C7D-4A6F-93E9-3A63D5591B69}"/>
                </a:ext>
              </a:extLst>
            </p:cNvPr>
            <p:cNvSpPr>
              <a:spLocks/>
            </p:cNvSpPr>
            <p:nvPr/>
          </p:nvSpPr>
          <p:spPr bwMode="gray">
            <a:xfrm>
              <a:off x="4933951" y="952500"/>
              <a:ext cx="617538" cy="363538"/>
            </a:xfrm>
            <a:custGeom>
              <a:avLst/>
              <a:gdLst>
                <a:gd name="T0" fmla="*/ 90 w 124"/>
                <a:gd name="T1" fmla="*/ 72 h 73"/>
                <a:gd name="T2" fmla="*/ 77 w 124"/>
                <a:gd name="T3" fmla="*/ 63 h 73"/>
                <a:gd name="T4" fmla="*/ 63 w 124"/>
                <a:gd name="T5" fmla="*/ 23 h 73"/>
                <a:gd name="T6" fmla="*/ 62 w 124"/>
                <a:gd name="T7" fmla="*/ 21 h 73"/>
                <a:gd name="T8" fmla="*/ 61 w 124"/>
                <a:gd name="T9" fmla="*/ 23 h 73"/>
                <a:gd name="T10" fmla="*/ 46 w 124"/>
                <a:gd name="T11" fmla="*/ 64 h 73"/>
                <a:gd name="T12" fmla="*/ 32 w 124"/>
                <a:gd name="T13" fmla="*/ 73 h 73"/>
                <a:gd name="T14" fmla="*/ 19 w 124"/>
                <a:gd name="T15" fmla="*/ 63 h 73"/>
                <a:gd name="T16" fmla="*/ 2 w 124"/>
                <a:gd name="T17" fmla="*/ 14 h 73"/>
                <a:gd name="T18" fmla="*/ 6 w 124"/>
                <a:gd name="T19" fmla="*/ 2 h 73"/>
                <a:gd name="T20" fmla="*/ 21 w 124"/>
                <a:gd name="T21" fmla="*/ 7 h 73"/>
                <a:gd name="T22" fmla="*/ 31 w 124"/>
                <a:gd name="T23" fmla="*/ 41 h 73"/>
                <a:gd name="T24" fmla="*/ 34 w 124"/>
                <a:gd name="T25" fmla="*/ 49 h 73"/>
                <a:gd name="T26" fmla="*/ 37 w 124"/>
                <a:gd name="T27" fmla="*/ 42 h 73"/>
                <a:gd name="T28" fmla="*/ 47 w 124"/>
                <a:gd name="T29" fmla="*/ 11 h 73"/>
                <a:gd name="T30" fmla="*/ 62 w 124"/>
                <a:gd name="T31" fmla="*/ 1 h 73"/>
                <a:gd name="T32" fmla="*/ 76 w 124"/>
                <a:gd name="T33" fmla="*/ 11 h 73"/>
                <a:gd name="T34" fmla="*/ 89 w 124"/>
                <a:gd name="T35" fmla="*/ 47 h 73"/>
                <a:gd name="T36" fmla="*/ 90 w 124"/>
                <a:gd name="T37" fmla="*/ 49 h 73"/>
                <a:gd name="T38" fmla="*/ 90 w 124"/>
                <a:gd name="T39" fmla="*/ 47 h 73"/>
                <a:gd name="T40" fmla="*/ 101 w 124"/>
                <a:gd name="T41" fmla="*/ 10 h 73"/>
                <a:gd name="T42" fmla="*/ 113 w 124"/>
                <a:gd name="T43" fmla="*/ 1 h 73"/>
                <a:gd name="T44" fmla="*/ 121 w 124"/>
                <a:gd name="T45" fmla="*/ 13 h 73"/>
                <a:gd name="T46" fmla="*/ 104 w 124"/>
                <a:gd name="T47" fmla="*/ 63 h 73"/>
                <a:gd name="T48" fmla="*/ 90 w 124"/>
                <a:gd name="T49"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73">
                  <a:moveTo>
                    <a:pt x="90" y="72"/>
                  </a:moveTo>
                  <a:cubicBezTo>
                    <a:pt x="84" y="73"/>
                    <a:pt x="79" y="70"/>
                    <a:pt x="77" y="63"/>
                  </a:cubicBezTo>
                  <a:cubicBezTo>
                    <a:pt x="72" y="50"/>
                    <a:pt x="67" y="37"/>
                    <a:pt x="63" y="23"/>
                  </a:cubicBezTo>
                  <a:cubicBezTo>
                    <a:pt x="62" y="22"/>
                    <a:pt x="62" y="22"/>
                    <a:pt x="62" y="21"/>
                  </a:cubicBezTo>
                  <a:cubicBezTo>
                    <a:pt x="61" y="22"/>
                    <a:pt x="61" y="22"/>
                    <a:pt x="61" y="23"/>
                  </a:cubicBezTo>
                  <a:cubicBezTo>
                    <a:pt x="56" y="37"/>
                    <a:pt x="51" y="50"/>
                    <a:pt x="46" y="64"/>
                  </a:cubicBezTo>
                  <a:cubicBezTo>
                    <a:pt x="44" y="70"/>
                    <a:pt x="40" y="73"/>
                    <a:pt x="32" y="73"/>
                  </a:cubicBezTo>
                  <a:cubicBezTo>
                    <a:pt x="25" y="72"/>
                    <a:pt x="21" y="69"/>
                    <a:pt x="19" y="63"/>
                  </a:cubicBezTo>
                  <a:cubicBezTo>
                    <a:pt x="13" y="47"/>
                    <a:pt x="8" y="30"/>
                    <a:pt x="2" y="14"/>
                  </a:cubicBezTo>
                  <a:cubicBezTo>
                    <a:pt x="0" y="8"/>
                    <a:pt x="1" y="4"/>
                    <a:pt x="6" y="2"/>
                  </a:cubicBezTo>
                  <a:cubicBezTo>
                    <a:pt x="12" y="0"/>
                    <a:pt x="19" y="2"/>
                    <a:pt x="21" y="7"/>
                  </a:cubicBezTo>
                  <a:cubicBezTo>
                    <a:pt x="25" y="18"/>
                    <a:pt x="28" y="30"/>
                    <a:pt x="31" y="41"/>
                  </a:cubicBezTo>
                  <a:cubicBezTo>
                    <a:pt x="32" y="44"/>
                    <a:pt x="33" y="47"/>
                    <a:pt x="34" y="49"/>
                  </a:cubicBezTo>
                  <a:cubicBezTo>
                    <a:pt x="35" y="47"/>
                    <a:pt x="36" y="44"/>
                    <a:pt x="37" y="42"/>
                  </a:cubicBezTo>
                  <a:cubicBezTo>
                    <a:pt x="40" y="31"/>
                    <a:pt x="44" y="21"/>
                    <a:pt x="47" y="11"/>
                  </a:cubicBezTo>
                  <a:cubicBezTo>
                    <a:pt x="50" y="4"/>
                    <a:pt x="54" y="1"/>
                    <a:pt x="62" y="1"/>
                  </a:cubicBezTo>
                  <a:cubicBezTo>
                    <a:pt x="69" y="1"/>
                    <a:pt x="73" y="4"/>
                    <a:pt x="76" y="11"/>
                  </a:cubicBezTo>
                  <a:cubicBezTo>
                    <a:pt x="80" y="23"/>
                    <a:pt x="84" y="35"/>
                    <a:pt x="89" y="47"/>
                  </a:cubicBezTo>
                  <a:cubicBezTo>
                    <a:pt x="89" y="48"/>
                    <a:pt x="89" y="49"/>
                    <a:pt x="90" y="49"/>
                  </a:cubicBezTo>
                  <a:cubicBezTo>
                    <a:pt x="90" y="48"/>
                    <a:pt x="90" y="48"/>
                    <a:pt x="90" y="47"/>
                  </a:cubicBezTo>
                  <a:cubicBezTo>
                    <a:pt x="94" y="35"/>
                    <a:pt x="97" y="23"/>
                    <a:pt x="101" y="10"/>
                  </a:cubicBezTo>
                  <a:cubicBezTo>
                    <a:pt x="103" y="3"/>
                    <a:pt x="106" y="1"/>
                    <a:pt x="113" y="1"/>
                  </a:cubicBezTo>
                  <a:cubicBezTo>
                    <a:pt x="121" y="2"/>
                    <a:pt x="124" y="6"/>
                    <a:pt x="121" y="13"/>
                  </a:cubicBezTo>
                  <a:cubicBezTo>
                    <a:pt x="116" y="30"/>
                    <a:pt x="110" y="47"/>
                    <a:pt x="104" y="63"/>
                  </a:cubicBezTo>
                  <a:cubicBezTo>
                    <a:pt x="102" y="70"/>
                    <a:pt x="98" y="72"/>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49" name="Freeform 9">
              <a:extLst>
                <a:ext uri="{FF2B5EF4-FFF2-40B4-BE49-F238E27FC236}">
                  <a16:creationId xmlns:a16="http://schemas.microsoft.com/office/drawing/2014/main" id="{CFB7063B-0DFA-4BB9-957F-7F068926E556}"/>
                </a:ext>
              </a:extLst>
            </p:cNvPr>
            <p:cNvSpPr>
              <a:spLocks/>
            </p:cNvSpPr>
            <p:nvPr/>
          </p:nvSpPr>
          <p:spPr bwMode="gray">
            <a:xfrm>
              <a:off x="6446838" y="952500"/>
              <a:ext cx="617538" cy="363538"/>
            </a:xfrm>
            <a:custGeom>
              <a:avLst/>
              <a:gdLst>
                <a:gd name="T0" fmla="*/ 90 w 124"/>
                <a:gd name="T1" fmla="*/ 72 h 73"/>
                <a:gd name="T2" fmla="*/ 77 w 124"/>
                <a:gd name="T3" fmla="*/ 63 h 73"/>
                <a:gd name="T4" fmla="*/ 63 w 124"/>
                <a:gd name="T5" fmla="*/ 23 h 73"/>
                <a:gd name="T6" fmla="*/ 62 w 124"/>
                <a:gd name="T7" fmla="*/ 21 h 73"/>
                <a:gd name="T8" fmla="*/ 61 w 124"/>
                <a:gd name="T9" fmla="*/ 23 h 73"/>
                <a:gd name="T10" fmla="*/ 47 w 124"/>
                <a:gd name="T11" fmla="*/ 63 h 73"/>
                <a:gd name="T12" fmla="*/ 32 w 124"/>
                <a:gd name="T13" fmla="*/ 72 h 73"/>
                <a:gd name="T14" fmla="*/ 19 w 124"/>
                <a:gd name="T15" fmla="*/ 63 h 73"/>
                <a:gd name="T16" fmla="*/ 2 w 124"/>
                <a:gd name="T17" fmla="*/ 14 h 73"/>
                <a:gd name="T18" fmla="*/ 6 w 124"/>
                <a:gd name="T19" fmla="*/ 2 h 73"/>
                <a:gd name="T20" fmla="*/ 21 w 124"/>
                <a:gd name="T21" fmla="*/ 6 h 73"/>
                <a:gd name="T22" fmla="*/ 31 w 124"/>
                <a:gd name="T23" fmla="*/ 40 h 73"/>
                <a:gd name="T24" fmla="*/ 33 w 124"/>
                <a:gd name="T25" fmla="*/ 48 h 73"/>
                <a:gd name="T26" fmla="*/ 34 w 124"/>
                <a:gd name="T27" fmla="*/ 49 h 73"/>
                <a:gd name="T28" fmla="*/ 35 w 124"/>
                <a:gd name="T29" fmla="*/ 48 h 73"/>
                <a:gd name="T30" fmla="*/ 47 w 124"/>
                <a:gd name="T31" fmla="*/ 12 h 73"/>
                <a:gd name="T32" fmla="*/ 62 w 124"/>
                <a:gd name="T33" fmla="*/ 1 h 73"/>
                <a:gd name="T34" fmla="*/ 76 w 124"/>
                <a:gd name="T35" fmla="*/ 12 h 73"/>
                <a:gd name="T36" fmla="*/ 89 w 124"/>
                <a:gd name="T37" fmla="*/ 48 h 73"/>
                <a:gd name="T38" fmla="*/ 90 w 124"/>
                <a:gd name="T39" fmla="*/ 49 h 73"/>
                <a:gd name="T40" fmla="*/ 90 w 124"/>
                <a:gd name="T41" fmla="*/ 48 h 73"/>
                <a:gd name="T42" fmla="*/ 101 w 124"/>
                <a:gd name="T43" fmla="*/ 10 h 73"/>
                <a:gd name="T44" fmla="*/ 112 w 124"/>
                <a:gd name="T45" fmla="*/ 1 h 73"/>
                <a:gd name="T46" fmla="*/ 121 w 124"/>
                <a:gd name="T47" fmla="*/ 14 h 73"/>
                <a:gd name="T48" fmla="*/ 104 w 124"/>
                <a:gd name="T49" fmla="*/ 63 h 73"/>
                <a:gd name="T50" fmla="*/ 90 w 124"/>
                <a:gd name="T51"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 h="73">
                  <a:moveTo>
                    <a:pt x="90" y="72"/>
                  </a:moveTo>
                  <a:cubicBezTo>
                    <a:pt x="84" y="73"/>
                    <a:pt x="79" y="70"/>
                    <a:pt x="77" y="63"/>
                  </a:cubicBezTo>
                  <a:cubicBezTo>
                    <a:pt x="72" y="50"/>
                    <a:pt x="68" y="36"/>
                    <a:pt x="63" y="23"/>
                  </a:cubicBezTo>
                  <a:cubicBezTo>
                    <a:pt x="63" y="22"/>
                    <a:pt x="62" y="22"/>
                    <a:pt x="62" y="21"/>
                  </a:cubicBezTo>
                  <a:cubicBezTo>
                    <a:pt x="62" y="22"/>
                    <a:pt x="61" y="22"/>
                    <a:pt x="61" y="23"/>
                  </a:cubicBezTo>
                  <a:cubicBezTo>
                    <a:pt x="56" y="36"/>
                    <a:pt x="52" y="50"/>
                    <a:pt x="47" y="63"/>
                  </a:cubicBezTo>
                  <a:cubicBezTo>
                    <a:pt x="44" y="70"/>
                    <a:pt x="40" y="73"/>
                    <a:pt x="32" y="72"/>
                  </a:cubicBezTo>
                  <a:cubicBezTo>
                    <a:pt x="25" y="72"/>
                    <a:pt x="22" y="70"/>
                    <a:pt x="19" y="63"/>
                  </a:cubicBezTo>
                  <a:cubicBezTo>
                    <a:pt x="13" y="46"/>
                    <a:pt x="8" y="30"/>
                    <a:pt x="2" y="14"/>
                  </a:cubicBezTo>
                  <a:cubicBezTo>
                    <a:pt x="0" y="9"/>
                    <a:pt x="0" y="5"/>
                    <a:pt x="6" y="2"/>
                  </a:cubicBezTo>
                  <a:cubicBezTo>
                    <a:pt x="12" y="0"/>
                    <a:pt x="19" y="1"/>
                    <a:pt x="21" y="6"/>
                  </a:cubicBezTo>
                  <a:cubicBezTo>
                    <a:pt x="25" y="17"/>
                    <a:pt x="28" y="29"/>
                    <a:pt x="31" y="40"/>
                  </a:cubicBezTo>
                  <a:cubicBezTo>
                    <a:pt x="32" y="42"/>
                    <a:pt x="33" y="45"/>
                    <a:pt x="33" y="48"/>
                  </a:cubicBezTo>
                  <a:cubicBezTo>
                    <a:pt x="33" y="48"/>
                    <a:pt x="34" y="49"/>
                    <a:pt x="34" y="49"/>
                  </a:cubicBezTo>
                  <a:cubicBezTo>
                    <a:pt x="34" y="49"/>
                    <a:pt x="34" y="48"/>
                    <a:pt x="35" y="48"/>
                  </a:cubicBezTo>
                  <a:cubicBezTo>
                    <a:pt x="39" y="36"/>
                    <a:pt x="43" y="24"/>
                    <a:pt x="47" y="12"/>
                  </a:cubicBezTo>
                  <a:cubicBezTo>
                    <a:pt x="50" y="4"/>
                    <a:pt x="54" y="1"/>
                    <a:pt x="62" y="1"/>
                  </a:cubicBezTo>
                  <a:cubicBezTo>
                    <a:pt x="70" y="1"/>
                    <a:pt x="73" y="4"/>
                    <a:pt x="76" y="12"/>
                  </a:cubicBezTo>
                  <a:cubicBezTo>
                    <a:pt x="81" y="23"/>
                    <a:pt x="85" y="36"/>
                    <a:pt x="89" y="48"/>
                  </a:cubicBezTo>
                  <a:cubicBezTo>
                    <a:pt x="89" y="48"/>
                    <a:pt x="90" y="49"/>
                    <a:pt x="90" y="49"/>
                  </a:cubicBezTo>
                  <a:cubicBezTo>
                    <a:pt x="90" y="49"/>
                    <a:pt x="90" y="48"/>
                    <a:pt x="90" y="48"/>
                  </a:cubicBezTo>
                  <a:cubicBezTo>
                    <a:pt x="94" y="35"/>
                    <a:pt x="98" y="23"/>
                    <a:pt x="101" y="10"/>
                  </a:cubicBezTo>
                  <a:cubicBezTo>
                    <a:pt x="103" y="5"/>
                    <a:pt x="106" y="2"/>
                    <a:pt x="112" y="1"/>
                  </a:cubicBezTo>
                  <a:cubicBezTo>
                    <a:pt x="121" y="1"/>
                    <a:pt x="124" y="6"/>
                    <a:pt x="121" y="14"/>
                  </a:cubicBezTo>
                  <a:cubicBezTo>
                    <a:pt x="116" y="31"/>
                    <a:pt x="110" y="47"/>
                    <a:pt x="104" y="63"/>
                  </a:cubicBezTo>
                  <a:cubicBezTo>
                    <a:pt x="102" y="70"/>
                    <a:pt x="98" y="72"/>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50" name="Freeform 10">
              <a:extLst>
                <a:ext uri="{FF2B5EF4-FFF2-40B4-BE49-F238E27FC236}">
                  <a16:creationId xmlns:a16="http://schemas.microsoft.com/office/drawing/2014/main" id="{131A025F-51C1-46B8-8513-E958EFF8699E}"/>
                </a:ext>
              </a:extLst>
            </p:cNvPr>
            <p:cNvSpPr>
              <a:spLocks/>
            </p:cNvSpPr>
            <p:nvPr/>
          </p:nvSpPr>
          <p:spPr bwMode="gray">
            <a:xfrm>
              <a:off x="5691188" y="952500"/>
              <a:ext cx="615950" cy="363538"/>
            </a:xfrm>
            <a:custGeom>
              <a:avLst/>
              <a:gdLst>
                <a:gd name="T0" fmla="*/ 90 w 124"/>
                <a:gd name="T1" fmla="*/ 72 h 73"/>
                <a:gd name="T2" fmla="*/ 77 w 124"/>
                <a:gd name="T3" fmla="*/ 64 h 73"/>
                <a:gd name="T4" fmla="*/ 63 w 124"/>
                <a:gd name="T5" fmla="*/ 23 h 73"/>
                <a:gd name="T6" fmla="*/ 62 w 124"/>
                <a:gd name="T7" fmla="*/ 21 h 73"/>
                <a:gd name="T8" fmla="*/ 61 w 124"/>
                <a:gd name="T9" fmla="*/ 23 h 73"/>
                <a:gd name="T10" fmla="*/ 46 w 124"/>
                <a:gd name="T11" fmla="*/ 63 h 73"/>
                <a:gd name="T12" fmla="*/ 32 w 124"/>
                <a:gd name="T13" fmla="*/ 72 h 73"/>
                <a:gd name="T14" fmla="*/ 19 w 124"/>
                <a:gd name="T15" fmla="*/ 63 h 73"/>
                <a:gd name="T16" fmla="*/ 2 w 124"/>
                <a:gd name="T17" fmla="*/ 14 h 73"/>
                <a:gd name="T18" fmla="*/ 6 w 124"/>
                <a:gd name="T19" fmla="*/ 2 h 73"/>
                <a:gd name="T20" fmla="*/ 21 w 124"/>
                <a:gd name="T21" fmla="*/ 7 h 73"/>
                <a:gd name="T22" fmla="*/ 31 w 124"/>
                <a:gd name="T23" fmla="*/ 42 h 73"/>
                <a:gd name="T24" fmla="*/ 34 w 124"/>
                <a:gd name="T25" fmla="*/ 49 h 73"/>
                <a:gd name="T26" fmla="*/ 37 w 124"/>
                <a:gd name="T27" fmla="*/ 42 h 73"/>
                <a:gd name="T28" fmla="*/ 48 w 124"/>
                <a:gd name="T29" fmla="*/ 10 h 73"/>
                <a:gd name="T30" fmla="*/ 62 w 124"/>
                <a:gd name="T31" fmla="*/ 1 h 73"/>
                <a:gd name="T32" fmla="*/ 76 w 124"/>
                <a:gd name="T33" fmla="*/ 10 h 73"/>
                <a:gd name="T34" fmla="*/ 89 w 124"/>
                <a:gd name="T35" fmla="*/ 47 h 73"/>
                <a:gd name="T36" fmla="*/ 90 w 124"/>
                <a:gd name="T37" fmla="*/ 49 h 73"/>
                <a:gd name="T38" fmla="*/ 91 w 124"/>
                <a:gd name="T39" fmla="*/ 47 h 73"/>
                <a:gd name="T40" fmla="*/ 101 w 124"/>
                <a:gd name="T41" fmla="*/ 10 h 73"/>
                <a:gd name="T42" fmla="*/ 116 w 124"/>
                <a:gd name="T43" fmla="*/ 2 h 73"/>
                <a:gd name="T44" fmla="*/ 122 w 124"/>
                <a:gd name="T45" fmla="*/ 12 h 73"/>
                <a:gd name="T46" fmla="*/ 104 w 124"/>
                <a:gd name="T47" fmla="*/ 65 h 73"/>
                <a:gd name="T48" fmla="*/ 90 w 124"/>
                <a:gd name="T49"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73">
                  <a:moveTo>
                    <a:pt x="90" y="72"/>
                  </a:moveTo>
                  <a:cubicBezTo>
                    <a:pt x="84" y="73"/>
                    <a:pt x="79" y="70"/>
                    <a:pt x="77" y="64"/>
                  </a:cubicBezTo>
                  <a:cubicBezTo>
                    <a:pt x="72" y="50"/>
                    <a:pt x="68" y="36"/>
                    <a:pt x="63" y="23"/>
                  </a:cubicBezTo>
                  <a:cubicBezTo>
                    <a:pt x="62" y="22"/>
                    <a:pt x="62" y="22"/>
                    <a:pt x="62" y="21"/>
                  </a:cubicBezTo>
                  <a:cubicBezTo>
                    <a:pt x="61" y="22"/>
                    <a:pt x="61" y="22"/>
                    <a:pt x="61" y="23"/>
                  </a:cubicBezTo>
                  <a:cubicBezTo>
                    <a:pt x="56" y="36"/>
                    <a:pt x="51" y="50"/>
                    <a:pt x="46" y="63"/>
                  </a:cubicBezTo>
                  <a:cubicBezTo>
                    <a:pt x="44" y="70"/>
                    <a:pt x="40" y="73"/>
                    <a:pt x="32" y="72"/>
                  </a:cubicBezTo>
                  <a:cubicBezTo>
                    <a:pt x="25" y="72"/>
                    <a:pt x="22" y="70"/>
                    <a:pt x="19" y="63"/>
                  </a:cubicBezTo>
                  <a:cubicBezTo>
                    <a:pt x="13" y="46"/>
                    <a:pt x="8" y="30"/>
                    <a:pt x="2" y="14"/>
                  </a:cubicBezTo>
                  <a:cubicBezTo>
                    <a:pt x="0" y="7"/>
                    <a:pt x="1" y="4"/>
                    <a:pt x="6" y="2"/>
                  </a:cubicBezTo>
                  <a:cubicBezTo>
                    <a:pt x="12" y="0"/>
                    <a:pt x="19" y="2"/>
                    <a:pt x="21" y="7"/>
                  </a:cubicBezTo>
                  <a:cubicBezTo>
                    <a:pt x="25" y="19"/>
                    <a:pt x="28" y="30"/>
                    <a:pt x="31" y="42"/>
                  </a:cubicBezTo>
                  <a:cubicBezTo>
                    <a:pt x="32" y="44"/>
                    <a:pt x="33" y="47"/>
                    <a:pt x="34" y="49"/>
                  </a:cubicBezTo>
                  <a:cubicBezTo>
                    <a:pt x="35" y="47"/>
                    <a:pt x="36" y="44"/>
                    <a:pt x="37" y="42"/>
                  </a:cubicBezTo>
                  <a:cubicBezTo>
                    <a:pt x="40" y="31"/>
                    <a:pt x="44" y="21"/>
                    <a:pt x="48" y="10"/>
                  </a:cubicBezTo>
                  <a:cubicBezTo>
                    <a:pt x="50" y="3"/>
                    <a:pt x="55" y="1"/>
                    <a:pt x="62" y="1"/>
                  </a:cubicBezTo>
                  <a:cubicBezTo>
                    <a:pt x="69" y="1"/>
                    <a:pt x="73" y="4"/>
                    <a:pt x="76" y="10"/>
                  </a:cubicBezTo>
                  <a:cubicBezTo>
                    <a:pt x="80" y="23"/>
                    <a:pt x="84" y="35"/>
                    <a:pt x="89" y="47"/>
                  </a:cubicBezTo>
                  <a:cubicBezTo>
                    <a:pt x="89" y="48"/>
                    <a:pt x="89" y="48"/>
                    <a:pt x="90" y="49"/>
                  </a:cubicBezTo>
                  <a:cubicBezTo>
                    <a:pt x="90" y="48"/>
                    <a:pt x="90" y="48"/>
                    <a:pt x="91" y="47"/>
                  </a:cubicBezTo>
                  <a:cubicBezTo>
                    <a:pt x="94" y="35"/>
                    <a:pt x="98" y="22"/>
                    <a:pt x="101" y="10"/>
                  </a:cubicBezTo>
                  <a:cubicBezTo>
                    <a:pt x="103" y="3"/>
                    <a:pt x="108" y="0"/>
                    <a:pt x="116" y="2"/>
                  </a:cubicBezTo>
                  <a:cubicBezTo>
                    <a:pt x="121" y="3"/>
                    <a:pt x="124" y="7"/>
                    <a:pt x="122" y="12"/>
                  </a:cubicBezTo>
                  <a:cubicBezTo>
                    <a:pt x="116" y="30"/>
                    <a:pt x="110" y="47"/>
                    <a:pt x="104" y="65"/>
                  </a:cubicBezTo>
                  <a:cubicBezTo>
                    <a:pt x="101" y="71"/>
                    <a:pt x="97" y="73"/>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grpSp>
      <p:sp>
        <p:nvSpPr>
          <p:cNvPr id="51" name="TextBox 7">
            <a:extLst>
              <a:ext uri="{FF2B5EF4-FFF2-40B4-BE49-F238E27FC236}">
                <a16:creationId xmlns:a16="http://schemas.microsoft.com/office/drawing/2014/main" id="{D24B1108-EDD6-417B-A36D-F3867011F0AB}"/>
              </a:ext>
            </a:extLst>
          </p:cNvPr>
          <p:cNvSpPr txBox="1"/>
          <p:nvPr userDrawn="1"/>
        </p:nvSpPr>
        <p:spPr bwMode="gray">
          <a:xfrm>
            <a:off x="3496267" y="5403599"/>
            <a:ext cx="2305631" cy="297454"/>
          </a:xfrm>
          <a:prstGeom prst="rect">
            <a:avLst/>
          </a:prstGeom>
          <a:noFill/>
        </p:spPr>
        <p:txBody>
          <a:bodyPr wrap="none" rtlCol="0">
            <a:spAutoFit/>
          </a:bodyPr>
          <a:lstStyle/>
          <a:p>
            <a:pPr>
              <a:spcBef>
                <a:spcPts val="3200"/>
              </a:spcBef>
              <a:buClr>
                <a:srgbClr val="C00000"/>
              </a:buClr>
            </a:pPr>
            <a:r>
              <a:rPr lang="es-ES" sz="1333">
                <a:solidFill>
                  <a:schemeClr val="tx1">
                    <a:lumMod val="75000"/>
                    <a:lumOff val="25000"/>
                  </a:schemeClr>
                </a:solidFill>
              </a:rPr>
              <a:t>https://twitter.com/giz_gmbh</a:t>
            </a:r>
            <a:endParaRPr lang="es-ES" sz="1333" dirty="0">
              <a:solidFill>
                <a:schemeClr val="tx1">
                  <a:lumMod val="75000"/>
                  <a:lumOff val="25000"/>
                </a:schemeClr>
              </a:solidFill>
            </a:endParaRPr>
          </a:p>
        </p:txBody>
      </p:sp>
      <p:sp>
        <p:nvSpPr>
          <p:cNvPr id="52" name="TextBox 7">
            <a:extLst>
              <a:ext uri="{FF2B5EF4-FFF2-40B4-BE49-F238E27FC236}">
                <a16:creationId xmlns:a16="http://schemas.microsoft.com/office/drawing/2014/main" id="{D1A27A20-93C4-43EC-9799-1798AF93C848}"/>
              </a:ext>
            </a:extLst>
          </p:cNvPr>
          <p:cNvSpPr txBox="1"/>
          <p:nvPr userDrawn="1"/>
        </p:nvSpPr>
        <p:spPr bwMode="gray">
          <a:xfrm>
            <a:off x="7004908" y="5403599"/>
            <a:ext cx="2950038" cy="297454"/>
          </a:xfrm>
          <a:prstGeom prst="rect">
            <a:avLst/>
          </a:prstGeom>
          <a:noFill/>
        </p:spPr>
        <p:txBody>
          <a:bodyPr wrap="none" rtlCol="0">
            <a:spAutoFit/>
          </a:bodyPr>
          <a:lstStyle/>
          <a:p>
            <a:pPr>
              <a:spcBef>
                <a:spcPts val="3200"/>
              </a:spcBef>
              <a:buClr>
                <a:srgbClr val="C00000"/>
              </a:buClr>
            </a:pPr>
            <a:r>
              <a:rPr lang="es-ES" sz="1333">
                <a:solidFill>
                  <a:schemeClr val="tx1">
                    <a:lumMod val="75000"/>
                    <a:lumOff val="25000"/>
                  </a:schemeClr>
                </a:solidFill>
              </a:rPr>
              <a:t>https://www.facebook.com/gizprofile/</a:t>
            </a:r>
            <a:endParaRPr lang="es-ES" sz="1333" dirty="0">
              <a:solidFill>
                <a:schemeClr val="tx1">
                  <a:lumMod val="75000"/>
                  <a:lumOff val="25000"/>
                </a:schemeClr>
              </a:solidFill>
            </a:endParaRPr>
          </a:p>
        </p:txBody>
      </p:sp>
      <p:sp>
        <p:nvSpPr>
          <p:cNvPr id="31" name="Textplatzhalter 16">
            <a:extLst>
              <a:ext uri="{FF2B5EF4-FFF2-40B4-BE49-F238E27FC236}">
                <a16:creationId xmlns:a16="http://schemas.microsoft.com/office/drawing/2014/main" id="{99BAFDF9-B477-4EAA-888B-B283B996F142}"/>
              </a:ext>
            </a:extLst>
          </p:cNvPr>
          <p:cNvSpPr>
            <a:spLocks noGrp="1"/>
          </p:cNvSpPr>
          <p:nvPr>
            <p:ph type="body" sz="quarter" idx="15" hasCustomPrompt="1"/>
          </p:nvPr>
        </p:nvSpPr>
        <p:spPr bwMode="gray">
          <a:xfrm>
            <a:off x="2612086" y="2760961"/>
            <a:ext cx="3426913" cy="801691"/>
          </a:xfrm>
        </p:spPr>
        <p:txBody>
          <a:bodyPr/>
          <a:lstStyle>
            <a:lvl1pPr>
              <a:lnSpc>
                <a:spcPct val="100000"/>
              </a:lnSpc>
              <a:spcBef>
                <a:spcPts val="0"/>
              </a:spcBef>
              <a:defRPr sz="1600"/>
            </a:lvl1pPr>
          </a:lstStyle>
          <a:p>
            <a:r>
              <a:rPr lang="fr-FR" dirty="0"/>
              <a:t>nombre.apellidos@giz.de</a:t>
            </a:r>
          </a:p>
          <a:p>
            <a:r>
              <a:rPr lang="fr-FR" dirty="0"/>
              <a:t>T +49 (0) x xx </a:t>
            </a:r>
            <a:r>
              <a:rPr lang="fr-FR" dirty="0" err="1"/>
              <a:t>xx</a:t>
            </a:r>
            <a:r>
              <a:rPr lang="fr-FR" dirty="0"/>
              <a:t> </a:t>
            </a:r>
            <a:r>
              <a:rPr lang="fr-FR" dirty="0" err="1"/>
              <a:t>xx</a:t>
            </a:r>
            <a:r>
              <a:rPr lang="fr-FR" dirty="0"/>
              <a:t> </a:t>
            </a:r>
          </a:p>
          <a:p>
            <a:r>
              <a:rPr lang="fr-FR" dirty="0"/>
              <a:t>F +49 (0) x xx </a:t>
            </a:r>
            <a:r>
              <a:rPr lang="fr-FR" dirty="0" err="1"/>
              <a:t>xx</a:t>
            </a:r>
            <a:r>
              <a:rPr lang="fr-FR" dirty="0"/>
              <a:t> </a:t>
            </a:r>
            <a:r>
              <a:rPr lang="fr-FR" dirty="0" err="1"/>
              <a:t>xx</a:t>
            </a:r>
            <a:endParaRPr lang="fr-FR" dirty="0"/>
          </a:p>
        </p:txBody>
      </p:sp>
      <p:sp>
        <p:nvSpPr>
          <p:cNvPr id="32" name="Textplatzhalter 29">
            <a:extLst>
              <a:ext uri="{FF2B5EF4-FFF2-40B4-BE49-F238E27FC236}">
                <a16:creationId xmlns:a16="http://schemas.microsoft.com/office/drawing/2014/main" id="{45476593-F938-4100-B13C-38D8379BF2AB}"/>
              </a:ext>
            </a:extLst>
          </p:cNvPr>
          <p:cNvSpPr>
            <a:spLocks noGrp="1"/>
          </p:cNvSpPr>
          <p:nvPr>
            <p:ph type="body" sz="quarter" idx="22" hasCustomPrompt="1"/>
          </p:nvPr>
        </p:nvSpPr>
        <p:spPr bwMode="gray">
          <a:xfrm>
            <a:off x="2612086" y="1857149"/>
            <a:ext cx="3426913" cy="235035"/>
          </a:xfrm>
        </p:spPr>
        <p:txBody>
          <a:bodyPr/>
          <a:lstStyle>
            <a:lvl1pPr>
              <a:defRPr sz="1600" b="1"/>
            </a:lvl1pPr>
          </a:lstStyle>
          <a:p>
            <a:r>
              <a:rPr lang="de-DE" dirty="0" err="1"/>
              <a:t>Nombre</a:t>
            </a:r>
            <a:r>
              <a:rPr lang="de-DE" dirty="0"/>
              <a:t> y </a:t>
            </a:r>
            <a:r>
              <a:rPr lang="de-DE" dirty="0" err="1"/>
              <a:t>apellido</a:t>
            </a:r>
            <a:r>
              <a:rPr lang="de-DE" dirty="0"/>
              <a:t>(s)</a:t>
            </a:r>
            <a:endParaRPr lang="en-GB" dirty="0"/>
          </a:p>
        </p:txBody>
      </p:sp>
      <p:sp>
        <p:nvSpPr>
          <p:cNvPr id="33" name="Textplatzhalter 30">
            <a:extLst>
              <a:ext uri="{FF2B5EF4-FFF2-40B4-BE49-F238E27FC236}">
                <a16:creationId xmlns:a16="http://schemas.microsoft.com/office/drawing/2014/main" id="{01D00CFF-DFE3-4530-913B-A7058396109E}"/>
              </a:ext>
            </a:extLst>
          </p:cNvPr>
          <p:cNvSpPr>
            <a:spLocks noGrp="1"/>
          </p:cNvSpPr>
          <p:nvPr>
            <p:ph type="body" sz="quarter" idx="23" hasCustomPrompt="1"/>
          </p:nvPr>
        </p:nvSpPr>
        <p:spPr bwMode="gray">
          <a:xfrm>
            <a:off x="2612086" y="2181305"/>
            <a:ext cx="3426913" cy="235035"/>
          </a:xfrm>
        </p:spPr>
        <p:txBody>
          <a:bodyPr/>
          <a:lstStyle>
            <a:lvl1pPr>
              <a:defRPr sz="1600"/>
            </a:lvl1pPr>
          </a:lstStyle>
          <a:p>
            <a:r>
              <a:rPr lang="de-DE" dirty="0" err="1"/>
              <a:t>Función</a:t>
            </a:r>
            <a:r>
              <a:rPr lang="de-DE" dirty="0"/>
              <a:t>, </a:t>
            </a:r>
            <a:r>
              <a:rPr lang="de-DE" dirty="0" err="1"/>
              <a:t>lugar</a:t>
            </a:r>
            <a:endParaRPr lang="de-DE" dirty="0"/>
          </a:p>
        </p:txBody>
      </p:sp>
      <p:sp>
        <p:nvSpPr>
          <p:cNvPr id="34" name="Bildplatzhalter 6">
            <a:extLst>
              <a:ext uri="{FF2B5EF4-FFF2-40B4-BE49-F238E27FC236}">
                <a16:creationId xmlns:a16="http://schemas.microsoft.com/office/drawing/2014/main" id="{E73BDD7E-D6A6-482B-9D61-5276F4F49979}"/>
              </a:ext>
            </a:extLst>
          </p:cNvPr>
          <p:cNvSpPr>
            <a:spLocks noGrp="1"/>
          </p:cNvSpPr>
          <p:nvPr>
            <p:ph type="pic" sz="quarter" idx="17" hasCustomPrompt="1"/>
          </p:nvPr>
        </p:nvSpPr>
        <p:spPr bwMode="gray">
          <a:xfrm>
            <a:off x="599761" y="1857152"/>
            <a:ext cx="1789353" cy="2075553"/>
          </a:xfrm>
          <a:solidFill>
            <a:schemeClr val="bg2"/>
          </a:solidFill>
        </p:spPr>
        <p:txBody>
          <a:bodyPr vert="horz" lIns="36000" tIns="1080000" rIns="36000" bIns="36000" rtlCol="0">
            <a:noAutofit/>
          </a:bodyPr>
          <a:lstStyle>
            <a:lvl1pPr algn="ctr">
              <a:defRPr lang="en-GB" sz="1333" dirty="0">
                <a:solidFill>
                  <a:schemeClr val="tx2"/>
                </a:solidFill>
              </a:defRPr>
            </a:lvl1pPr>
          </a:lstStyle>
          <a:p>
            <a:pPr lvl="0" algn="ctr"/>
            <a:r>
              <a:rPr lang="es-ES"/>
              <a:t>Imagen</a:t>
            </a:r>
            <a:endParaRPr lang="es-ES" dirty="0"/>
          </a:p>
        </p:txBody>
      </p:sp>
      <p:sp>
        <p:nvSpPr>
          <p:cNvPr id="53" name="Textplatzhalter 16">
            <a:extLst>
              <a:ext uri="{FF2B5EF4-FFF2-40B4-BE49-F238E27FC236}">
                <a16:creationId xmlns:a16="http://schemas.microsoft.com/office/drawing/2014/main" id="{D4C3F840-A666-4D4F-B080-E849549C179C}"/>
              </a:ext>
            </a:extLst>
          </p:cNvPr>
          <p:cNvSpPr>
            <a:spLocks noGrp="1"/>
          </p:cNvSpPr>
          <p:nvPr>
            <p:ph type="body" sz="quarter" idx="24" hasCustomPrompt="1"/>
          </p:nvPr>
        </p:nvSpPr>
        <p:spPr bwMode="gray">
          <a:xfrm>
            <a:off x="8323539" y="2760961"/>
            <a:ext cx="3562099" cy="801691"/>
          </a:xfrm>
        </p:spPr>
        <p:txBody>
          <a:bodyPr/>
          <a:lstStyle>
            <a:lvl1pPr>
              <a:lnSpc>
                <a:spcPct val="100000"/>
              </a:lnSpc>
              <a:spcBef>
                <a:spcPts val="0"/>
              </a:spcBef>
              <a:defRPr sz="1600"/>
            </a:lvl1pPr>
          </a:lstStyle>
          <a:p>
            <a:r>
              <a:rPr lang="fr-FR" dirty="0"/>
              <a:t>nombre.apellidos@giz.de</a:t>
            </a:r>
          </a:p>
          <a:p>
            <a:r>
              <a:rPr lang="fr-FR" dirty="0"/>
              <a:t>T +49 (0) x xx </a:t>
            </a:r>
            <a:r>
              <a:rPr lang="fr-FR" dirty="0" err="1"/>
              <a:t>xx</a:t>
            </a:r>
            <a:r>
              <a:rPr lang="fr-FR" dirty="0"/>
              <a:t> </a:t>
            </a:r>
            <a:r>
              <a:rPr lang="fr-FR" dirty="0" err="1"/>
              <a:t>xx</a:t>
            </a:r>
            <a:r>
              <a:rPr lang="fr-FR" dirty="0"/>
              <a:t> </a:t>
            </a:r>
          </a:p>
          <a:p>
            <a:r>
              <a:rPr lang="fr-FR" dirty="0"/>
              <a:t>F +49 (0) x xx </a:t>
            </a:r>
            <a:r>
              <a:rPr lang="fr-FR" dirty="0" err="1"/>
              <a:t>xx</a:t>
            </a:r>
            <a:r>
              <a:rPr lang="fr-FR" dirty="0"/>
              <a:t> </a:t>
            </a:r>
            <a:r>
              <a:rPr lang="fr-FR" dirty="0" err="1"/>
              <a:t>xx</a:t>
            </a:r>
            <a:endParaRPr lang="fr-FR" dirty="0"/>
          </a:p>
        </p:txBody>
      </p:sp>
      <p:sp>
        <p:nvSpPr>
          <p:cNvPr id="54" name="Textplatzhalter 29">
            <a:extLst>
              <a:ext uri="{FF2B5EF4-FFF2-40B4-BE49-F238E27FC236}">
                <a16:creationId xmlns:a16="http://schemas.microsoft.com/office/drawing/2014/main" id="{1183BB15-4C0C-49C5-B0B2-4418E3FD55EC}"/>
              </a:ext>
            </a:extLst>
          </p:cNvPr>
          <p:cNvSpPr>
            <a:spLocks noGrp="1"/>
          </p:cNvSpPr>
          <p:nvPr>
            <p:ph type="body" sz="quarter" idx="25" hasCustomPrompt="1"/>
          </p:nvPr>
        </p:nvSpPr>
        <p:spPr bwMode="gray">
          <a:xfrm>
            <a:off x="8323539" y="1857149"/>
            <a:ext cx="3562099" cy="235035"/>
          </a:xfrm>
        </p:spPr>
        <p:txBody>
          <a:bodyPr/>
          <a:lstStyle>
            <a:lvl1pPr>
              <a:defRPr sz="1600" b="1"/>
            </a:lvl1pPr>
          </a:lstStyle>
          <a:p>
            <a:r>
              <a:rPr lang="de-DE" dirty="0" err="1"/>
              <a:t>Nombre</a:t>
            </a:r>
            <a:r>
              <a:rPr lang="de-DE" dirty="0"/>
              <a:t> y </a:t>
            </a:r>
            <a:r>
              <a:rPr lang="de-DE" dirty="0" err="1"/>
              <a:t>apellido</a:t>
            </a:r>
            <a:r>
              <a:rPr lang="de-DE" dirty="0"/>
              <a:t>(s)</a:t>
            </a:r>
            <a:endParaRPr lang="en-GB" dirty="0"/>
          </a:p>
        </p:txBody>
      </p:sp>
      <p:sp>
        <p:nvSpPr>
          <p:cNvPr id="55" name="Textplatzhalter 30">
            <a:extLst>
              <a:ext uri="{FF2B5EF4-FFF2-40B4-BE49-F238E27FC236}">
                <a16:creationId xmlns:a16="http://schemas.microsoft.com/office/drawing/2014/main" id="{0C6CA511-61C0-47B0-A071-DE194172414D}"/>
              </a:ext>
            </a:extLst>
          </p:cNvPr>
          <p:cNvSpPr>
            <a:spLocks noGrp="1"/>
          </p:cNvSpPr>
          <p:nvPr>
            <p:ph type="body" sz="quarter" idx="26" hasCustomPrompt="1"/>
          </p:nvPr>
        </p:nvSpPr>
        <p:spPr bwMode="gray">
          <a:xfrm>
            <a:off x="8323539" y="2181305"/>
            <a:ext cx="3562099" cy="235035"/>
          </a:xfrm>
        </p:spPr>
        <p:txBody>
          <a:bodyPr/>
          <a:lstStyle>
            <a:lvl1pPr>
              <a:defRPr sz="1600"/>
            </a:lvl1pPr>
          </a:lstStyle>
          <a:p>
            <a:r>
              <a:rPr lang="de-DE" dirty="0" err="1"/>
              <a:t>Función</a:t>
            </a:r>
            <a:r>
              <a:rPr lang="de-DE" dirty="0"/>
              <a:t>, </a:t>
            </a:r>
            <a:r>
              <a:rPr lang="de-DE" dirty="0" err="1"/>
              <a:t>lugar</a:t>
            </a:r>
            <a:endParaRPr lang="de-DE" dirty="0"/>
          </a:p>
        </p:txBody>
      </p:sp>
      <p:sp>
        <p:nvSpPr>
          <p:cNvPr id="56" name="Bildplatzhalter 6">
            <a:extLst>
              <a:ext uri="{FF2B5EF4-FFF2-40B4-BE49-F238E27FC236}">
                <a16:creationId xmlns:a16="http://schemas.microsoft.com/office/drawing/2014/main" id="{B0EA41BA-7C5A-4545-A1DA-71964B045D1C}"/>
              </a:ext>
            </a:extLst>
          </p:cNvPr>
          <p:cNvSpPr>
            <a:spLocks noGrp="1"/>
          </p:cNvSpPr>
          <p:nvPr>
            <p:ph type="pic" sz="quarter" idx="27" hasCustomPrompt="1"/>
          </p:nvPr>
        </p:nvSpPr>
        <p:spPr bwMode="gray">
          <a:xfrm>
            <a:off x="6311214" y="1857152"/>
            <a:ext cx="1789353" cy="2075553"/>
          </a:xfrm>
          <a:solidFill>
            <a:schemeClr val="bg2"/>
          </a:solidFill>
        </p:spPr>
        <p:txBody>
          <a:bodyPr vert="horz" lIns="36000" tIns="1080000" rIns="36000" bIns="36000" rtlCol="0">
            <a:noAutofit/>
          </a:bodyPr>
          <a:lstStyle>
            <a:lvl1pPr algn="ctr">
              <a:defRPr lang="en-GB" sz="1333" dirty="0">
                <a:solidFill>
                  <a:schemeClr val="tx2"/>
                </a:solidFill>
              </a:defRPr>
            </a:lvl1pPr>
          </a:lstStyle>
          <a:p>
            <a:pPr lvl="0" algn="ctr"/>
            <a:r>
              <a:rPr lang="es-ES"/>
              <a:t>Imagen</a:t>
            </a:r>
            <a:endParaRPr lang="es-ES" dirty="0"/>
          </a:p>
        </p:txBody>
      </p:sp>
      <p:sp>
        <p:nvSpPr>
          <p:cNvPr id="58" name="Titel 1">
            <a:extLst>
              <a:ext uri="{FF2B5EF4-FFF2-40B4-BE49-F238E27FC236}">
                <a16:creationId xmlns:a16="http://schemas.microsoft.com/office/drawing/2014/main" id="{2DD72F4F-E3F2-49DC-BBAE-681D615ED495}"/>
              </a:ext>
            </a:extLst>
          </p:cNvPr>
          <p:cNvSpPr>
            <a:spLocks noGrp="1"/>
          </p:cNvSpPr>
          <p:nvPr>
            <p:ph type="title" hasCustomPrompt="1"/>
          </p:nvPr>
        </p:nvSpPr>
        <p:spPr bwMode="gray">
          <a:xfrm>
            <a:off x="599756" y="320284"/>
            <a:ext cx="11285881" cy="720725"/>
          </a:xfrm>
        </p:spPr>
        <p:txBody>
          <a:bodyPr/>
          <a:lstStyle>
            <a:lvl1pPr>
              <a:defRPr/>
            </a:lvl1pPr>
          </a:lstStyle>
          <a:p>
            <a:r>
              <a:rPr lang="es-ES" dirty="0"/>
              <a:t>Añadir título haciendo clic</a:t>
            </a:r>
          </a:p>
        </p:txBody>
      </p:sp>
      <p:sp>
        <p:nvSpPr>
          <p:cNvPr id="2" name="Datumsplatzhalter 1">
            <a:extLst>
              <a:ext uri="{FF2B5EF4-FFF2-40B4-BE49-F238E27FC236}">
                <a16:creationId xmlns:a16="http://schemas.microsoft.com/office/drawing/2014/main" id="{41E483CD-F19D-41A3-BDCA-6CBC957D249B}"/>
              </a:ext>
            </a:extLst>
          </p:cNvPr>
          <p:cNvSpPr>
            <a:spLocks noGrp="1"/>
          </p:cNvSpPr>
          <p:nvPr>
            <p:ph type="dt" sz="half" idx="28"/>
          </p:nvPr>
        </p:nvSpPr>
        <p:spPr/>
        <p:txBody>
          <a:bodyPr/>
          <a:lstStyle/>
          <a:p>
            <a:r>
              <a:rPr lang="es-ES"/>
              <a:t>14.02.2019</a:t>
            </a:r>
            <a:endParaRPr lang="es-ES" dirty="0"/>
          </a:p>
        </p:txBody>
      </p:sp>
      <p:sp>
        <p:nvSpPr>
          <p:cNvPr id="3" name="Fußzeilenplatzhalter 2">
            <a:extLst>
              <a:ext uri="{FF2B5EF4-FFF2-40B4-BE49-F238E27FC236}">
                <a16:creationId xmlns:a16="http://schemas.microsoft.com/office/drawing/2014/main" id="{BB06DC9B-073A-4FF3-9BA2-1E75789AF6F5}"/>
              </a:ext>
            </a:extLst>
          </p:cNvPr>
          <p:cNvSpPr>
            <a:spLocks noGrp="1"/>
          </p:cNvSpPr>
          <p:nvPr>
            <p:ph type="ftr" sz="quarter" idx="29"/>
          </p:nvPr>
        </p:nvSpPr>
        <p:spPr/>
        <p:txBody>
          <a:bodyPr/>
          <a:lstStyle/>
          <a:p>
            <a:r>
              <a:rPr lang="es-ES"/>
              <a:t>Título de la presentación</a:t>
            </a:r>
            <a:endParaRPr lang="es-ES" dirty="0"/>
          </a:p>
        </p:txBody>
      </p:sp>
      <p:sp>
        <p:nvSpPr>
          <p:cNvPr id="4" name="Foliennummernplatzhalter 3">
            <a:extLst>
              <a:ext uri="{FF2B5EF4-FFF2-40B4-BE49-F238E27FC236}">
                <a16:creationId xmlns:a16="http://schemas.microsoft.com/office/drawing/2014/main" id="{AD5C1195-3510-4D99-97F7-C8AE84ACDFFE}"/>
              </a:ext>
            </a:extLst>
          </p:cNvPr>
          <p:cNvSpPr>
            <a:spLocks noGrp="1"/>
          </p:cNvSpPr>
          <p:nvPr>
            <p:ph type="sldNum" sz="quarter" idx="30"/>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141969071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acto 3">
    <p:spTree>
      <p:nvGrpSpPr>
        <p:cNvPr id="1" name=""/>
        <p:cNvGrpSpPr/>
        <p:nvPr/>
      </p:nvGrpSpPr>
      <p:grpSpPr>
        <a:xfrm>
          <a:off x="0" y="0"/>
          <a:ext cx="0" cy="0"/>
          <a:chOff x="0" y="0"/>
          <a:chExt cx="0" cy="0"/>
        </a:xfrm>
      </p:grpSpPr>
      <p:pic>
        <p:nvPicPr>
          <p:cNvPr id="18" name="Grafik 17">
            <a:extLst>
              <a:ext uri="{FF2B5EF4-FFF2-40B4-BE49-F238E27FC236}">
                <a16:creationId xmlns:a16="http://schemas.microsoft.com/office/drawing/2014/main" id="{DF58C217-C4E2-448E-B6B5-E56CEFB6D358}"/>
              </a:ext>
            </a:extLst>
          </p:cNvPr>
          <p:cNvPicPr>
            <a:picLocks/>
          </p:cNvPicPr>
          <p:nvPr userDrawn="1"/>
        </p:nvPicPr>
        <p:blipFill rotWithShape="1">
          <a:blip r:embed="rId2"/>
          <a:srcRect t="234" b="7466"/>
          <a:stretch/>
        </p:blipFill>
        <p:spPr bwMode="gray">
          <a:xfrm>
            <a:off x="164183" y="165101"/>
            <a:ext cx="11858487" cy="5968659"/>
          </a:xfrm>
          <a:prstGeom prst="rect">
            <a:avLst/>
          </a:prstGeom>
        </p:spPr>
      </p:pic>
      <p:sp>
        <p:nvSpPr>
          <p:cNvPr id="6" name="Rechteck 5">
            <a:extLst>
              <a:ext uri="{FF2B5EF4-FFF2-40B4-BE49-F238E27FC236}">
                <a16:creationId xmlns:a16="http://schemas.microsoft.com/office/drawing/2014/main" id="{1E3E3E95-0AFA-477F-B88E-9AEDC037418E}"/>
              </a:ext>
            </a:extLst>
          </p:cNvPr>
          <p:cNvSpPr>
            <a:spLocks/>
          </p:cNvSpPr>
          <p:nvPr userDrawn="1"/>
        </p:nvSpPr>
        <p:spPr bwMode="gray">
          <a:xfrm>
            <a:off x="177805" y="165101"/>
            <a:ext cx="11858487" cy="5968659"/>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a:p>
        </p:txBody>
      </p:sp>
      <p:sp>
        <p:nvSpPr>
          <p:cNvPr id="16" name="Titel 1">
            <a:extLst>
              <a:ext uri="{FF2B5EF4-FFF2-40B4-BE49-F238E27FC236}">
                <a16:creationId xmlns:a16="http://schemas.microsoft.com/office/drawing/2014/main" id="{3B6C23A5-1B72-42F2-B92F-DC68B632F6B0}"/>
              </a:ext>
            </a:extLst>
          </p:cNvPr>
          <p:cNvSpPr>
            <a:spLocks noGrp="1"/>
          </p:cNvSpPr>
          <p:nvPr>
            <p:ph type="title" hasCustomPrompt="1"/>
          </p:nvPr>
        </p:nvSpPr>
        <p:spPr bwMode="gray">
          <a:xfrm>
            <a:off x="599758" y="320284"/>
            <a:ext cx="11414444" cy="720725"/>
          </a:xfrm>
        </p:spPr>
        <p:txBody>
          <a:bodyPr/>
          <a:lstStyle>
            <a:lvl1pPr>
              <a:defRPr/>
            </a:lvl1pPr>
          </a:lstStyle>
          <a:p>
            <a:r>
              <a:rPr lang="es-ES" dirty="0"/>
              <a:t>Añadir título haciendo clic</a:t>
            </a:r>
          </a:p>
        </p:txBody>
      </p:sp>
      <p:sp>
        <p:nvSpPr>
          <p:cNvPr id="19" name="Textplatzhalter 16">
            <a:extLst>
              <a:ext uri="{FF2B5EF4-FFF2-40B4-BE49-F238E27FC236}">
                <a16:creationId xmlns:a16="http://schemas.microsoft.com/office/drawing/2014/main" id="{F0C65784-9410-409B-82EA-6584D4732CDD}"/>
              </a:ext>
            </a:extLst>
          </p:cNvPr>
          <p:cNvSpPr>
            <a:spLocks noGrp="1"/>
          </p:cNvSpPr>
          <p:nvPr>
            <p:ph type="body" sz="quarter" idx="15" hasCustomPrompt="1"/>
          </p:nvPr>
        </p:nvSpPr>
        <p:spPr bwMode="gray">
          <a:xfrm>
            <a:off x="599757" y="3965952"/>
            <a:ext cx="3477993" cy="720149"/>
          </a:xfrm>
        </p:spPr>
        <p:txBody>
          <a:bodyPr/>
          <a:lstStyle>
            <a:lvl1pPr>
              <a:lnSpc>
                <a:spcPct val="100000"/>
              </a:lnSpc>
              <a:spcBef>
                <a:spcPts val="0"/>
              </a:spcBef>
              <a:defRPr sz="1333"/>
            </a:lvl1pPr>
          </a:lstStyle>
          <a:p>
            <a:r>
              <a:rPr lang="fr-FR" dirty="0"/>
              <a:t>nombre.apellidos@giz.de</a:t>
            </a:r>
          </a:p>
          <a:p>
            <a:r>
              <a:rPr lang="fr-FR" dirty="0"/>
              <a:t>T +49 (0) x xx </a:t>
            </a:r>
            <a:r>
              <a:rPr lang="fr-FR" dirty="0" err="1"/>
              <a:t>xx</a:t>
            </a:r>
            <a:r>
              <a:rPr lang="fr-FR" dirty="0"/>
              <a:t> </a:t>
            </a:r>
            <a:r>
              <a:rPr lang="fr-FR" dirty="0" err="1"/>
              <a:t>xx</a:t>
            </a:r>
            <a:r>
              <a:rPr lang="fr-FR" dirty="0"/>
              <a:t> </a:t>
            </a:r>
          </a:p>
          <a:p>
            <a:r>
              <a:rPr lang="fr-FR" dirty="0"/>
              <a:t>F +49 (0) x xx </a:t>
            </a:r>
            <a:r>
              <a:rPr lang="fr-FR" dirty="0" err="1"/>
              <a:t>xx</a:t>
            </a:r>
            <a:r>
              <a:rPr lang="fr-FR" dirty="0"/>
              <a:t> </a:t>
            </a:r>
            <a:r>
              <a:rPr lang="fr-FR" dirty="0" err="1"/>
              <a:t>xx</a:t>
            </a:r>
            <a:endParaRPr lang="fr-FR" dirty="0"/>
          </a:p>
        </p:txBody>
      </p:sp>
      <p:sp>
        <p:nvSpPr>
          <p:cNvPr id="20" name="Textplatzhalter 29">
            <a:extLst>
              <a:ext uri="{FF2B5EF4-FFF2-40B4-BE49-F238E27FC236}">
                <a16:creationId xmlns:a16="http://schemas.microsoft.com/office/drawing/2014/main" id="{85761457-A63B-46F2-99C5-E217A1E0A705}"/>
              </a:ext>
            </a:extLst>
          </p:cNvPr>
          <p:cNvSpPr>
            <a:spLocks noGrp="1"/>
          </p:cNvSpPr>
          <p:nvPr>
            <p:ph type="body" sz="quarter" idx="22" hasCustomPrompt="1"/>
          </p:nvPr>
        </p:nvSpPr>
        <p:spPr bwMode="gray">
          <a:xfrm>
            <a:off x="599757" y="3345197"/>
            <a:ext cx="3477993" cy="235035"/>
          </a:xfrm>
        </p:spPr>
        <p:txBody>
          <a:bodyPr/>
          <a:lstStyle>
            <a:lvl1pPr>
              <a:defRPr sz="1333" b="1"/>
            </a:lvl1pPr>
          </a:lstStyle>
          <a:p>
            <a:r>
              <a:rPr lang="de-DE" dirty="0" err="1"/>
              <a:t>Nombre</a:t>
            </a:r>
            <a:r>
              <a:rPr lang="de-DE" dirty="0"/>
              <a:t> y </a:t>
            </a:r>
            <a:r>
              <a:rPr lang="de-DE" dirty="0" err="1"/>
              <a:t>apellido</a:t>
            </a:r>
            <a:r>
              <a:rPr lang="de-DE" dirty="0"/>
              <a:t>(s)</a:t>
            </a:r>
            <a:endParaRPr lang="en-GB" dirty="0"/>
          </a:p>
        </p:txBody>
      </p:sp>
      <p:sp>
        <p:nvSpPr>
          <p:cNvPr id="21" name="Textplatzhalter 30">
            <a:extLst>
              <a:ext uri="{FF2B5EF4-FFF2-40B4-BE49-F238E27FC236}">
                <a16:creationId xmlns:a16="http://schemas.microsoft.com/office/drawing/2014/main" id="{CB52D947-0416-4964-B28D-129580E47725}"/>
              </a:ext>
            </a:extLst>
          </p:cNvPr>
          <p:cNvSpPr>
            <a:spLocks noGrp="1"/>
          </p:cNvSpPr>
          <p:nvPr>
            <p:ph type="body" sz="quarter" idx="23" hasCustomPrompt="1"/>
          </p:nvPr>
        </p:nvSpPr>
        <p:spPr bwMode="gray">
          <a:xfrm>
            <a:off x="599757" y="3581825"/>
            <a:ext cx="3477993" cy="235035"/>
          </a:xfrm>
        </p:spPr>
        <p:txBody>
          <a:bodyPr/>
          <a:lstStyle>
            <a:lvl1pPr>
              <a:defRPr sz="1333"/>
            </a:lvl1pPr>
          </a:lstStyle>
          <a:p>
            <a:r>
              <a:rPr lang="de-DE" dirty="0" err="1"/>
              <a:t>Función</a:t>
            </a:r>
            <a:r>
              <a:rPr lang="de-DE" dirty="0"/>
              <a:t>, </a:t>
            </a:r>
            <a:r>
              <a:rPr lang="de-DE" dirty="0" err="1"/>
              <a:t>lugar</a:t>
            </a:r>
            <a:endParaRPr lang="de-DE" dirty="0"/>
          </a:p>
        </p:txBody>
      </p:sp>
      <p:sp>
        <p:nvSpPr>
          <p:cNvPr id="35" name="Bildplatzhalter 6">
            <a:extLst>
              <a:ext uri="{FF2B5EF4-FFF2-40B4-BE49-F238E27FC236}">
                <a16:creationId xmlns:a16="http://schemas.microsoft.com/office/drawing/2014/main" id="{FC763A8F-9E6C-4EEB-90DC-0F65B80379CA}"/>
              </a:ext>
            </a:extLst>
          </p:cNvPr>
          <p:cNvSpPr>
            <a:spLocks noGrp="1"/>
          </p:cNvSpPr>
          <p:nvPr>
            <p:ph type="pic" sz="quarter" idx="17" hasCustomPrompt="1"/>
          </p:nvPr>
        </p:nvSpPr>
        <p:spPr bwMode="gray">
          <a:xfrm>
            <a:off x="599757" y="1569544"/>
            <a:ext cx="1355440" cy="1572237"/>
          </a:xfrm>
          <a:solidFill>
            <a:schemeClr val="bg2"/>
          </a:solidFill>
        </p:spPr>
        <p:txBody>
          <a:bodyPr vert="horz" lIns="36000" tIns="864000" rIns="36000" bIns="36000" rtlCol="0">
            <a:noAutofit/>
          </a:bodyPr>
          <a:lstStyle>
            <a:lvl1pPr algn="ctr">
              <a:defRPr lang="en-GB" sz="800" dirty="0">
                <a:solidFill>
                  <a:schemeClr val="tx2"/>
                </a:solidFill>
              </a:defRPr>
            </a:lvl1pPr>
          </a:lstStyle>
          <a:p>
            <a:pPr lvl="0" algn="ctr"/>
            <a:r>
              <a:rPr lang="es-ES"/>
              <a:t>Imagen</a:t>
            </a:r>
            <a:endParaRPr lang="es-ES" dirty="0"/>
          </a:p>
        </p:txBody>
      </p:sp>
      <p:sp>
        <p:nvSpPr>
          <p:cNvPr id="23" name="Textplatzhalter 16">
            <a:extLst>
              <a:ext uri="{FF2B5EF4-FFF2-40B4-BE49-F238E27FC236}">
                <a16:creationId xmlns:a16="http://schemas.microsoft.com/office/drawing/2014/main" id="{A3959264-4C48-474A-BB44-B8C103D1F20F}"/>
              </a:ext>
            </a:extLst>
          </p:cNvPr>
          <p:cNvSpPr>
            <a:spLocks noGrp="1"/>
          </p:cNvSpPr>
          <p:nvPr>
            <p:ph type="body" sz="quarter" idx="24" hasCustomPrompt="1"/>
          </p:nvPr>
        </p:nvSpPr>
        <p:spPr bwMode="gray">
          <a:xfrm>
            <a:off x="4464610" y="3965952"/>
            <a:ext cx="3477993" cy="720149"/>
          </a:xfrm>
        </p:spPr>
        <p:txBody>
          <a:bodyPr/>
          <a:lstStyle>
            <a:lvl1pPr>
              <a:lnSpc>
                <a:spcPct val="100000"/>
              </a:lnSpc>
              <a:spcBef>
                <a:spcPts val="0"/>
              </a:spcBef>
              <a:defRPr sz="1333"/>
            </a:lvl1pPr>
          </a:lstStyle>
          <a:p>
            <a:r>
              <a:rPr lang="fr-FR" dirty="0"/>
              <a:t>nombre.apellidos@giz.de</a:t>
            </a:r>
          </a:p>
          <a:p>
            <a:r>
              <a:rPr lang="fr-FR" dirty="0"/>
              <a:t>T +49 (0) x xx </a:t>
            </a:r>
            <a:r>
              <a:rPr lang="fr-FR" dirty="0" err="1"/>
              <a:t>xx</a:t>
            </a:r>
            <a:r>
              <a:rPr lang="fr-FR" dirty="0"/>
              <a:t> </a:t>
            </a:r>
            <a:r>
              <a:rPr lang="fr-FR" dirty="0" err="1"/>
              <a:t>xx</a:t>
            </a:r>
            <a:r>
              <a:rPr lang="fr-FR" dirty="0"/>
              <a:t> </a:t>
            </a:r>
          </a:p>
          <a:p>
            <a:r>
              <a:rPr lang="fr-FR" dirty="0"/>
              <a:t>F +49 (0) x xx </a:t>
            </a:r>
            <a:r>
              <a:rPr lang="fr-FR" dirty="0" err="1"/>
              <a:t>xx</a:t>
            </a:r>
            <a:r>
              <a:rPr lang="fr-FR" dirty="0"/>
              <a:t> </a:t>
            </a:r>
            <a:r>
              <a:rPr lang="fr-FR" dirty="0" err="1"/>
              <a:t>xx</a:t>
            </a:r>
            <a:endParaRPr lang="fr-FR" dirty="0"/>
          </a:p>
        </p:txBody>
      </p:sp>
      <p:sp>
        <p:nvSpPr>
          <p:cNvPr id="24" name="Textplatzhalter 29">
            <a:extLst>
              <a:ext uri="{FF2B5EF4-FFF2-40B4-BE49-F238E27FC236}">
                <a16:creationId xmlns:a16="http://schemas.microsoft.com/office/drawing/2014/main" id="{37C5BE72-A50D-4E1F-A698-7239B19ED5FF}"/>
              </a:ext>
            </a:extLst>
          </p:cNvPr>
          <p:cNvSpPr>
            <a:spLocks noGrp="1"/>
          </p:cNvSpPr>
          <p:nvPr>
            <p:ph type="body" sz="quarter" idx="25" hasCustomPrompt="1"/>
          </p:nvPr>
        </p:nvSpPr>
        <p:spPr bwMode="gray">
          <a:xfrm>
            <a:off x="4464610" y="3345197"/>
            <a:ext cx="3477993" cy="235035"/>
          </a:xfrm>
        </p:spPr>
        <p:txBody>
          <a:bodyPr/>
          <a:lstStyle>
            <a:lvl1pPr>
              <a:defRPr sz="1333" b="1"/>
            </a:lvl1pPr>
          </a:lstStyle>
          <a:p>
            <a:r>
              <a:rPr lang="de-DE" dirty="0" err="1"/>
              <a:t>Nombre</a:t>
            </a:r>
            <a:r>
              <a:rPr lang="de-DE" dirty="0"/>
              <a:t> y </a:t>
            </a:r>
            <a:r>
              <a:rPr lang="de-DE" dirty="0" err="1"/>
              <a:t>apellido</a:t>
            </a:r>
            <a:r>
              <a:rPr lang="de-DE" dirty="0"/>
              <a:t>(s)</a:t>
            </a:r>
            <a:endParaRPr lang="en-GB" dirty="0"/>
          </a:p>
        </p:txBody>
      </p:sp>
      <p:sp>
        <p:nvSpPr>
          <p:cNvPr id="25" name="Textplatzhalter 30">
            <a:extLst>
              <a:ext uri="{FF2B5EF4-FFF2-40B4-BE49-F238E27FC236}">
                <a16:creationId xmlns:a16="http://schemas.microsoft.com/office/drawing/2014/main" id="{BBC5F177-59CC-4E2C-8920-EF6014FA21D0}"/>
              </a:ext>
            </a:extLst>
          </p:cNvPr>
          <p:cNvSpPr>
            <a:spLocks noGrp="1"/>
          </p:cNvSpPr>
          <p:nvPr>
            <p:ph type="body" sz="quarter" idx="26" hasCustomPrompt="1"/>
          </p:nvPr>
        </p:nvSpPr>
        <p:spPr bwMode="gray">
          <a:xfrm>
            <a:off x="4464610" y="3581825"/>
            <a:ext cx="3477993" cy="235035"/>
          </a:xfrm>
        </p:spPr>
        <p:txBody>
          <a:bodyPr/>
          <a:lstStyle>
            <a:lvl1pPr>
              <a:defRPr sz="1333"/>
            </a:lvl1pPr>
          </a:lstStyle>
          <a:p>
            <a:r>
              <a:rPr lang="de-DE" dirty="0" err="1"/>
              <a:t>Función</a:t>
            </a:r>
            <a:r>
              <a:rPr lang="de-DE" dirty="0"/>
              <a:t>, </a:t>
            </a:r>
            <a:r>
              <a:rPr lang="de-DE" dirty="0" err="1"/>
              <a:t>lugar</a:t>
            </a:r>
            <a:endParaRPr lang="de-DE" dirty="0"/>
          </a:p>
        </p:txBody>
      </p:sp>
      <p:sp>
        <p:nvSpPr>
          <p:cNvPr id="36" name="Bildplatzhalter 6">
            <a:extLst>
              <a:ext uri="{FF2B5EF4-FFF2-40B4-BE49-F238E27FC236}">
                <a16:creationId xmlns:a16="http://schemas.microsoft.com/office/drawing/2014/main" id="{BB2B85DB-7C09-47DD-8B78-3BE26DF17326}"/>
              </a:ext>
            </a:extLst>
          </p:cNvPr>
          <p:cNvSpPr>
            <a:spLocks noGrp="1"/>
          </p:cNvSpPr>
          <p:nvPr>
            <p:ph type="pic" sz="quarter" idx="27" hasCustomPrompt="1"/>
          </p:nvPr>
        </p:nvSpPr>
        <p:spPr bwMode="gray">
          <a:xfrm>
            <a:off x="4464612" y="1569544"/>
            <a:ext cx="1355440" cy="1572237"/>
          </a:xfrm>
          <a:solidFill>
            <a:schemeClr val="bg2"/>
          </a:solidFill>
        </p:spPr>
        <p:txBody>
          <a:bodyPr vert="horz" lIns="36000" tIns="864000" rIns="36000" bIns="36000" rtlCol="0">
            <a:noAutofit/>
          </a:bodyPr>
          <a:lstStyle>
            <a:lvl1pPr marL="0" marR="0" indent="0" algn="ctr" defTabSz="914392" rtl="0" eaLnBrk="1" fontAlgn="auto" latinLnBrk="0" hangingPunct="1">
              <a:lnSpc>
                <a:spcPct val="90000"/>
              </a:lnSpc>
              <a:spcBef>
                <a:spcPts val="800"/>
              </a:spcBef>
              <a:spcAft>
                <a:spcPts val="0"/>
              </a:spcAft>
              <a:buClrTx/>
              <a:buSzTx/>
              <a:buFont typeface="Arial" panose="020B0604020202020204" pitchFamily="34" charset="0"/>
              <a:buNone/>
              <a:tabLst/>
              <a:defRPr lang="en-GB" sz="800" dirty="0">
                <a:solidFill>
                  <a:schemeClr val="tx2"/>
                </a:solidFill>
              </a:defRPr>
            </a:lvl1pPr>
          </a:lstStyle>
          <a:p>
            <a:pPr lvl="0" algn="ctr"/>
            <a:r>
              <a:rPr lang="es-ES"/>
              <a:t>Imagen</a:t>
            </a:r>
            <a:endParaRPr lang="es-ES" dirty="0"/>
          </a:p>
        </p:txBody>
      </p:sp>
      <p:sp>
        <p:nvSpPr>
          <p:cNvPr id="37" name="Textplatzhalter 16">
            <a:extLst>
              <a:ext uri="{FF2B5EF4-FFF2-40B4-BE49-F238E27FC236}">
                <a16:creationId xmlns:a16="http://schemas.microsoft.com/office/drawing/2014/main" id="{C376165A-CE76-4372-91C7-F6C54DEAFEF0}"/>
              </a:ext>
            </a:extLst>
          </p:cNvPr>
          <p:cNvSpPr>
            <a:spLocks noGrp="1"/>
          </p:cNvSpPr>
          <p:nvPr>
            <p:ph type="body" sz="quarter" idx="28" hasCustomPrompt="1"/>
          </p:nvPr>
        </p:nvSpPr>
        <p:spPr bwMode="gray">
          <a:xfrm>
            <a:off x="8329465" y="3965952"/>
            <a:ext cx="3477993" cy="720149"/>
          </a:xfrm>
        </p:spPr>
        <p:txBody>
          <a:bodyPr/>
          <a:lstStyle>
            <a:lvl1pPr>
              <a:lnSpc>
                <a:spcPct val="100000"/>
              </a:lnSpc>
              <a:spcBef>
                <a:spcPts val="0"/>
              </a:spcBef>
              <a:defRPr sz="1333"/>
            </a:lvl1pPr>
          </a:lstStyle>
          <a:p>
            <a:r>
              <a:rPr lang="fr-FR" dirty="0"/>
              <a:t>nombre.apellidos@giz.de</a:t>
            </a:r>
          </a:p>
          <a:p>
            <a:r>
              <a:rPr lang="fr-FR" dirty="0"/>
              <a:t>T +49 (0) x xx </a:t>
            </a:r>
            <a:r>
              <a:rPr lang="fr-FR" dirty="0" err="1"/>
              <a:t>xx</a:t>
            </a:r>
            <a:r>
              <a:rPr lang="fr-FR" dirty="0"/>
              <a:t> </a:t>
            </a:r>
            <a:r>
              <a:rPr lang="fr-FR" dirty="0" err="1"/>
              <a:t>xx</a:t>
            </a:r>
            <a:r>
              <a:rPr lang="fr-FR" dirty="0"/>
              <a:t> </a:t>
            </a:r>
          </a:p>
          <a:p>
            <a:r>
              <a:rPr lang="fr-FR" dirty="0"/>
              <a:t>F +49 (0) x xx </a:t>
            </a:r>
            <a:r>
              <a:rPr lang="fr-FR" dirty="0" err="1"/>
              <a:t>xx</a:t>
            </a:r>
            <a:r>
              <a:rPr lang="fr-FR" dirty="0"/>
              <a:t> </a:t>
            </a:r>
            <a:r>
              <a:rPr lang="fr-FR" dirty="0" err="1"/>
              <a:t>xx</a:t>
            </a:r>
            <a:endParaRPr lang="fr-FR" dirty="0"/>
          </a:p>
        </p:txBody>
      </p:sp>
      <p:sp>
        <p:nvSpPr>
          <p:cNvPr id="38" name="Textplatzhalter 29">
            <a:extLst>
              <a:ext uri="{FF2B5EF4-FFF2-40B4-BE49-F238E27FC236}">
                <a16:creationId xmlns:a16="http://schemas.microsoft.com/office/drawing/2014/main" id="{12DC0B08-9C2F-4A20-8D25-AB673DE13DB5}"/>
              </a:ext>
            </a:extLst>
          </p:cNvPr>
          <p:cNvSpPr>
            <a:spLocks noGrp="1"/>
          </p:cNvSpPr>
          <p:nvPr>
            <p:ph type="body" sz="quarter" idx="29" hasCustomPrompt="1"/>
          </p:nvPr>
        </p:nvSpPr>
        <p:spPr bwMode="gray">
          <a:xfrm>
            <a:off x="8329465" y="3345197"/>
            <a:ext cx="3477993" cy="235035"/>
          </a:xfrm>
        </p:spPr>
        <p:txBody>
          <a:bodyPr/>
          <a:lstStyle>
            <a:lvl1pPr>
              <a:defRPr sz="1333" b="1"/>
            </a:lvl1pPr>
          </a:lstStyle>
          <a:p>
            <a:r>
              <a:rPr lang="de-DE" dirty="0" err="1"/>
              <a:t>Nombre</a:t>
            </a:r>
            <a:r>
              <a:rPr lang="de-DE" dirty="0"/>
              <a:t> y </a:t>
            </a:r>
            <a:r>
              <a:rPr lang="de-DE" dirty="0" err="1"/>
              <a:t>apellido</a:t>
            </a:r>
            <a:r>
              <a:rPr lang="de-DE" dirty="0"/>
              <a:t>(s)</a:t>
            </a:r>
            <a:endParaRPr lang="en-GB" dirty="0"/>
          </a:p>
        </p:txBody>
      </p:sp>
      <p:sp>
        <p:nvSpPr>
          <p:cNvPr id="39" name="Textplatzhalter 30">
            <a:extLst>
              <a:ext uri="{FF2B5EF4-FFF2-40B4-BE49-F238E27FC236}">
                <a16:creationId xmlns:a16="http://schemas.microsoft.com/office/drawing/2014/main" id="{7DB1B252-5879-4206-BDF8-0A22178C0420}"/>
              </a:ext>
            </a:extLst>
          </p:cNvPr>
          <p:cNvSpPr>
            <a:spLocks noGrp="1"/>
          </p:cNvSpPr>
          <p:nvPr>
            <p:ph type="body" sz="quarter" idx="30" hasCustomPrompt="1"/>
          </p:nvPr>
        </p:nvSpPr>
        <p:spPr bwMode="gray">
          <a:xfrm>
            <a:off x="8329465" y="3581825"/>
            <a:ext cx="3477993" cy="235035"/>
          </a:xfrm>
        </p:spPr>
        <p:txBody>
          <a:bodyPr/>
          <a:lstStyle>
            <a:lvl1pPr>
              <a:defRPr sz="1333"/>
            </a:lvl1pPr>
          </a:lstStyle>
          <a:p>
            <a:r>
              <a:rPr lang="de-DE" dirty="0" err="1"/>
              <a:t>Función</a:t>
            </a:r>
            <a:r>
              <a:rPr lang="de-DE" dirty="0"/>
              <a:t>, </a:t>
            </a:r>
            <a:r>
              <a:rPr lang="de-DE" dirty="0" err="1"/>
              <a:t>lugar</a:t>
            </a:r>
            <a:endParaRPr lang="de-DE" dirty="0"/>
          </a:p>
        </p:txBody>
      </p:sp>
      <p:sp>
        <p:nvSpPr>
          <p:cNvPr id="40" name="Bildplatzhalter 6">
            <a:extLst>
              <a:ext uri="{FF2B5EF4-FFF2-40B4-BE49-F238E27FC236}">
                <a16:creationId xmlns:a16="http://schemas.microsoft.com/office/drawing/2014/main" id="{DD64FA03-A54F-412F-96FC-EE4E88E5DD5F}"/>
              </a:ext>
            </a:extLst>
          </p:cNvPr>
          <p:cNvSpPr>
            <a:spLocks noGrp="1"/>
          </p:cNvSpPr>
          <p:nvPr>
            <p:ph type="pic" sz="quarter" idx="31" hasCustomPrompt="1"/>
          </p:nvPr>
        </p:nvSpPr>
        <p:spPr bwMode="gray">
          <a:xfrm>
            <a:off x="8329468" y="1569544"/>
            <a:ext cx="1355440" cy="1572237"/>
          </a:xfrm>
          <a:solidFill>
            <a:schemeClr val="bg2"/>
          </a:solidFill>
        </p:spPr>
        <p:txBody>
          <a:bodyPr vert="horz" lIns="36000" tIns="864000" rIns="36000" bIns="36000" rtlCol="0">
            <a:noAutofit/>
          </a:bodyPr>
          <a:lstStyle>
            <a:lvl1pPr algn="ctr">
              <a:defRPr lang="en-GB" sz="800" dirty="0">
                <a:solidFill>
                  <a:schemeClr val="tx2"/>
                </a:solidFill>
              </a:defRPr>
            </a:lvl1pPr>
          </a:lstStyle>
          <a:p>
            <a:pPr lvl="0" algn="ctr"/>
            <a:r>
              <a:rPr lang="es-ES"/>
              <a:t>Imagen</a:t>
            </a:r>
            <a:endParaRPr lang="es-ES" dirty="0"/>
          </a:p>
        </p:txBody>
      </p:sp>
      <p:sp>
        <p:nvSpPr>
          <p:cNvPr id="42" name="TextBox 7">
            <a:extLst>
              <a:ext uri="{FF2B5EF4-FFF2-40B4-BE49-F238E27FC236}">
                <a16:creationId xmlns:a16="http://schemas.microsoft.com/office/drawing/2014/main" id="{0ACBC6BD-AF1C-4AC3-B989-7C0851FD4A36}"/>
              </a:ext>
            </a:extLst>
          </p:cNvPr>
          <p:cNvSpPr txBox="1"/>
          <p:nvPr userDrawn="1"/>
        </p:nvSpPr>
        <p:spPr bwMode="gray">
          <a:xfrm>
            <a:off x="1046185" y="5403599"/>
            <a:ext cx="1048877" cy="297454"/>
          </a:xfrm>
          <a:prstGeom prst="rect">
            <a:avLst/>
          </a:prstGeom>
          <a:noFill/>
        </p:spPr>
        <p:txBody>
          <a:bodyPr wrap="none" rtlCol="0">
            <a:spAutoFit/>
          </a:bodyPr>
          <a:lstStyle/>
          <a:p>
            <a:pPr>
              <a:spcBef>
                <a:spcPts val="3200"/>
              </a:spcBef>
              <a:buClr>
                <a:srgbClr val="C00000"/>
              </a:buClr>
            </a:pPr>
            <a:r>
              <a:rPr lang="es-ES" sz="1333">
                <a:solidFill>
                  <a:schemeClr val="tx1">
                    <a:lumMod val="75000"/>
                    <a:lumOff val="25000"/>
                  </a:schemeClr>
                </a:solidFill>
              </a:rPr>
              <a:t>www.giz.de</a:t>
            </a:r>
            <a:endParaRPr lang="es-ES" sz="1333" dirty="0">
              <a:solidFill>
                <a:schemeClr val="tx1">
                  <a:lumMod val="75000"/>
                  <a:lumOff val="25000"/>
                </a:schemeClr>
              </a:solidFill>
            </a:endParaRPr>
          </a:p>
        </p:txBody>
      </p:sp>
      <p:pic>
        <p:nvPicPr>
          <p:cNvPr id="43" name="Grafik 42" descr="Ein Bild, das Axt, Werkzeug enthält.&#10;&#10;Mit sehr hoher Zuverlässigkeit generierte Beschreibung">
            <a:extLst>
              <a:ext uri="{FF2B5EF4-FFF2-40B4-BE49-F238E27FC236}">
                <a16:creationId xmlns:a16="http://schemas.microsoft.com/office/drawing/2014/main" id="{1409F6AC-26EC-4924-85C7-7C52829EA0B7}"/>
              </a:ext>
            </a:extLst>
          </p:cNvPr>
          <p:cNvPicPr>
            <a:picLocks noChangeAspect="1"/>
          </p:cNvPicPr>
          <p:nvPr userDrawn="1"/>
        </p:nvPicPr>
        <p:blipFill>
          <a:blip r:embed="rId3"/>
          <a:stretch>
            <a:fillRect/>
          </a:stretch>
        </p:blipFill>
        <p:spPr bwMode="gray">
          <a:xfrm>
            <a:off x="3031312" y="5442596"/>
            <a:ext cx="387637" cy="315277"/>
          </a:xfrm>
          <a:prstGeom prst="rect">
            <a:avLst/>
          </a:prstGeom>
        </p:spPr>
      </p:pic>
      <p:pic>
        <p:nvPicPr>
          <p:cNvPr id="44" name="Grafik 43">
            <a:extLst>
              <a:ext uri="{FF2B5EF4-FFF2-40B4-BE49-F238E27FC236}">
                <a16:creationId xmlns:a16="http://schemas.microsoft.com/office/drawing/2014/main" id="{95D9641D-18D8-4757-B59C-824BED8ECD98}"/>
              </a:ext>
            </a:extLst>
          </p:cNvPr>
          <p:cNvPicPr>
            <a:picLocks noChangeAspect="1"/>
          </p:cNvPicPr>
          <p:nvPr userDrawn="1"/>
        </p:nvPicPr>
        <p:blipFill>
          <a:blip r:embed="rId4"/>
          <a:stretch>
            <a:fillRect/>
          </a:stretch>
        </p:blipFill>
        <p:spPr bwMode="gray">
          <a:xfrm>
            <a:off x="6614904" y="5408252"/>
            <a:ext cx="312688" cy="312685"/>
          </a:xfrm>
          <a:prstGeom prst="rect">
            <a:avLst/>
          </a:prstGeom>
        </p:spPr>
      </p:pic>
      <p:grpSp>
        <p:nvGrpSpPr>
          <p:cNvPr id="45" name="Gruppieren 44">
            <a:extLst>
              <a:ext uri="{FF2B5EF4-FFF2-40B4-BE49-F238E27FC236}">
                <a16:creationId xmlns:a16="http://schemas.microsoft.com/office/drawing/2014/main" id="{5C7EA8DE-E5C0-4542-A14B-2F893BDFC8D1}"/>
              </a:ext>
            </a:extLst>
          </p:cNvPr>
          <p:cNvGrpSpPr/>
          <p:nvPr userDrawn="1"/>
        </p:nvGrpSpPr>
        <p:grpSpPr bwMode="gray">
          <a:xfrm>
            <a:off x="592656" y="5372336"/>
            <a:ext cx="350163" cy="396344"/>
            <a:chOff x="4933951" y="-41275"/>
            <a:chExt cx="2130425" cy="2411413"/>
          </a:xfrm>
        </p:grpSpPr>
        <p:sp>
          <p:nvSpPr>
            <p:cNvPr id="46" name="Freeform 6">
              <a:extLst>
                <a:ext uri="{FF2B5EF4-FFF2-40B4-BE49-F238E27FC236}">
                  <a16:creationId xmlns:a16="http://schemas.microsoft.com/office/drawing/2014/main" id="{05EE60F5-13C7-4FF2-87FA-B42FCFE9CCF1}"/>
                </a:ext>
              </a:extLst>
            </p:cNvPr>
            <p:cNvSpPr>
              <a:spLocks noEditPoints="1"/>
            </p:cNvSpPr>
            <p:nvPr/>
          </p:nvSpPr>
          <p:spPr bwMode="gray">
            <a:xfrm>
              <a:off x="4945063" y="1435100"/>
              <a:ext cx="2114550" cy="935038"/>
            </a:xfrm>
            <a:custGeom>
              <a:avLst/>
              <a:gdLst>
                <a:gd name="T0" fmla="*/ 287 w 425"/>
                <a:gd name="T1" fmla="*/ 25 h 188"/>
                <a:gd name="T2" fmla="*/ 297 w 425"/>
                <a:gd name="T3" fmla="*/ 2 h 188"/>
                <a:gd name="T4" fmla="*/ 325 w 425"/>
                <a:gd name="T5" fmla="*/ 0 h 188"/>
                <a:gd name="T6" fmla="*/ 321 w 425"/>
                <a:gd name="T7" fmla="*/ 23 h 188"/>
                <a:gd name="T8" fmla="*/ 382 w 425"/>
                <a:gd name="T9" fmla="*/ 25 h 188"/>
                <a:gd name="T10" fmla="*/ 394 w 425"/>
                <a:gd name="T11" fmla="*/ 2 h 188"/>
                <a:gd name="T12" fmla="*/ 423 w 425"/>
                <a:gd name="T13" fmla="*/ 0 h 188"/>
                <a:gd name="T14" fmla="*/ 307 w 425"/>
                <a:gd name="T15" fmla="*/ 135 h 188"/>
                <a:gd name="T16" fmla="*/ 0 w 425"/>
                <a:gd name="T17" fmla="*/ 2 h 188"/>
                <a:gd name="T18" fmla="*/ 28 w 425"/>
                <a:gd name="T19" fmla="*/ 0 h 188"/>
                <a:gd name="T20" fmla="*/ 40 w 425"/>
                <a:gd name="T21" fmla="*/ 23 h 188"/>
                <a:gd name="T22" fmla="*/ 101 w 425"/>
                <a:gd name="T23" fmla="*/ 25 h 188"/>
                <a:gd name="T24" fmla="*/ 97 w 425"/>
                <a:gd name="T25" fmla="*/ 3 h 188"/>
                <a:gd name="T26" fmla="*/ 125 w 425"/>
                <a:gd name="T27" fmla="*/ 0 h 188"/>
                <a:gd name="T28" fmla="*/ 134 w 425"/>
                <a:gd name="T29" fmla="*/ 23 h 188"/>
                <a:gd name="T30" fmla="*/ 192 w 425"/>
                <a:gd name="T31" fmla="*/ 25 h 188"/>
                <a:gd name="T32" fmla="*/ 194 w 425"/>
                <a:gd name="T33" fmla="*/ 2 h 188"/>
                <a:gd name="T34" fmla="*/ 221 w 425"/>
                <a:gd name="T35" fmla="*/ 0 h 188"/>
                <a:gd name="T36" fmla="*/ 224 w 425"/>
                <a:gd name="T37" fmla="*/ 23 h 188"/>
                <a:gd name="T38" fmla="*/ 256 w 425"/>
                <a:gd name="T39" fmla="*/ 25 h 188"/>
                <a:gd name="T40" fmla="*/ 362 w 425"/>
                <a:gd name="T41" fmla="*/ 55 h 188"/>
                <a:gd name="T42" fmla="*/ 307 w 425"/>
                <a:gd name="T43" fmla="*/ 56 h 188"/>
                <a:gd name="T44" fmla="*/ 256 w 425"/>
                <a:gd name="T45" fmla="*/ 121 h 188"/>
                <a:gd name="T46" fmla="*/ 363 w 425"/>
                <a:gd name="T47" fmla="*/ 56 h 188"/>
                <a:gd name="T48" fmla="*/ 87 w 425"/>
                <a:gd name="T49" fmla="*/ 55 h 188"/>
                <a:gd name="T50" fmla="*/ 61 w 425"/>
                <a:gd name="T51" fmla="*/ 55 h 188"/>
                <a:gd name="T52" fmla="*/ 155 w 425"/>
                <a:gd name="T53" fmla="*/ 118 h 188"/>
                <a:gd name="T54" fmla="*/ 156 w 425"/>
                <a:gd name="T55" fmla="*/ 117 h 188"/>
                <a:gd name="T56" fmla="*/ 111 w 425"/>
                <a:gd name="T57" fmla="*/ 55 h 188"/>
                <a:gd name="T58" fmla="*/ 224 w 425"/>
                <a:gd name="T59" fmla="*/ 81 h 188"/>
                <a:gd name="T60" fmla="*/ 224 w 425"/>
                <a:gd name="T61" fmla="*/ 108 h 188"/>
                <a:gd name="T62" fmla="*/ 273 w 425"/>
                <a:gd name="T63" fmla="*/ 56 h 188"/>
                <a:gd name="T64" fmla="*/ 225 w 425"/>
                <a:gd name="T65" fmla="*/ 55 h 188"/>
                <a:gd name="T66" fmla="*/ 224 w 425"/>
                <a:gd name="T67" fmla="*/ 81 h 188"/>
                <a:gd name="T68" fmla="*/ 194 w 425"/>
                <a:gd name="T69" fmla="*/ 56 h 188"/>
                <a:gd name="T70" fmla="*/ 148 w 425"/>
                <a:gd name="T71" fmla="*/ 55 h 188"/>
                <a:gd name="T72" fmla="*/ 192 w 425"/>
                <a:gd name="T73" fmla="*/ 109 h 188"/>
                <a:gd name="T74" fmla="*/ 194 w 425"/>
                <a:gd name="T75" fmla="*/ 10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5" h="188">
                  <a:moveTo>
                    <a:pt x="256" y="25"/>
                  </a:moveTo>
                  <a:cubicBezTo>
                    <a:pt x="267" y="25"/>
                    <a:pt x="277" y="25"/>
                    <a:pt x="287" y="25"/>
                  </a:cubicBezTo>
                  <a:cubicBezTo>
                    <a:pt x="288" y="25"/>
                    <a:pt x="290" y="24"/>
                    <a:pt x="290" y="23"/>
                  </a:cubicBezTo>
                  <a:cubicBezTo>
                    <a:pt x="292" y="16"/>
                    <a:pt x="294" y="9"/>
                    <a:pt x="297" y="2"/>
                  </a:cubicBezTo>
                  <a:cubicBezTo>
                    <a:pt x="297" y="2"/>
                    <a:pt x="298" y="0"/>
                    <a:pt x="299" y="0"/>
                  </a:cubicBezTo>
                  <a:cubicBezTo>
                    <a:pt x="308" y="0"/>
                    <a:pt x="316" y="0"/>
                    <a:pt x="325" y="0"/>
                  </a:cubicBezTo>
                  <a:cubicBezTo>
                    <a:pt x="326" y="0"/>
                    <a:pt x="327" y="2"/>
                    <a:pt x="326" y="2"/>
                  </a:cubicBezTo>
                  <a:cubicBezTo>
                    <a:pt x="325" y="9"/>
                    <a:pt x="323" y="16"/>
                    <a:pt x="321" y="23"/>
                  </a:cubicBezTo>
                  <a:cubicBezTo>
                    <a:pt x="321" y="23"/>
                    <a:pt x="322" y="25"/>
                    <a:pt x="322" y="25"/>
                  </a:cubicBezTo>
                  <a:cubicBezTo>
                    <a:pt x="342" y="25"/>
                    <a:pt x="362" y="25"/>
                    <a:pt x="382" y="25"/>
                  </a:cubicBezTo>
                  <a:cubicBezTo>
                    <a:pt x="383" y="25"/>
                    <a:pt x="384" y="24"/>
                    <a:pt x="384" y="23"/>
                  </a:cubicBezTo>
                  <a:cubicBezTo>
                    <a:pt x="388" y="16"/>
                    <a:pt x="391" y="9"/>
                    <a:pt x="394" y="2"/>
                  </a:cubicBezTo>
                  <a:cubicBezTo>
                    <a:pt x="394" y="1"/>
                    <a:pt x="395" y="0"/>
                    <a:pt x="396" y="0"/>
                  </a:cubicBezTo>
                  <a:cubicBezTo>
                    <a:pt x="405" y="0"/>
                    <a:pt x="414" y="0"/>
                    <a:pt x="423" y="0"/>
                  </a:cubicBezTo>
                  <a:cubicBezTo>
                    <a:pt x="424" y="0"/>
                    <a:pt x="425" y="2"/>
                    <a:pt x="425" y="3"/>
                  </a:cubicBezTo>
                  <a:cubicBezTo>
                    <a:pt x="405" y="64"/>
                    <a:pt x="365" y="108"/>
                    <a:pt x="307" y="135"/>
                  </a:cubicBezTo>
                  <a:cubicBezTo>
                    <a:pt x="195" y="188"/>
                    <a:pt x="60" y="139"/>
                    <a:pt x="10" y="28"/>
                  </a:cubicBezTo>
                  <a:cubicBezTo>
                    <a:pt x="6" y="20"/>
                    <a:pt x="3" y="11"/>
                    <a:pt x="0" y="2"/>
                  </a:cubicBezTo>
                  <a:cubicBezTo>
                    <a:pt x="0" y="2"/>
                    <a:pt x="1" y="0"/>
                    <a:pt x="1" y="0"/>
                  </a:cubicBezTo>
                  <a:cubicBezTo>
                    <a:pt x="10" y="0"/>
                    <a:pt x="19" y="0"/>
                    <a:pt x="28" y="0"/>
                  </a:cubicBezTo>
                  <a:cubicBezTo>
                    <a:pt x="29" y="0"/>
                    <a:pt x="30" y="1"/>
                    <a:pt x="31" y="2"/>
                  </a:cubicBezTo>
                  <a:cubicBezTo>
                    <a:pt x="34" y="9"/>
                    <a:pt x="37" y="16"/>
                    <a:pt x="40" y="23"/>
                  </a:cubicBezTo>
                  <a:cubicBezTo>
                    <a:pt x="41" y="24"/>
                    <a:pt x="42" y="25"/>
                    <a:pt x="43" y="25"/>
                  </a:cubicBezTo>
                  <a:cubicBezTo>
                    <a:pt x="62" y="25"/>
                    <a:pt x="81" y="25"/>
                    <a:pt x="101" y="25"/>
                  </a:cubicBezTo>
                  <a:cubicBezTo>
                    <a:pt x="101" y="25"/>
                    <a:pt x="102" y="23"/>
                    <a:pt x="102" y="23"/>
                  </a:cubicBezTo>
                  <a:cubicBezTo>
                    <a:pt x="101" y="16"/>
                    <a:pt x="99" y="9"/>
                    <a:pt x="97" y="3"/>
                  </a:cubicBezTo>
                  <a:cubicBezTo>
                    <a:pt x="97" y="2"/>
                    <a:pt x="98" y="0"/>
                    <a:pt x="99" y="0"/>
                  </a:cubicBezTo>
                  <a:cubicBezTo>
                    <a:pt x="108" y="0"/>
                    <a:pt x="116" y="0"/>
                    <a:pt x="125" y="0"/>
                  </a:cubicBezTo>
                  <a:cubicBezTo>
                    <a:pt x="126" y="0"/>
                    <a:pt x="127" y="1"/>
                    <a:pt x="127" y="2"/>
                  </a:cubicBezTo>
                  <a:cubicBezTo>
                    <a:pt x="130" y="9"/>
                    <a:pt x="131" y="16"/>
                    <a:pt x="134" y="23"/>
                  </a:cubicBezTo>
                  <a:cubicBezTo>
                    <a:pt x="134" y="24"/>
                    <a:pt x="135" y="25"/>
                    <a:pt x="136" y="25"/>
                  </a:cubicBezTo>
                  <a:cubicBezTo>
                    <a:pt x="155" y="25"/>
                    <a:pt x="173" y="25"/>
                    <a:pt x="192" y="25"/>
                  </a:cubicBezTo>
                  <a:cubicBezTo>
                    <a:pt x="193" y="25"/>
                    <a:pt x="194" y="24"/>
                    <a:pt x="194" y="23"/>
                  </a:cubicBezTo>
                  <a:cubicBezTo>
                    <a:pt x="194" y="16"/>
                    <a:pt x="194" y="9"/>
                    <a:pt x="194" y="2"/>
                  </a:cubicBezTo>
                  <a:cubicBezTo>
                    <a:pt x="194" y="2"/>
                    <a:pt x="195" y="0"/>
                    <a:pt x="196" y="0"/>
                  </a:cubicBezTo>
                  <a:cubicBezTo>
                    <a:pt x="205" y="0"/>
                    <a:pt x="213" y="0"/>
                    <a:pt x="221" y="0"/>
                  </a:cubicBezTo>
                  <a:cubicBezTo>
                    <a:pt x="222" y="0"/>
                    <a:pt x="223" y="2"/>
                    <a:pt x="223" y="3"/>
                  </a:cubicBezTo>
                  <a:cubicBezTo>
                    <a:pt x="224" y="9"/>
                    <a:pt x="223" y="16"/>
                    <a:pt x="224" y="23"/>
                  </a:cubicBezTo>
                  <a:cubicBezTo>
                    <a:pt x="224" y="23"/>
                    <a:pt x="225" y="25"/>
                    <a:pt x="226" y="25"/>
                  </a:cubicBezTo>
                  <a:cubicBezTo>
                    <a:pt x="236" y="25"/>
                    <a:pt x="246" y="25"/>
                    <a:pt x="256" y="25"/>
                  </a:cubicBezTo>
                  <a:close/>
                  <a:moveTo>
                    <a:pt x="364" y="55"/>
                  </a:moveTo>
                  <a:cubicBezTo>
                    <a:pt x="363" y="55"/>
                    <a:pt x="363" y="55"/>
                    <a:pt x="362" y="55"/>
                  </a:cubicBezTo>
                  <a:cubicBezTo>
                    <a:pt x="345" y="55"/>
                    <a:pt x="328" y="54"/>
                    <a:pt x="311" y="55"/>
                  </a:cubicBezTo>
                  <a:cubicBezTo>
                    <a:pt x="310" y="55"/>
                    <a:pt x="308" y="56"/>
                    <a:pt x="307" y="56"/>
                  </a:cubicBezTo>
                  <a:cubicBezTo>
                    <a:pt x="295" y="81"/>
                    <a:pt x="279" y="103"/>
                    <a:pt x="257" y="120"/>
                  </a:cubicBezTo>
                  <a:cubicBezTo>
                    <a:pt x="257" y="121"/>
                    <a:pt x="257" y="121"/>
                    <a:pt x="256" y="121"/>
                  </a:cubicBezTo>
                  <a:cubicBezTo>
                    <a:pt x="257" y="122"/>
                    <a:pt x="257" y="122"/>
                    <a:pt x="258" y="122"/>
                  </a:cubicBezTo>
                  <a:cubicBezTo>
                    <a:pt x="300" y="111"/>
                    <a:pt x="335" y="90"/>
                    <a:pt x="363" y="56"/>
                  </a:cubicBezTo>
                  <a:cubicBezTo>
                    <a:pt x="363" y="56"/>
                    <a:pt x="364" y="55"/>
                    <a:pt x="364" y="55"/>
                  </a:cubicBezTo>
                  <a:close/>
                  <a:moveTo>
                    <a:pt x="87" y="55"/>
                  </a:moveTo>
                  <a:cubicBezTo>
                    <a:pt x="79" y="55"/>
                    <a:pt x="71" y="54"/>
                    <a:pt x="62" y="55"/>
                  </a:cubicBezTo>
                  <a:cubicBezTo>
                    <a:pt x="62" y="55"/>
                    <a:pt x="61" y="55"/>
                    <a:pt x="61" y="55"/>
                  </a:cubicBezTo>
                  <a:cubicBezTo>
                    <a:pt x="61" y="55"/>
                    <a:pt x="61" y="56"/>
                    <a:pt x="62" y="56"/>
                  </a:cubicBezTo>
                  <a:cubicBezTo>
                    <a:pt x="86" y="86"/>
                    <a:pt x="118" y="107"/>
                    <a:pt x="155" y="118"/>
                  </a:cubicBezTo>
                  <a:cubicBezTo>
                    <a:pt x="156" y="118"/>
                    <a:pt x="156" y="118"/>
                    <a:pt x="156" y="118"/>
                  </a:cubicBezTo>
                  <a:cubicBezTo>
                    <a:pt x="156" y="118"/>
                    <a:pt x="156" y="118"/>
                    <a:pt x="156" y="117"/>
                  </a:cubicBezTo>
                  <a:cubicBezTo>
                    <a:pt x="137" y="100"/>
                    <a:pt x="124" y="79"/>
                    <a:pt x="114" y="56"/>
                  </a:cubicBezTo>
                  <a:cubicBezTo>
                    <a:pt x="114" y="55"/>
                    <a:pt x="112" y="55"/>
                    <a:pt x="111" y="55"/>
                  </a:cubicBezTo>
                  <a:cubicBezTo>
                    <a:pt x="103" y="54"/>
                    <a:pt x="95" y="55"/>
                    <a:pt x="87" y="55"/>
                  </a:cubicBezTo>
                  <a:close/>
                  <a:moveTo>
                    <a:pt x="224" y="81"/>
                  </a:moveTo>
                  <a:cubicBezTo>
                    <a:pt x="224" y="89"/>
                    <a:pt x="224" y="98"/>
                    <a:pt x="224" y="106"/>
                  </a:cubicBezTo>
                  <a:cubicBezTo>
                    <a:pt x="224" y="107"/>
                    <a:pt x="224" y="107"/>
                    <a:pt x="224" y="108"/>
                  </a:cubicBezTo>
                  <a:cubicBezTo>
                    <a:pt x="224" y="108"/>
                    <a:pt x="225" y="107"/>
                    <a:pt x="226" y="107"/>
                  </a:cubicBezTo>
                  <a:cubicBezTo>
                    <a:pt x="246" y="94"/>
                    <a:pt x="261" y="76"/>
                    <a:pt x="273" y="56"/>
                  </a:cubicBezTo>
                  <a:cubicBezTo>
                    <a:pt x="274" y="56"/>
                    <a:pt x="273" y="55"/>
                    <a:pt x="272" y="55"/>
                  </a:cubicBezTo>
                  <a:cubicBezTo>
                    <a:pt x="257" y="54"/>
                    <a:pt x="241" y="54"/>
                    <a:pt x="225" y="55"/>
                  </a:cubicBezTo>
                  <a:cubicBezTo>
                    <a:pt x="225" y="55"/>
                    <a:pt x="224" y="56"/>
                    <a:pt x="224" y="56"/>
                  </a:cubicBezTo>
                  <a:cubicBezTo>
                    <a:pt x="224" y="65"/>
                    <a:pt x="224" y="73"/>
                    <a:pt x="224" y="81"/>
                  </a:cubicBezTo>
                  <a:close/>
                  <a:moveTo>
                    <a:pt x="194" y="82"/>
                  </a:moveTo>
                  <a:cubicBezTo>
                    <a:pt x="194" y="73"/>
                    <a:pt x="194" y="65"/>
                    <a:pt x="194" y="56"/>
                  </a:cubicBezTo>
                  <a:cubicBezTo>
                    <a:pt x="194" y="56"/>
                    <a:pt x="193" y="55"/>
                    <a:pt x="192" y="55"/>
                  </a:cubicBezTo>
                  <a:cubicBezTo>
                    <a:pt x="178" y="54"/>
                    <a:pt x="163" y="54"/>
                    <a:pt x="148" y="55"/>
                  </a:cubicBezTo>
                  <a:cubicBezTo>
                    <a:pt x="148" y="55"/>
                    <a:pt x="147" y="56"/>
                    <a:pt x="147" y="56"/>
                  </a:cubicBezTo>
                  <a:cubicBezTo>
                    <a:pt x="158" y="77"/>
                    <a:pt x="172" y="95"/>
                    <a:pt x="192" y="109"/>
                  </a:cubicBezTo>
                  <a:cubicBezTo>
                    <a:pt x="193" y="109"/>
                    <a:pt x="193" y="109"/>
                    <a:pt x="194" y="109"/>
                  </a:cubicBezTo>
                  <a:cubicBezTo>
                    <a:pt x="194" y="109"/>
                    <a:pt x="194" y="108"/>
                    <a:pt x="194" y="108"/>
                  </a:cubicBezTo>
                  <a:cubicBezTo>
                    <a:pt x="194" y="99"/>
                    <a:pt x="194" y="91"/>
                    <a:pt x="194" y="8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47" name="Freeform 7">
              <a:extLst>
                <a:ext uri="{FF2B5EF4-FFF2-40B4-BE49-F238E27FC236}">
                  <a16:creationId xmlns:a16="http://schemas.microsoft.com/office/drawing/2014/main" id="{BAA2DC66-D523-4725-9384-AA70E4C61DD3}"/>
                </a:ext>
              </a:extLst>
            </p:cNvPr>
            <p:cNvSpPr>
              <a:spLocks noEditPoints="1"/>
            </p:cNvSpPr>
            <p:nvPr/>
          </p:nvSpPr>
          <p:spPr bwMode="gray">
            <a:xfrm>
              <a:off x="4945063" y="-41275"/>
              <a:ext cx="2108200" cy="860425"/>
            </a:xfrm>
            <a:custGeom>
              <a:avLst/>
              <a:gdLst>
                <a:gd name="T0" fmla="*/ 45 w 424"/>
                <a:gd name="T1" fmla="*/ 148 h 173"/>
                <a:gd name="T2" fmla="*/ 32 w 424"/>
                <a:gd name="T3" fmla="*/ 170 h 173"/>
                <a:gd name="T4" fmla="*/ 3 w 424"/>
                <a:gd name="T5" fmla="*/ 173 h 173"/>
                <a:gd name="T6" fmla="*/ 155 w 424"/>
                <a:gd name="T7" fmla="*/ 28 h 173"/>
                <a:gd name="T8" fmla="*/ 424 w 424"/>
                <a:gd name="T9" fmla="*/ 171 h 173"/>
                <a:gd name="T10" fmla="*/ 395 w 424"/>
                <a:gd name="T11" fmla="*/ 173 h 173"/>
                <a:gd name="T12" fmla="*/ 382 w 424"/>
                <a:gd name="T13" fmla="*/ 149 h 173"/>
                <a:gd name="T14" fmla="*/ 321 w 424"/>
                <a:gd name="T15" fmla="*/ 148 h 173"/>
                <a:gd name="T16" fmla="*/ 325 w 424"/>
                <a:gd name="T17" fmla="*/ 171 h 173"/>
                <a:gd name="T18" fmla="*/ 297 w 424"/>
                <a:gd name="T19" fmla="*/ 173 h 173"/>
                <a:gd name="T20" fmla="*/ 287 w 424"/>
                <a:gd name="T21" fmla="*/ 149 h 173"/>
                <a:gd name="T22" fmla="*/ 225 w 424"/>
                <a:gd name="T23" fmla="*/ 148 h 173"/>
                <a:gd name="T24" fmla="*/ 223 w 424"/>
                <a:gd name="T25" fmla="*/ 170 h 173"/>
                <a:gd name="T26" fmla="*/ 196 w 424"/>
                <a:gd name="T27" fmla="*/ 173 h 173"/>
                <a:gd name="T28" fmla="*/ 194 w 424"/>
                <a:gd name="T29" fmla="*/ 150 h 173"/>
                <a:gd name="T30" fmla="*/ 137 w 424"/>
                <a:gd name="T31" fmla="*/ 148 h 173"/>
                <a:gd name="T32" fmla="*/ 128 w 424"/>
                <a:gd name="T33" fmla="*/ 171 h 173"/>
                <a:gd name="T34" fmla="*/ 99 w 424"/>
                <a:gd name="T35" fmla="*/ 173 h 173"/>
                <a:gd name="T36" fmla="*/ 103 w 424"/>
                <a:gd name="T37" fmla="*/ 150 h 173"/>
                <a:gd name="T38" fmla="*/ 73 w 424"/>
                <a:gd name="T39" fmla="*/ 148 h 173"/>
                <a:gd name="T40" fmla="*/ 359 w 424"/>
                <a:gd name="T41" fmla="*/ 118 h 173"/>
                <a:gd name="T42" fmla="*/ 360 w 424"/>
                <a:gd name="T43" fmla="*/ 116 h 173"/>
                <a:gd name="T44" fmla="*/ 258 w 424"/>
                <a:gd name="T45" fmla="*/ 56 h 173"/>
                <a:gd name="T46" fmla="*/ 305 w 424"/>
                <a:gd name="T47" fmla="*/ 116 h 173"/>
                <a:gd name="T48" fmla="*/ 333 w 424"/>
                <a:gd name="T49" fmla="*/ 118 h 173"/>
                <a:gd name="T50" fmla="*/ 113 w 424"/>
                <a:gd name="T51" fmla="*/ 118 h 173"/>
                <a:gd name="T52" fmla="*/ 157 w 424"/>
                <a:gd name="T53" fmla="*/ 59 h 173"/>
                <a:gd name="T54" fmla="*/ 157 w 424"/>
                <a:gd name="T55" fmla="*/ 58 h 173"/>
                <a:gd name="T56" fmla="*/ 64 w 424"/>
                <a:gd name="T57" fmla="*/ 118 h 173"/>
                <a:gd name="T58" fmla="*/ 90 w 424"/>
                <a:gd name="T59" fmla="*/ 118 h 173"/>
                <a:gd name="T60" fmla="*/ 269 w 424"/>
                <a:gd name="T61" fmla="*/ 118 h 173"/>
                <a:gd name="T62" fmla="*/ 225 w 424"/>
                <a:gd name="T63" fmla="*/ 68 h 173"/>
                <a:gd name="T64" fmla="*/ 224 w 424"/>
                <a:gd name="T65" fmla="*/ 69 h 173"/>
                <a:gd name="T66" fmla="*/ 225 w 424"/>
                <a:gd name="T67" fmla="*/ 118 h 173"/>
                <a:gd name="T68" fmla="*/ 194 w 424"/>
                <a:gd name="T69" fmla="*/ 93 h 173"/>
                <a:gd name="T70" fmla="*/ 194 w 424"/>
                <a:gd name="T71" fmla="*/ 68 h 173"/>
                <a:gd name="T72" fmla="*/ 150 w 424"/>
                <a:gd name="T73" fmla="*/ 116 h 173"/>
                <a:gd name="T74" fmla="*/ 192 w 424"/>
                <a:gd name="T75" fmla="*/ 118 h 173"/>
                <a:gd name="T76" fmla="*/ 194 w 424"/>
                <a:gd name="T77" fmla="*/ 9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4" h="173">
                  <a:moveTo>
                    <a:pt x="73" y="148"/>
                  </a:moveTo>
                  <a:cubicBezTo>
                    <a:pt x="64" y="148"/>
                    <a:pt x="55" y="148"/>
                    <a:pt x="45" y="148"/>
                  </a:cubicBezTo>
                  <a:cubicBezTo>
                    <a:pt x="44" y="148"/>
                    <a:pt x="43" y="149"/>
                    <a:pt x="42" y="149"/>
                  </a:cubicBezTo>
                  <a:cubicBezTo>
                    <a:pt x="39" y="156"/>
                    <a:pt x="36" y="164"/>
                    <a:pt x="32" y="170"/>
                  </a:cubicBezTo>
                  <a:cubicBezTo>
                    <a:pt x="32" y="171"/>
                    <a:pt x="30" y="173"/>
                    <a:pt x="29" y="173"/>
                  </a:cubicBezTo>
                  <a:cubicBezTo>
                    <a:pt x="21" y="173"/>
                    <a:pt x="12" y="173"/>
                    <a:pt x="3" y="173"/>
                  </a:cubicBezTo>
                  <a:cubicBezTo>
                    <a:pt x="1" y="173"/>
                    <a:pt x="0" y="172"/>
                    <a:pt x="1" y="170"/>
                  </a:cubicBezTo>
                  <a:cubicBezTo>
                    <a:pt x="28" y="96"/>
                    <a:pt x="80" y="48"/>
                    <a:pt x="155" y="28"/>
                  </a:cubicBezTo>
                  <a:cubicBezTo>
                    <a:pt x="258" y="0"/>
                    <a:pt x="366" y="50"/>
                    <a:pt x="413" y="144"/>
                  </a:cubicBezTo>
                  <a:cubicBezTo>
                    <a:pt x="417" y="153"/>
                    <a:pt x="420" y="162"/>
                    <a:pt x="424" y="171"/>
                  </a:cubicBezTo>
                  <a:cubicBezTo>
                    <a:pt x="424" y="171"/>
                    <a:pt x="423" y="173"/>
                    <a:pt x="422" y="173"/>
                  </a:cubicBezTo>
                  <a:cubicBezTo>
                    <a:pt x="413" y="173"/>
                    <a:pt x="404" y="173"/>
                    <a:pt x="395" y="173"/>
                  </a:cubicBezTo>
                  <a:cubicBezTo>
                    <a:pt x="394" y="173"/>
                    <a:pt x="393" y="172"/>
                    <a:pt x="392" y="171"/>
                  </a:cubicBezTo>
                  <a:cubicBezTo>
                    <a:pt x="389" y="164"/>
                    <a:pt x="386" y="156"/>
                    <a:pt x="382" y="149"/>
                  </a:cubicBezTo>
                  <a:cubicBezTo>
                    <a:pt x="382" y="148"/>
                    <a:pt x="381" y="148"/>
                    <a:pt x="380" y="148"/>
                  </a:cubicBezTo>
                  <a:cubicBezTo>
                    <a:pt x="360" y="148"/>
                    <a:pt x="340" y="148"/>
                    <a:pt x="321" y="148"/>
                  </a:cubicBezTo>
                  <a:cubicBezTo>
                    <a:pt x="320" y="148"/>
                    <a:pt x="319" y="149"/>
                    <a:pt x="319" y="150"/>
                  </a:cubicBezTo>
                  <a:cubicBezTo>
                    <a:pt x="321" y="157"/>
                    <a:pt x="323" y="164"/>
                    <a:pt x="325" y="171"/>
                  </a:cubicBezTo>
                  <a:cubicBezTo>
                    <a:pt x="325" y="171"/>
                    <a:pt x="325" y="173"/>
                    <a:pt x="324" y="173"/>
                  </a:cubicBezTo>
                  <a:cubicBezTo>
                    <a:pt x="315" y="173"/>
                    <a:pt x="306" y="173"/>
                    <a:pt x="297" y="173"/>
                  </a:cubicBezTo>
                  <a:cubicBezTo>
                    <a:pt x="296" y="173"/>
                    <a:pt x="295" y="172"/>
                    <a:pt x="295" y="171"/>
                  </a:cubicBezTo>
                  <a:cubicBezTo>
                    <a:pt x="292" y="164"/>
                    <a:pt x="290" y="156"/>
                    <a:pt x="287" y="149"/>
                  </a:cubicBezTo>
                  <a:cubicBezTo>
                    <a:pt x="287" y="148"/>
                    <a:pt x="286" y="148"/>
                    <a:pt x="285" y="148"/>
                  </a:cubicBezTo>
                  <a:cubicBezTo>
                    <a:pt x="265" y="148"/>
                    <a:pt x="245" y="148"/>
                    <a:pt x="225" y="148"/>
                  </a:cubicBezTo>
                  <a:cubicBezTo>
                    <a:pt x="225" y="148"/>
                    <a:pt x="224" y="149"/>
                    <a:pt x="224" y="150"/>
                  </a:cubicBezTo>
                  <a:cubicBezTo>
                    <a:pt x="223" y="156"/>
                    <a:pt x="224" y="163"/>
                    <a:pt x="223" y="170"/>
                  </a:cubicBezTo>
                  <a:cubicBezTo>
                    <a:pt x="223" y="171"/>
                    <a:pt x="222" y="173"/>
                    <a:pt x="221" y="173"/>
                  </a:cubicBezTo>
                  <a:cubicBezTo>
                    <a:pt x="213" y="173"/>
                    <a:pt x="205" y="173"/>
                    <a:pt x="196" y="173"/>
                  </a:cubicBezTo>
                  <a:cubicBezTo>
                    <a:pt x="195" y="173"/>
                    <a:pt x="194" y="171"/>
                    <a:pt x="194" y="170"/>
                  </a:cubicBezTo>
                  <a:cubicBezTo>
                    <a:pt x="194" y="164"/>
                    <a:pt x="194" y="157"/>
                    <a:pt x="194" y="150"/>
                  </a:cubicBezTo>
                  <a:cubicBezTo>
                    <a:pt x="194" y="149"/>
                    <a:pt x="193" y="148"/>
                    <a:pt x="192" y="148"/>
                  </a:cubicBezTo>
                  <a:cubicBezTo>
                    <a:pt x="174" y="148"/>
                    <a:pt x="156" y="148"/>
                    <a:pt x="137" y="148"/>
                  </a:cubicBezTo>
                  <a:cubicBezTo>
                    <a:pt x="137" y="148"/>
                    <a:pt x="135" y="149"/>
                    <a:pt x="135" y="149"/>
                  </a:cubicBezTo>
                  <a:cubicBezTo>
                    <a:pt x="133" y="156"/>
                    <a:pt x="131" y="164"/>
                    <a:pt x="128" y="171"/>
                  </a:cubicBezTo>
                  <a:cubicBezTo>
                    <a:pt x="128" y="172"/>
                    <a:pt x="127" y="173"/>
                    <a:pt x="126" y="173"/>
                  </a:cubicBezTo>
                  <a:cubicBezTo>
                    <a:pt x="117" y="173"/>
                    <a:pt x="108" y="173"/>
                    <a:pt x="99" y="173"/>
                  </a:cubicBezTo>
                  <a:cubicBezTo>
                    <a:pt x="99" y="173"/>
                    <a:pt x="98" y="171"/>
                    <a:pt x="98" y="171"/>
                  </a:cubicBezTo>
                  <a:cubicBezTo>
                    <a:pt x="100" y="164"/>
                    <a:pt x="101" y="157"/>
                    <a:pt x="103" y="150"/>
                  </a:cubicBezTo>
                  <a:cubicBezTo>
                    <a:pt x="103" y="149"/>
                    <a:pt x="102" y="148"/>
                    <a:pt x="102" y="148"/>
                  </a:cubicBezTo>
                  <a:cubicBezTo>
                    <a:pt x="92" y="148"/>
                    <a:pt x="83" y="148"/>
                    <a:pt x="73" y="148"/>
                  </a:cubicBezTo>
                  <a:close/>
                  <a:moveTo>
                    <a:pt x="333" y="118"/>
                  </a:moveTo>
                  <a:cubicBezTo>
                    <a:pt x="342" y="118"/>
                    <a:pt x="350" y="118"/>
                    <a:pt x="359" y="118"/>
                  </a:cubicBezTo>
                  <a:cubicBezTo>
                    <a:pt x="359" y="118"/>
                    <a:pt x="360" y="118"/>
                    <a:pt x="360" y="118"/>
                  </a:cubicBezTo>
                  <a:cubicBezTo>
                    <a:pt x="360" y="117"/>
                    <a:pt x="360" y="117"/>
                    <a:pt x="360" y="116"/>
                  </a:cubicBezTo>
                  <a:cubicBezTo>
                    <a:pt x="332" y="86"/>
                    <a:pt x="299" y="66"/>
                    <a:pt x="259" y="56"/>
                  </a:cubicBezTo>
                  <a:cubicBezTo>
                    <a:pt x="259" y="56"/>
                    <a:pt x="258" y="56"/>
                    <a:pt x="258" y="56"/>
                  </a:cubicBezTo>
                  <a:cubicBezTo>
                    <a:pt x="258" y="56"/>
                    <a:pt x="258" y="57"/>
                    <a:pt x="259" y="57"/>
                  </a:cubicBezTo>
                  <a:cubicBezTo>
                    <a:pt x="278" y="74"/>
                    <a:pt x="293" y="94"/>
                    <a:pt x="305" y="116"/>
                  </a:cubicBezTo>
                  <a:cubicBezTo>
                    <a:pt x="305" y="117"/>
                    <a:pt x="307" y="118"/>
                    <a:pt x="308" y="118"/>
                  </a:cubicBezTo>
                  <a:cubicBezTo>
                    <a:pt x="316" y="118"/>
                    <a:pt x="325" y="118"/>
                    <a:pt x="333" y="118"/>
                  </a:cubicBezTo>
                  <a:close/>
                  <a:moveTo>
                    <a:pt x="90" y="118"/>
                  </a:moveTo>
                  <a:cubicBezTo>
                    <a:pt x="98" y="118"/>
                    <a:pt x="106" y="118"/>
                    <a:pt x="113" y="118"/>
                  </a:cubicBezTo>
                  <a:cubicBezTo>
                    <a:pt x="114" y="118"/>
                    <a:pt x="116" y="117"/>
                    <a:pt x="116" y="116"/>
                  </a:cubicBezTo>
                  <a:cubicBezTo>
                    <a:pt x="127" y="95"/>
                    <a:pt x="140" y="76"/>
                    <a:pt x="157" y="59"/>
                  </a:cubicBezTo>
                  <a:cubicBezTo>
                    <a:pt x="158" y="59"/>
                    <a:pt x="158" y="58"/>
                    <a:pt x="158" y="58"/>
                  </a:cubicBezTo>
                  <a:cubicBezTo>
                    <a:pt x="158" y="58"/>
                    <a:pt x="157" y="58"/>
                    <a:pt x="157" y="58"/>
                  </a:cubicBezTo>
                  <a:cubicBezTo>
                    <a:pt x="121" y="69"/>
                    <a:pt x="90" y="88"/>
                    <a:pt x="65" y="116"/>
                  </a:cubicBezTo>
                  <a:cubicBezTo>
                    <a:pt x="65" y="117"/>
                    <a:pt x="65" y="117"/>
                    <a:pt x="64" y="118"/>
                  </a:cubicBezTo>
                  <a:cubicBezTo>
                    <a:pt x="65" y="118"/>
                    <a:pt x="65" y="118"/>
                    <a:pt x="66" y="118"/>
                  </a:cubicBezTo>
                  <a:cubicBezTo>
                    <a:pt x="74" y="118"/>
                    <a:pt x="82" y="118"/>
                    <a:pt x="90" y="118"/>
                  </a:cubicBezTo>
                  <a:close/>
                  <a:moveTo>
                    <a:pt x="247" y="118"/>
                  </a:moveTo>
                  <a:cubicBezTo>
                    <a:pt x="255" y="118"/>
                    <a:pt x="262" y="118"/>
                    <a:pt x="269" y="118"/>
                  </a:cubicBezTo>
                  <a:cubicBezTo>
                    <a:pt x="270" y="118"/>
                    <a:pt x="270" y="117"/>
                    <a:pt x="270" y="116"/>
                  </a:cubicBezTo>
                  <a:cubicBezTo>
                    <a:pt x="258" y="98"/>
                    <a:pt x="244" y="81"/>
                    <a:pt x="225" y="68"/>
                  </a:cubicBezTo>
                  <a:cubicBezTo>
                    <a:pt x="225" y="68"/>
                    <a:pt x="224" y="68"/>
                    <a:pt x="224" y="67"/>
                  </a:cubicBezTo>
                  <a:cubicBezTo>
                    <a:pt x="224" y="68"/>
                    <a:pt x="224" y="69"/>
                    <a:pt x="224" y="69"/>
                  </a:cubicBezTo>
                  <a:cubicBezTo>
                    <a:pt x="224" y="85"/>
                    <a:pt x="224" y="100"/>
                    <a:pt x="224" y="116"/>
                  </a:cubicBezTo>
                  <a:cubicBezTo>
                    <a:pt x="224" y="117"/>
                    <a:pt x="225" y="118"/>
                    <a:pt x="225" y="118"/>
                  </a:cubicBezTo>
                  <a:cubicBezTo>
                    <a:pt x="233" y="118"/>
                    <a:pt x="240" y="118"/>
                    <a:pt x="247" y="118"/>
                  </a:cubicBezTo>
                  <a:close/>
                  <a:moveTo>
                    <a:pt x="194" y="93"/>
                  </a:moveTo>
                  <a:cubicBezTo>
                    <a:pt x="194" y="85"/>
                    <a:pt x="194" y="78"/>
                    <a:pt x="194" y="70"/>
                  </a:cubicBezTo>
                  <a:cubicBezTo>
                    <a:pt x="194" y="69"/>
                    <a:pt x="194" y="68"/>
                    <a:pt x="194" y="68"/>
                  </a:cubicBezTo>
                  <a:cubicBezTo>
                    <a:pt x="193" y="68"/>
                    <a:pt x="192" y="68"/>
                    <a:pt x="192" y="69"/>
                  </a:cubicBezTo>
                  <a:cubicBezTo>
                    <a:pt x="175" y="82"/>
                    <a:pt x="161" y="98"/>
                    <a:pt x="150" y="116"/>
                  </a:cubicBezTo>
                  <a:cubicBezTo>
                    <a:pt x="150" y="117"/>
                    <a:pt x="151" y="118"/>
                    <a:pt x="151" y="118"/>
                  </a:cubicBezTo>
                  <a:cubicBezTo>
                    <a:pt x="165" y="118"/>
                    <a:pt x="179" y="118"/>
                    <a:pt x="192" y="118"/>
                  </a:cubicBezTo>
                  <a:cubicBezTo>
                    <a:pt x="193" y="118"/>
                    <a:pt x="194" y="117"/>
                    <a:pt x="194" y="116"/>
                  </a:cubicBezTo>
                  <a:cubicBezTo>
                    <a:pt x="194" y="108"/>
                    <a:pt x="194" y="101"/>
                    <a:pt x="194" y="9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48" name="Freeform 8">
              <a:extLst>
                <a:ext uri="{FF2B5EF4-FFF2-40B4-BE49-F238E27FC236}">
                  <a16:creationId xmlns:a16="http://schemas.microsoft.com/office/drawing/2014/main" id="{575115B3-4C7D-4A6F-93E9-3A63D5591B69}"/>
                </a:ext>
              </a:extLst>
            </p:cNvPr>
            <p:cNvSpPr>
              <a:spLocks/>
            </p:cNvSpPr>
            <p:nvPr/>
          </p:nvSpPr>
          <p:spPr bwMode="gray">
            <a:xfrm>
              <a:off x="4933951" y="952500"/>
              <a:ext cx="617538" cy="363538"/>
            </a:xfrm>
            <a:custGeom>
              <a:avLst/>
              <a:gdLst>
                <a:gd name="T0" fmla="*/ 90 w 124"/>
                <a:gd name="T1" fmla="*/ 72 h 73"/>
                <a:gd name="T2" fmla="*/ 77 w 124"/>
                <a:gd name="T3" fmla="*/ 63 h 73"/>
                <a:gd name="T4" fmla="*/ 63 w 124"/>
                <a:gd name="T5" fmla="*/ 23 h 73"/>
                <a:gd name="T6" fmla="*/ 62 w 124"/>
                <a:gd name="T7" fmla="*/ 21 h 73"/>
                <a:gd name="T8" fmla="*/ 61 w 124"/>
                <a:gd name="T9" fmla="*/ 23 h 73"/>
                <a:gd name="T10" fmla="*/ 46 w 124"/>
                <a:gd name="T11" fmla="*/ 64 h 73"/>
                <a:gd name="T12" fmla="*/ 32 w 124"/>
                <a:gd name="T13" fmla="*/ 73 h 73"/>
                <a:gd name="T14" fmla="*/ 19 w 124"/>
                <a:gd name="T15" fmla="*/ 63 h 73"/>
                <a:gd name="T16" fmla="*/ 2 w 124"/>
                <a:gd name="T17" fmla="*/ 14 h 73"/>
                <a:gd name="T18" fmla="*/ 6 w 124"/>
                <a:gd name="T19" fmla="*/ 2 h 73"/>
                <a:gd name="T20" fmla="*/ 21 w 124"/>
                <a:gd name="T21" fmla="*/ 7 h 73"/>
                <a:gd name="T22" fmla="*/ 31 w 124"/>
                <a:gd name="T23" fmla="*/ 41 h 73"/>
                <a:gd name="T24" fmla="*/ 34 w 124"/>
                <a:gd name="T25" fmla="*/ 49 h 73"/>
                <a:gd name="T26" fmla="*/ 37 w 124"/>
                <a:gd name="T27" fmla="*/ 42 h 73"/>
                <a:gd name="T28" fmla="*/ 47 w 124"/>
                <a:gd name="T29" fmla="*/ 11 h 73"/>
                <a:gd name="T30" fmla="*/ 62 w 124"/>
                <a:gd name="T31" fmla="*/ 1 h 73"/>
                <a:gd name="T32" fmla="*/ 76 w 124"/>
                <a:gd name="T33" fmla="*/ 11 h 73"/>
                <a:gd name="T34" fmla="*/ 89 w 124"/>
                <a:gd name="T35" fmla="*/ 47 h 73"/>
                <a:gd name="T36" fmla="*/ 90 w 124"/>
                <a:gd name="T37" fmla="*/ 49 h 73"/>
                <a:gd name="T38" fmla="*/ 90 w 124"/>
                <a:gd name="T39" fmla="*/ 47 h 73"/>
                <a:gd name="T40" fmla="*/ 101 w 124"/>
                <a:gd name="T41" fmla="*/ 10 h 73"/>
                <a:gd name="T42" fmla="*/ 113 w 124"/>
                <a:gd name="T43" fmla="*/ 1 h 73"/>
                <a:gd name="T44" fmla="*/ 121 w 124"/>
                <a:gd name="T45" fmla="*/ 13 h 73"/>
                <a:gd name="T46" fmla="*/ 104 w 124"/>
                <a:gd name="T47" fmla="*/ 63 h 73"/>
                <a:gd name="T48" fmla="*/ 90 w 124"/>
                <a:gd name="T49"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73">
                  <a:moveTo>
                    <a:pt x="90" y="72"/>
                  </a:moveTo>
                  <a:cubicBezTo>
                    <a:pt x="84" y="73"/>
                    <a:pt x="79" y="70"/>
                    <a:pt x="77" y="63"/>
                  </a:cubicBezTo>
                  <a:cubicBezTo>
                    <a:pt x="72" y="50"/>
                    <a:pt x="67" y="37"/>
                    <a:pt x="63" y="23"/>
                  </a:cubicBezTo>
                  <a:cubicBezTo>
                    <a:pt x="62" y="22"/>
                    <a:pt x="62" y="22"/>
                    <a:pt x="62" y="21"/>
                  </a:cubicBezTo>
                  <a:cubicBezTo>
                    <a:pt x="61" y="22"/>
                    <a:pt x="61" y="22"/>
                    <a:pt x="61" y="23"/>
                  </a:cubicBezTo>
                  <a:cubicBezTo>
                    <a:pt x="56" y="37"/>
                    <a:pt x="51" y="50"/>
                    <a:pt x="46" y="64"/>
                  </a:cubicBezTo>
                  <a:cubicBezTo>
                    <a:pt x="44" y="70"/>
                    <a:pt x="40" y="73"/>
                    <a:pt x="32" y="73"/>
                  </a:cubicBezTo>
                  <a:cubicBezTo>
                    <a:pt x="25" y="72"/>
                    <a:pt x="21" y="69"/>
                    <a:pt x="19" y="63"/>
                  </a:cubicBezTo>
                  <a:cubicBezTo>
                    <a:pt x="13" y="47"/>
                    <a:pt x="8" y="30"/>
                    <a:pt x="2" y="14"/>
                  </a:cubicBezTo>
                  <a:cubicBezTo>
                    <a:pt x="0" y="8"/>
                    <a:pt x="1" y="4"/>
                    <a:pt x="6" y="2"/>
                  </a:cubicBezTo>
                  <a:cubicBezTo>
                    <a:pt x="12" y="0"/>
                    <a:pt x="19" y="2"/>
                    <a:pt x="21" y="7"/>
                  </a:cubicBezTo>
                  <a:cubicBezTo>
                    <a:pt x="25" y="18"/>
                    <a:pt x="28" y="30"/>
                    <a:pt x="31" y="41"/>
                  </a:cubicBezTo>
                  <a:cubicBezTo>
                    <a:pt x="32" y="44"/>
                    <a:pt x="33" y="47"/>
                    <a:pt x="34" y="49"/>
                  </a:cubicBezTo>
                  <a:cubicBezTo>
                    <a:pt x="35" y="47"/>
                    <a:pt x="36" y="44"/>
                    <a:pt x="37" y="42"/>
                  </a:cubicBezTo>
                  <a:cubicBezTo>
                    <a:pt x="40" y="31"/>
                    <a:pt x="44" y="21"/>
                    <a:pt x="47" y="11"/>
                  </a:cubicBezTo>
                  <a:cubicBezTo>
                    <a:pt x="50" y="4"/>
                    <a:pt x="54" y="1"/>
                    <a:pt x="62" y="1"/>
                  </a:cubicBezTo>
                  <a:cubicBezTo>
                    <a:pt x="69" y="1"/>
                    <a:pt x="73" y="4"/>
                    <a:pt x="76" y="11"/>
                  </a:cubicBezTo>
                  <a:cubicBezTo>
                    <a:pt x="80" y="23"/>
                    <a:pt x="84" y="35"/>
                    <a:pt x="89" y="47"/>
                  </a:cubicBezTo>
                  <a:cubicBezTo>
                    <a:pt x="89" y="48"/>
                    <a:pt x="89" y="49"/>
                    <a:pt x="90" y="49"/>
                  </a:cubicBezTo>
                  <a:cubicBezTo>
                    <a:pt x="90" y="48"/>
                    <a:pt x="90" y="48"/>
                    <a:pt x="90" y="47"/>
                  </a:cubicBezTo>
                  <a:cubicBezTo>
                    <a:pt x="94" y="35"/>
                    <a:pt x="97" y="23"/>
                    <a:pt x="101" y="10"/>
                  </a:cubicBezTo>
                  <a:cubicBezTo>
                    <a:pt x="103" y="3"/>
                    <a:pt x="106" y="1"/>
                    <a:pt x="113" y="1"/>
                  </a:cubicBezTo>
                  <a:cubicBezTo>
                    <a:pt x="121" y="2"/>
                    <a:pt x="124" y="6"/>
                    <a:pt x="121" y="13"/>
                  </a:cubicBezTo>
                  <a:cubicBezTo>
                    <a:pt x="116" y="30"/>
                    <a:pt x="110" y="47"/>
                    <a:pt x="104" y="63"/>
                  </a:cubicBezTo>
                  <a:cubicBezTo>
                    <a:pt x="102" y="70"/>
                    <a:pt x="98" y="72"/>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49" name="Freeform 9">
              <a:extLst>
                <a:ext uri="{FF2B5EF4-FFF2-40B4-BE49-F238E27FC236}">
                  <a16:creationId xmlns:a16="http://schemas.microsoft.com/office/drawing/2014/main" id="{CFB7063B-0DFA-4BB9-957F-7F068926E556}"/>
                </a:ext>
              </a:extLst>
            </p:cNvPr>
            <p:cNvSpPr>
              <a:spLocks/>
            </p:cNvSpPr>
            <p:nvPr/>
          </p:nvSpPr>
          <p:spPr bwMode="gray">
            <a:xfrm>
              <a:off x="6446838" y="952500"/>
              <a:ext cx="617538" cy="363538"/>
            </a:xfrm>
            <a:custGeom>
              <a:avLst/>
              <a:gdLst>
                <a:gd name="T0" fmla="*/ 90 w 124"/>
                <a:gd name="T1" fmla="*/ 72 h 73"/>
                <a:gd name="T2" fmla="*/ 77 w 124"/>
                <a:gd name="T3" fmla="*/ 63 h 73"/>
                <a:gd name="T4" fmla="*/ 63 w 124"/>
                <a:gd name="T5" fmla="*/ 23 h 73"/>
                <a:gd name="T6" fmla="*/ 62 w 124"/>
                <a:gd name="T7" fmla="*/ 21 h 73"/>
                <a:gd name="T8" fmla="*/ 61 w 124"/>
                <a:gd name="T9" fmla="*/ 23 h 73"/>
                <a:gd name="T10" fmla="*/ 47 w 124"/>
                <a:gd name="T11" fmla="*/ 63 h 73"/>
                <a:gd name="T12" fmla="*/ 32 w 124"/>
                <a:gd name="T13" fmla="*/ 72 h 73"/>
                <a:gd name="T14" fmla="*/ 19 w 124"/>
                <a:gd name="T15" fmla="*/ 63 h 73"/>
                <a:gd name="T16" fmla="*/ 2 w 124"/>
                <a:gd name="T17" fmla="*/ 14 h 73"/>
                <a:gd name="T18" fmla="*/ 6 w 124"/>
                <a:gd name="T19" fmla="*/ 2 h 73"/>
                <a:gd name="T20" fmla="*/ 21 w 124"/>
                <a:gd name="T21" fmla="*/ 6 h 73"/>
                <a:gd name="T22" fmla="*/ 31 w 124"/>
                <a:gd name="T23" fmla="*/ 40 h 73"/>
                <a:gd name="T24" fmla="*/ 33 w 124"/>
                <a:gd name="T25" fmla="*/ 48 h 73"/>
                <a:gd name="T26" fmla="*/ 34 w 124"/>
                <a:gd name="T27" fmla="*/ 49 h 73"/>
                <a:gd name="T28" fmla="*/ 35 w 124"/>
                <a:gd name="T29" fmla="*/ 48 h 73"/>
                <a:gd name="T30" fmla="*/ 47 w 124"/>
                <a:gd name="T31" fmla="*/ 12 h 73"/>
                <a:gd name="T32" fmla="*/ 62 w 124"/>
                <a:gd name="T33" fmla="*/ 1 h 73"/>
                <a:gd name="T34" fmla="*/ 76 w 124"/>
                <a:gd name="T35" fmla="*/ 12 h 73"/>
                <a:gd name="T36" fmla="*/ 89 w 124"/>
                <a:gd name="T37" fmla="*/ 48 h 73"/>
                <a:gd name="T38" fmla="*/ 90 w 124"/>
                <a:gd name="T39" fmla="*/ 49 h 73"/>
                <a:gd name="T40" fmla="*/ 90 w 124"/>
                <a:gd name="T41" fmla="*/ 48 h 73"/>
                <a:gd name="T42" fmla="*/ 101 w 124"/>
                <a:gd name="T43" fmla="*/ 10 h 73"/>
                <a:gd name="T44" fmla="*/ 112 w 124"/>
                <a:gd name="T45" fmla="*/ 1 h 73"/>
                <a:gd name="T46" fmla="*/ 121 w 124"/>
                <a:gd name="T47" fmla="*/ 14 h 73"/>
                <a:gd name="T48" fmla="*/ 104 w 124"/>
                <a:gd name="T49" fmla="*/ 63 h 73"/>
                <a:gd name="T50" fmla="*/ 90 w 124"/>
                <a:gd name="T51"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 h="73">
                  <a:moveTo>
                    <a:pt x="90" y="72"/>
                  </a:moveTo>
                  <a:cubicBezTo>
                    <a:pt x="84" y="73"/>
                    <a:pt x="79" y="70"/>
                    <a:pt x="77" y="63"/>
                  </a:cubicBezTo>
                  <a:cubicBezTo>
                    <a:pt x="72" y="50"/>
                    <a:pt x="68" y="36"/>
                    <a:pt x="63" y="23"/>
                  </a:cubicBezTo>
                  <a:cubicBezTo>
                    <a:pt x="63" y="22"/>
                    <a:pt x="62" y="22"/>
                    <a:pt x="62" y="21"/>
                  </a:cubicBezTo>
                  <a:cubicBezTo>
                    <a:pt x="62" y="22"/>
                    <a:pt x="61" y="22"/>
                    <a:pt x="61" y="23"/>
                  </a:cubicBezTo>
                  <a:cubicBezTo>
                    <a:pt x="56" y="36"/>
                    <a:pt x="52" y="50"/>
                    <a:pt x="47" y="63"/>
                  </a:cubicBezTo>
                  <a:cubicBezTo>
                    <a:pt x="44" y="70"/>
                    <a:pt x="40" y="73"/>
                    <a:pt x="32" y="72"/>
                  </a:cubicBezTo>
                  <a:cubicBezTo>
                    <a:pt x="25" y="72"/>
                    <a:pt x="22" y="70"/>
                    <a:pt x="19" y="63"/>
                  </a:cubicBezTo>
                  <a:cubicBezTo>
                    <a:pt x="13" y="46"/>
                    <a:pt x="8" y="30"/>
                    <a:pt x="2" y="14"/>
                  </a:cubicBezTo>
                  <a:cubicBezTo>
                    <a:pt x="0" y="9"/>
                    <a:pt x="0" y="5"/>
                    <a:pt x="6" y="2"/>
                  </a:cubicBezTo>
                  <a:cubicBezTo>
                    <a:pt x="12" y="0"/>
                    <a:pt x="19" y="1"/>
                    <a:pt x="21" y="6"/>
                  </a:cubicBezTo>
                  <a:cubicBezTo>
                    <a:pt x="25" y="17"/>
                    <a:pt x="28" y="29"/>
                    <a:pt x="31" y="40"/>
                  </a:cubicBezTo>
                  <a:cubicBezTo>
                    <a:pt x="32" y="42"/>
                    <a:pt x="33" y="45"/>
                    <a:pt x="33" y="48"/>
                  </a:cubicBezTo>
                  <a:cubicBezTo>
                    <a:pt x="33" y="48"/>
                    <a:pt x="34" y="49"/>
                    <a:pt x="34" y="49"/>
                  </a:cubicBezTo>
                  <a:cubicBezTo>
                    <a:pt x="34" y="49"/>
                    <a:pt x="34" y="48"/>
                    <a:pt x="35" y="48"/>
                  </a:cubicBezTo>
                  <a:cubicBezTo>
                    <a:pt x="39" y="36"/>
                    <a:pt x="43" y="24"/>
                    <a:pt x="47" y="12"/>
                  </a:cubicBezTo>
                  <a:cubicBezTo>
                    <a:pt x="50" y="4"/>
                    <a:pt x="54" y="1"/>
                    <a:pt x="62" y="1"/>
                  </a:cubicBezTo>
                  <a:cubicBezTo>
                    <a:pt x="70" y="1"/>
                    <a:pt x="73" y="4"/>
                    <a:pt x="76" y="12"/>
                  </a:cubicBezTo>
                  <a:cubicBezTo>
                    <a:pt x="81" y="23"/>
                    <a:pt x="85" y="36"/>
                    <a:pt x="89" y="48"/>
                  </a:cubicBezTo>
                  <a:cubicBezTo>
                    <a:pt x="89" y="48"/>
                    <a:pt x="90" y="49"/>
                    <a:pt x="90" y="49"/>
                  </a:cubicBezTo>
                  <a:cubicBezTo>
                    <a:pt x="90" y="49"/>
                    <a:pt x="90" y="48"/>
                    <a:pt x="90" y="48"/>
                  </a:cubicBezTo>
                  <a:cubicBezTo>
                    <a:pt x="94" y="35"/>
                    <a:pt x="98" y="23"/>
                    <a:pt x="101" y="10"/>
                  </a:cubicBezTo>
                  <a:cubicBezTo>
                    <a:pt x="103" y="5"/>
                    <a:pt x="106" y="2"/>
                    <a:pt x="112" y="1"/>
                  </a:cubicBezTo>
                  <a:cubicBezTo>
                    <a:pt x="121" y="1"/>
                    <a:pt x="124" y="6"/>
                    <a:pt x="121" y="14"/>
                  </a:cubicBezTo>
                  <a:cubicBezTo>
                    <a:pt x="116" y="31"/>
                    <a:pt x="110" y="47"/>
                    <a:pt x="104" y="63"/>
                  </a:cubicBezTo>
                  <a:cubicBezTo>
                    <a:pt x="102" y="70"/>
                    <a:pt x="98" y="72"/>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50" name="Freeform 10">
              <a:extLst>
                <a:ext uri="{FF2B5EF4-FFF2-40B4-BE49-F238E27FC236}">
                  <a16:creationId xmlns:a16="http://schemas.microsoft.com/office/drawing/2014/main" id="{131A025F-51C1-46B8-8513-E958EFF8699E}"/>
                </a:ext>
              </a:extLst>
            </p:cNvPr>
            <p:cNvSpPr>
              <a:spLocks/>
            </p:cNvSpPr>
            <p:nvPr/>
          </p:nvSpPr>
          <p:spPr bwMode="gray">
            <a:xfrm>
              <a:off x="5691188" y="952500"/>
              <a:ext cx="615950" cy="363538"/>
            </a:xfrm>
            <a:custGeom>
              <a:avLst/>
              <a:gdLst>
                <a:gd name="T0" fmla="*/ 90 w 124"/>
                <a:gd name="T1" fmla="*/ 72 h 73"/>
                <a:gd name="T2" fmla="*/ 77 w 124"/>
                <a:gd name="T3" fmla="*/ 64 h 73"/>
                <a:gd name="T4" fmla="*/ 63 w 124"/>
                <a:gd name="T5" fmla="*/ 23 h 73"/>
                <a:gd name="T6" fmla="*/ 62 w 124"/>
                <a:gd name="T7" fmla="*/ 21 h 73"/>
                <a:gd name="T8" fmla="*/ 61 w 124"/>
                <a:gd name="T9" fmla="*/ 23 h 73"/>
                <a:gd name="T10" fmla="*/ 46 w 124"/>
                <a:gd name="T11" fmla="*/ 63 h 73"/>
                <a:gd name="T12" fmla="*/ 32 w 124"/>
                <a:gd name="T13" fmla="*/ 72 h 73"/>
                <a:gd name="T14" fmla="*/ 19 w 124"/>
                <a:gd name="T15" fmla="*/ 63 h 73"/>
                <a:gd name="T16" fmla="*/ 2 w 124"/>
                <a:gd name="T17" fmla="*/ 14 h 73"/>
                <a:gd name="T18" fmla="*/ 6 w 124"/>
                <a:gd name="T19" fmla="*/ 2 h 73"/>
                <a:gd name="T20" fmla="*/ 21 w 124"/>
                <a:gd name="T21" fmla="*/ 7 h 73"/>
                <a:gd name="T22" fmla="*/ 31 w 124"/>
                <a:gd name="T23" fmla="*/ 42 h 73"/>
                <a:gd name="T24" fmla="*/ 34 w 124"/>
                <a:gd name="T25" fmla="*/ 49 h 73"/>
                <a:gd name="T26" fmla="*/ 37 w 124"/>
                <a:gd name="T27" fmla="*/ 42 h 73"/>
                <a:gd name="T28" fmla="*/ 48 w 124"/>
                <a:gd name="T29" fmla="*/ 10 h 73"/>
                <a:gd name="T30" fmla="*/ 62 w 124"/>
                <a:gd name="T31" fmla="*/ 1 h 73"/>
                <a:gd name="T32" fmla="*/ 76 w 124"/>
                <a:gd name="T33" fmla="*/ 10 h 73"/>
                <a:gd name="T34" fmla="*/ 89 w 124"/>
                <a:gd name="T35" fmla="*/ 47 h 73"/>
                <a:gd name="T36" fmla="*/ 90 w 124"/>
                <a:gd name="T37" fmla="*/ 49 h 73"/>
                <a:gd name="T38" fmla="*/ 91 w 124"/>
                <a:gd name="T39" fmla="*/ 47 h 73"/>
                <a:gd name="T40" fmla="*/ 101 w 124"/>
                <a:gd name="T41" fmla="*/ 10 h 73"/>
                <a:gd name="T42" fmla="*/ 116 w 124"/>
                <a:gd name="T43" fmla="*/ 2 h 73"/>
                <a:gd name="T44" fmla="*/ 122 w 124"/>
                <a:gd name="T45" fmla="*/ 12 h 73"/>
                <a:gd name="T46" fmla="*/ 104 w 124"/>
                <a:gd name="T47" fmla="*/ 65 h 73"/>
                <a:gd name="T48" fmla="*/ 90 w 124"/>
                <a:gd name="T49"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73">
                  <a:moveTo>
                    <a:pt x="90" y="72"/>
                  </a:moveTo>
                  <a:cubicBezTo>
                    <a:pt x="84" y="73"/>
                    <a:pt x="79" y="70"/>
                    <a:pt x="77" y="64"/>
                  </a:cubicBezTo>
                  <a:cubicBezTo>
                    <a:pt x="72" y="50"/>
                    <a:pt x="68" y="36"/>
                    <a:pt x="63" y="23"/>
                  </a:cubicBezTo>
                  <a:cubicBezTo>
                    <a:pt x="62" y="22"/>
                    <a:pt x="62" y="22"/>
                    <a:pt x="62" y="21"/>
                  </a:cubicBezTo>
                  <a:cubicBezTo>
                    <a:pt x="61" y="22"/>
                    <a:pt x="61" y="22"/>
                    <a:pt x="61" y="23"/>
                  </a:cubicBezTo>
                  <a:cubicBezTo>
                    <a:pt x="56" y="36"/>
                    <a:pt x="51" y="50"/>
                    <a:pt x="46" y="63"/>
                  </a:cubicBezTo>
                  <a:cubicBezTo>
                    <a:pt x="44" y="70"/>
                    <a:pt x="40" y="73"/>
                    <a:pt x="32" y="72"/>
                  </a:cubicBezTo>
                  <a:cubicBezTo>
                    <a:pt x="25" y="72"/>
                    <a:pt x="22" y="70"/>
                    <a:pt x="19" y="63"/>
                  </a:cubicBezTo>
                  <a:cubicBezTo>
                    <a:pt x="13" y="46"/>
                    <a:pt x="8" y="30"/>
                    <a:pt x="2" y="14"/>
                  </a:cubicBezTo>
                  <a:cubicBezTo>
                    <a:pt x="0" y="7"/>
                    <a:pt x="1" y="4"/>
                    <a:pt x="6" y="2"/>
                  </a:cubicBezTo>
                  <a:cubicBezTo>
                    <a:pt x="12" y="0"/>
                    <a:pt x="19" y="2"/>
                    <a:pt x="21" y="7"/>
                  </a:cubicBezTo>
                  <a:cubicBezTo>
                    <a:pt x="25" y="19"/>
                    <a:pt x="28" y="30"/>
                    <a:pt x="31" y="42"/>
                  </a:cubicBezTo>
                  <a:cubicBezTo>
                    <a:pt x="32" y="44"/>
                    <a:pt x="33" y="47"/>
                    <a:pt x="34" y="49"/>
                  </a:cubicBezTo>
                  <a:cubicBezTo>
                    <a:pt x="35" y="47"/>
                    <a:pt x="36" y="44"/>
                    <a:pt x="37" y="42"/>
                  </a:cubicBezTo>
                  <a:cubicBezTo>
                    <a:pt x="40" y="31"/>
                    <a:pt x="44" y="21"/>
                    <a:pt x="48" y="10"/>
                  </a:cubicBezTo>
                  <a:cubicBezTo>
                    <a:pt x="50" y="3"/>
                    <a:pt x="55" y="1"/>
                    <a:pt x="62" y="1"/>
                  </a:cubicBezTo>
                  <a:cubicBezTo>
                    <a:pt x="69" y="1"/>
                    <a:pt x="73" y="4"/>
                    <a:pt x="76" y="10"/>
                  </a:cubicBezTo>
                  <a:cubicBezTo>
                    <a:pt x="80" y="23"/>
                    <a:pt x="84" y="35"/>
                    <a:pt x="89" y="47"/>
                  </a:cubicBezTo>
                  <a:cubicBezTo>
                    <a:pt x="89" y="48"/>
                    <a:pt x="89" y="48"/>
                    <a:pt x="90" y="49"/>
                  </a:cubicBezTo>
                  <a:cubicBezTo>
                    <a:pt x="90" y="48"/>
                    <a:pt x="90" y="48"/>
                    <a:pt x="91" y="47"/>
                  </a:cubicBezTo>
                  <a:cubicBezTo>
                    <a:pt x="94" y="35"/>
                    <a:pt x="98" y="22"/>
                    <a:pt x="101" y="10"/>
                  </a:cubicBezTo>
                  <a:cubicBezTo>
                    <a:pt x="103" y="3"/>
                    <a:pt x="108" y="0"/>
                    <a:pt x="116" y="2"/>
                  </a:cubicBezTo>
                  <a:cubicBezTo>
                    <a:pt x="121" y="3"/>
                    <a:pt x="124" y="7"/>
                    <a:pt x="122" y="12"/>
                  </a:cubicBezTo>
                  <a:cubicBezTo>
                    <a:pt x="116" y="30"/>
                    <a:pt x="110" y="47"/>
                    <a:pt x="104" y="65"/>
                  </a:cubicBezTo>
                  <a:cubicBezTo>
                    <a:pt x="101" y="71"/>
                    <a:pt x="97" y="73"/>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grpSp>
      <p:sp>
        <p:nvSpPr>
          <p:cNvPr id="51" name="TextBox 7">
            <a:extLst>
              <a:ext uri="{FF2B5EF4-FFF2-40B4-BE49-F238E27FC236}">
                <a16:creationId xmlns:a16="http://schemas.microsoft.com/office/drawing/2014/main" id="{D24B1108-EDD6-417B-A36D-F3867011F0AB}"/>
              </a:ext>
            </a:extLst>
          </p:cNvPr>
          <p:cNvSpPr txBox="1"/>
          <p:nvPr userDrawn="1"/>
        </p:nvSpPr>
        <p:spPr bwMode="gray">
          <a:xfrm>
            <a:off x="3496267" y="5403599"/>
            <a:ext cx="2305631" cy="297454"/>
          </a:xfrm>
          <a:prstGeom prst="rect">
            <a:avLst/>
          </a:prstGeom>
          <a:noFill/>
        </p:spPr>
        <p:txBody>
          <a:bodyPr wrap="none" rtlCol="0">
            <a:spAutoFit/>
          </a:bodyPr>
          <a:lstStyle/>
          <a:p>
            <a:pPr>
              <a:spcBef>
                <a:spcPts val="3200"/>
              </a:spcBef>
              <a:buClr>
                <a:srgbClr val="C00000"/>
              </a:buClr>
            </a:pPr>
            <a:r>
              <a:rPr lang="es-ES" sz="1333">
                <a:solidFill>
                  <a:schemeClr val="tx1">
                    <a:lumMod val="75000"/>
                    <a:lumOff val="25000"/>
                  </a:schemeClr>
                </a:solidFill>
              </a:rPr>
              <a:t>https://twitter.com/giz_gmbh</a:t>
            </a:r>
            <a:endParaRPr lang="es-ES" sz="1333" dirty="0">
              <a:solidFill>
                <a:schemeClr val="tx1">
                  <a:lumMod val="75000"/>
                  <a:lumOff val="25000"/>
                </a:schemeClr>
              </a:solidFill>
            </a:endParaRPr>
          </a:p>
        </p:txBody>
      </p:sp>
      <p:sp>
        <p:nvSpPr>
          <p:cNvPr id="52" name="TextBox 7">
            <a:extLst>
              <a:ext uri="{FF2B5EF4-FFF2-40B4-BE49-F238E27FC236}">
                <a16:creationId xmlns:a16="http://schemas.microsoft.com/office/drawing/2014/main" id="{D1A27A20-93C4-43EC-9799-1798AF93C848}"/>
              </a:ext>
            </a:extLst>
          </p:cNvPr>
          <p:cNvSpPr txBox="1"/>
          <p:nvPr userDrawn="1"/>
        </p:nvSpPr>
        <p:spPr bwMode="gray">
          <a:xfrm>
            <a:off x="7004908" y="5403599"/>
            <a:ext cx="2950038" cy="297454"/>
          </a:xfrm>
          <a:prstGeom prst="rect">
            <a:avLst/>
          </a:prstGeom>
          <a:noFill/>
        </p:spPr>
        <p:txBody>
          <a:bodyPr wrap="none" rtlCol="0">
            <a:spAutoFit/>
          </a:bodyPr>
          <a:lstStyle/>
          <a:p>
            <a:pPr>
              <a:spcBef>
                <a:spcPts val="3200"/>
              </a:spcBef>
              <a:buClr>
                <a:srgbClr val="C00000"/>
              </a:buClr>
            </a:pPr>
            <a:r>
              <a:rPr lang="es-ES" sz="1333">
                <a:solidFill>
                  <a:schemeClr val="tx1">
                    <a:lumMod val="75000"/>
                    <a:lumOff val="25000"/>
                  </a:schemeClr>
                </a:solidFill>
              </a:rPr>
              <a:t>https://www.facebook.com/gizprofile/</a:t>
            </a:r>
            <a:endParaRPr lang="es-ES" sz="1333" dirty="0">
              <a:solidFill>
                <a:schemeClr val="tx1">
                  <a:lumMod val="75000"/>
                  <a:lumOff val="25000"/>
                </a:schemeClr>
              </a:solidFill>
            </a:endParaRPr>
          </a:p>
        </p:txBody>
      </p:sp>
      <p:sp>
        <p:nvSpPr>
          <p:cNvPr id="2" name="Datumsplatzhalter 1">
            <a:extLst>
              <a:ext uri="{FF2B5EF4-FFF2-40B4-BE49-F238E27FC236}">
                <a16:creationId xmlns:a16="http://schemas.microsoft.com/office/drawing/2014/main" id="{4A59D2F4-6182-4A86-A5C5-1F36C72E8F0E}"/>
              </a:ext>
            </a:extLst>
          </p:cNvPr>
          <p:cNvSpPr>
            <a:spLocks noGrp="1"/>
          </p:cNvSpPr>
          <p:nvPr>
            <p:ph type="dt" sz="half" idx="32"/>
          </p:nvPr>
        </p:nvSpPr>
        <p:spPr/>
        <p:txBody>
          <a:bodyPr/>
          <a:lstStyle/>
          <a:p>
            <a:r>
              <a:rPr lang="es-ES"/>
              <a:t>14.02.2019</a:t>
            </a:r>
            <a:endParaRPr lang="es-ES" dirty="0"/>
          </a:p>
        </p:txBody>
      </p:sp>
      <p:sp>
        <p:nvSpPr>
          <p:cNvPr id="3" name="Fußzeilenplatzhalter 2">
            <a:extLst>
              <a:ext uri="{FF2B5EF4-FFF2-40B4-BE49-F238E27FC236}">
                <a16:creationId xmlns:a16="http://schemas.microsoft.com/office/drawing/2014/main" id="{425E7718-DF2F-46FC-9FB2-A0154A92C3E2}"/>
              </a:ext>
            </a:extLst>
          </p:cNvPr>
          <p:cNvSpPr>
            <a:spLocks noGrp="1"/>
          </p:cNvSpPr>
          <p:nvPr>
            <p:ph type="ftr" sz="quarter" idx="33"/>
          </p:nvPr>
        </p:nvSpPr>
        <p:spPr/>
        <p:txBody>
          <a:bodyPr/>
          <a:lstStyle/>
          <a:p>
            <a:r>
              <a:rPr lang="es-ES"/>
              <a:t>Título de la presentación</a:t>
            </a:r>
            <a:endParaRPr lang="es-ES" dirty="0"/>
          </a:p>
        </p:txBody>
      </p:sp>
      <p:sp>
        <p:nvSpPr>
          <p:cNvPr id="4" name="Foliennummernplatzhalter 3">
            <a:extLst>
              <a:ext uri="{FF2B5EF4-FFF2-40B4-BE49-F238E27FC236}">
                <a16:creationId xmlns:a16="http://schemas.microsoft.com/office/drawing/2014/main" id="{83BD616A-981C-4160-907F-2A913DECB9D5}"/>
              </a:ext>
            </a:extLst>
          </p:cNvPr>
          <p:cNvSpPr>
            <a:spLocks noGrp="1"/>
          </p:cNvSpPr>
          <p:nvPr>
            <p:ph type="sldNum" sz="quarter" idx="34"/>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406015069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ítulo foto">
    <p:spTree>
      <p:nvGrpSpPr>
        <p:cNvPr id="1" name=""/>
        <p:cNvGrpSpPr/>
        <p:nvPr/>
      </p:nvGrpSpPr>
      <p:grpSpPr>
        <a:xfrm>
          <a:off x="0" y="0"/>
          <a:ext cx="0" cy="0"/>
          <a:chOff x="0" y="0"/>
          <a:chExt cx="0" cy="0"/>
        </a:xfrm>
      </p:grpSpPr>
      <p:cxnSp>
        <p:nvCxnSpPr>
          <p:cNvPr id="6" name="Gerade Verbindung mit Pfeil 5">
            <a:extLst>
              <a:ext uri="{FF2B5EF4-FFF2-40B4-BE49-F238E27FC236}">
                <a16:creationId xmlns:a16="http://schemas.microsoft.com/office/drawing/2014/main" id="{FE685868-EA5A-4891-A28F-04F16BEAED38}"/>
              </a:ext>
            </a:extLst>
          </p:cNvPr>
          <p:cNvCxnSpPr/>
          <p:nvPr userDrawn="1"/>
        </p:nvCxnSpPr>
        <p:spPr bwMode="gray">
          <a:xfrm>
            <a:off x="6070600" y="1244600"/>
            <a:ext cx="0" cy="914400"/>
          </a:xfrm>
          <a:prstGeom prst="straightConnector1">
            <a:avLst/>
          </a:prstGeom>
          <a:ln w="12700">
            <a:prstDash val="sysDash"/>
            <a:tailEnd type="triangle" w="lg" len="lg"/>
          </a:ln>
        </p:spPr>
        <p:style>
          <a:lnRef idx="1">
            <a:schemeClr val="accent1"/>
          </a:lnRef>
          <a:fillRef idx="0">
            <a:schemeClr val="accent1"/>
          </a:fillRef>
          <a:effectRef idx="0">
            <a:schemeClr val="accent1"/>
          </a:effectRef>
          <a:fontRef idx="minor">
            <a:schemeClr val="tx1"/>
          </a:fontRef>
        </p:style>
      </p:cxnSp>
      <p:sp>
        <p:nvSpPr>
          <p:cNvPr id="13" name="Bildplatzhalter">
            <a:extLst>
              <a:ext uri="{FF2B5EF4-FFF2-40B4-BE49-F238E27FC236}">
                <a16:creationId xmlns:a16="http://schemas.microsoft.com/office/drawing/2014/main" id="{670A352A-9075-4383-BC37-7EF209BB4A7F}"/>
              </a:ext>
            </a:extLst>
          </p:cNvPr>
          <p:cNvSpPr>
            <a:spLocks noGrp="1"/>
          </p:cNvSpPr>
          <p:nvPr>
            <p:ph type="pic" sz="quarter" idx="11" hasCustomPrompt="1"/>
          </p:nvPr>
        </p:nvSpPr>
        <p:spPr bwMode="gray">
          <a:xfrm>
            <a:off x="164183" y="165103"/>
            <a:ext cx="11858487" cy="4721860"/>
          </a:xfrm>
          <a:noFill/>
        </p:spPr>
        <p:txBody>
          <a:bodyPr tIns="720000" rIns="0"/>
          <a:lstStyle>
            <a:lvl1pPr marL="0" marR="0" indent="0" algn="ctr" defTabSz="914392" rtl="0" eaLnBrk="1" fontAlgn="auto" latinLnBrk="0" hangingPunct="1">
              <a:lnSpc>
                <a:spcPct val="90000"/>
              </a:lnSpc>
              <a:spcBef>
                <a:spcPts val="0"/>
              </a:spcBef>
              <a:spcAft>
                <a:spcPts val="0"/>
              </a:spcAft>
              <a:buClrTx/>
              <a:buSzTx/>
              <a:buFont typeface="Arial" panose="020B0604020202020204" pitchFamily="34" charset="0"/>
              <a:buNone/>
              <a:tabLst/>
              <a:defRPr sz="667">
                <a:solidFill>
                  <a:schemeClr val="accent1"/>
                </a:solidFill>
              </a:defRPr>
            </a:lvl1pPr>
          </a:lstStyle>
          <a:p>
            <a:r>
              <a:rPr lang="es-ES"/>
              <a:t>.</a:t>
            </a:r>
            <a:endParaRPr lang="es-ES" dirty="0"/>
          </a:p>
        </p:txBody>
      </p:sp>
      <p:sp>
        <p:nvSpPr>
          <p:cNvPr id="3" name="1.">
            <a:extLst>
              <a:ext uri="{FF2B5EF4-FFF2-40B4-BE49-F238E27FC236}">
                <a16:creationId xmlns:a16="http://schemas.microsoft.com/office/drawing/2014/main" id="{6C4143CA-4DB1-41D8-8702-2CD00961FDB5}"/>
              </a:ext>
            </a:extLst>
          </p:cNvPr>
          <p:cNvSpPr/>
          <p:nvPr userDrawn="1"/>
        </p:nvSpPr>
        <p:spPr bwMode="gray">
          <a:xfrm>
            <a:off x="5101393" y="170887"/>
            <a:ext cx="1968500" cy="674031"/>
          </a:xfrm>
          <a:prstGeom prst="rect">
            <a:avLst/>
          </a:prstGeom>
        </p:spPr>
        <p:txBody>
          <a:bodyPr wrap="square">
            <a:spAutoFit/>
          </a:bodyPr>
          <a:lstStyle/>
          <a:p>
            <a:pPr marL="0" marR="0" lvl="0" indent="0" algn="l" defTabSz="914392"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s-ES" sz="1400" b="0" i="0" u="none" strike="noStrike" kern="1200" cap="none" spc="0" normalizeH="0" baseline="0" noProof="0" dirty="0">
                <a:ln>
                  <a:noFill/>
                </a:ln>
                <a:solidFill>
                  <a:prstClr val="black"/>
                </a:solidFill>
                <a:effectLst/>
                <a:uLnTx/>
                <a:uFillTx/>
                <a:latin typeface="+mn-lt"/>
              </a:rPr>
              <a:t>1. Haga clic en este símbolo para añadir una nueva fotografía.</a:t>
            </a:r>
          </a:p>
        </p:txBody>
      </p:sp>
      <p:sp>
        <p:nvSpPr>
          <p:cNvPr id="16" name="2.">
            <a:extLst>
              <a:ext uri="{FF2B5EF4-FFF2-40B4-BE49-F238E27FC236}">
                <a16:creationId xmlns:a16="http://schemas.microsoft.com/office/drawing/2014/main" id="{8F222F02-A2DC-42E9-84D4-4ACEFEE70A4D}"/>
              </a:ext>
            </a:extLst>
          </p:cNvPr>
          <p:cNvSpPr/>
          <p:nvPr userDrawn="1"/>
        </p:nvSpPr>
        <p:spPr bwMode="gray">
          <a:xfrm>
            <a:off x="7259626" y="170887"/>
            <a:ext cx="1968500" cy="674031"/>
          </a:xfrm>
          <a:prstGeom prst="rect">
            <a:avLst/>
          </a:prstGeom>
        </p:spPr>
        <p:txBody>
          <a:bodyPr wrap="square">
            <a:spAutoFit/>
          </a:bodyPr>
          <a:lstStyle/>
          <a:p>
            <a:pPr marL="0" marR="0" lvl="0" indent="0" algn="l" defTabSz="914392"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s-ES" sz="1400" b="0" i="0" u="none" strike="noStrike" kern="1200" cap="none" spc="0" normalizeH="0" baseline="0" noProof="0" dirty="0">
                <a:ln>
                  <a:noFill/>
                </a:ln>
                <a:solidFill>
                  <a:prstClr val="black"/>
                </a:solidFill>
                <a:effectLst/>
                <a:uLnTx/>
                <a:uFillTx/>
                <a:latin typeface="+mn-lt"/>
              </a:rPr>
              <a:t>2. Para restablecer </a:t>
            </a:r>
            <a:br>
              <a:rPr kumimoji="0" lang="es-ES" sz="1400" b="0" i="0" u="none" strike="noStrike" kern="1200" cap="none" spc="0" normalizeH="0" baseline="0" noProof="0" dirty="0">
                <a:ln>
                  <a:noFill/>
                </a:ln>
                <a:solidFill>
                  <a:prstClr val="black"/>
                </a:solidFill>
                <a:effectLst/>
                <a:uLnTx/>
                <a:uFillTx/>
                <a:latin typeface="+mn-lt"/>
              </a:rPr>
            </a:br>
            <a:r>
              <a:rPr kumimoji="0" lang="es-ES" sz="1400" b="0" i="0" u="none" strike="noStrike" kern="1200" cap="none" spc="0" normalizeH="0" baseline="0" noProof="0" dirty="0">
                <a:ln>
                  <a:noFill/>
                </a:ln>
                <a:solidFill>
                  <a:prstClr val="black"/>
                </a:solidFill>
                <a:effectLst/>
                <a:uLnTx/>
                <a:uFillTx/>
                <a:latin typeface="+mn-lt"/>
              </a:rPr>
              <a:t>el diseño de la diapositiva:</a:t>
            </a:r>
          </a:p>
        </p:txBody>
      </p:sp>
      <p:sp>
        <p:nvSpPr>
          <p:cNvPr id="23" name="3.">
            <a:extLst>
              <a:ext uri="{FF2B5EF4-FFF2-40B4-BE49-F238E27FC236}">
                <a16:creationId xmlns:a16="http://schemas.microsoft.com/office/drawing/2014/main" id="{C15972D1-066C-49B6-94E5-4A7A0A3B2587}"/>
              </a:ext>
            </a:extLst>
          </p:cNvPr>
          <p:cNvSpPr/>
          <p:nvPr userDrawn="1"/>
        </p:nvSpPr>
        <p:spPr bwMode="gray">
          <a:xfrm>
            <a:off x="9618990" y="170887"/>
            <a:ext cx="2695785" cy="867930"/>
          </a:xfrm>
          <a:prstGeom prst="rect">
            <a:avLst/>
          </a:prstGeom>
        </p:spPr>
        <p:txBody>
          <a:bodyPr wrap="square">
            <a:spAutoFit/>
          </a:bodyPr>
          <a:lstStyle/>
          <a:p>
            <a:pPr marL="0" marR="0" lvl="0" indent="0" algn="l" defTabSz="914392"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s-ES" sz="1400" b="0" i="0" u="none" strike="noStrike" kern="1200" cap="none" spc="0" normalizeH="0" baseline="0" noProof="0" dirty="0">
                <a:ln>
                  <a:noFill/>
                </a:ln>
                <a:solidFill>
                  <a:prstClr val="black"/>
                </a:solidFill>
                <a:effectLst/>
                <a:uLnTx/>
                <a:uFillTx/>
                <a:latin typeface="+mn-lt"/>
              </a:rPr>
              <a:t>3. En caso necesario, escoja una parte de la fotografía mediante “Recortar”.</a:t>
            </a:r>
            <a:br>
              <a:rPr lang="es-ES" sz="1400" dirty="0"/>
            </a:br>
            <a:endParaRPr kumimoji="0" lang="es-ES" sz="1400" b="0" i="0" u="none" strike="noStrike" kern="1200" cap="none" spc="0" normalizeH="0" baseline="0" noProof="0" dirty="0">
              <a:ln>
                <a:noFill/>
              </a:ln>
              <a:solidFill>
                <a:prstClr val="black"/>
              </a:solidFill>
              <a:effectLst/>
              <a:uLnTx/>
              <a:uFillTx/>
              <a:latin typeface="+mn-lt"/>
              <a:ea typeface="+mn-ea"/>
              <a:cs typeface="+mn-cs"/>
            </a:endParaRPr>
          </a:p>
        </p:txBody>
      </p:sp>
      <p:pic>
        <p:nvPicPr>
          <p:cNvPr id="11" name="logo">
            <a:extLst>
              <a:ext uri="{FF2B5EF4-FFF2-40B4-BE49-F238E27FC236}">
                <a16:creationId xmlns:a16="http://schemas.microsoft.com/office/drawing/2014/main" id="{F8081F88-CBA8-4146-B984-924F5BAE4350}"/>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8000"/>
                    </a14:imgEffect>
                  </a14:imgLayer>
                </a14:imgProps>
              </a:ext>
              <a:ext uri="{28A0092B-C50C-407E-A947-70E740481C1C}">
                <a14:useLocalDpi xmlns:a14="http://schemas.microsoft.com/office/drawing/2010/main" val="0"/>
              </a:ext>
            </a:extLst>
          </a:blip>
          <a:stretch>
            <a:fillRect/>
          </a:stretch>
        </p:blipFill>
        <p:spPr bwMode="gray">
          <a:xfrm>
            <a:off x="916199" y="5422244"/>
            <a:ext cx="3081728" cy="850557"/>
          </a:xfrm>
          <a:prstGeom prst="rect">
            <a:avLst/>
          </a:prstGeom>
        </p:spPr>
      </p:pic>
      <p:sp>
        <p:nvSpPr>
          <p:cNvPr id="17" name="Bar">
            <a:extLst>
              <a:ext uri="{FF2B5EF4-FFF2-40B4-BE49-F238E27FC236}">
                <a16:creationId xmlns:a16="http://schemas.microsoft.com/office/drawing/2014/main" id="{F01B0C4A-732E-4BC2-A2D7-A086E4E5403B}"/>
              </a:ext>
            </a:extLst>
          </p:cNvPr>
          <p:cNvSpPr/>
          <p:nvPr userDrawn="1"/>
        </p:nvSpPr>
        <p:spPr bwMode="gray">
          <a:xfrm>
            <a:off x="7158790" y="4886961"/>
            <a:ext cx="4863877" cy="297123"/>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eaLnBrk="0" fontAlgn="base" hangingPunct="0">
              <a:spcBef>
                <a:spcPct val="0"/>
              </a:spcBef>
              <a:spcAft>
                <a:spcPct val="0"/>
              </a:spcAft>
            </a:pPr>
            <a:endParaRPr lang="de-DE" sz="2400" dirty="0" err="1">
              <a:solidFill>
                <a:schemeClr val="tx2"/>
              </a:solidFill>
              <a:latin typeface="Arial" charset="0"/>
            </a:endParaRPr>
          </a:p>
        </p:txBody>
      </p:sp>
      <p:sp>
        <p:nvSpPr>
          <p:cNvPr id="9" name="how">
            <a:extLst>
              <a:ext uri="{FF2B5EF4-FFF2-40B4-BE49-F238E27FC236}">
                <a16:creationId xmlns:a16="http://schemas.microsoft.com/office/drawing/2014/main" id="{B4432FF7-B852-4F03-B6BA-EEC7AD563D82}"/>
              </a:ext>
            </a:extLst>
          </p:cNvPr>
          <p:cNvSpPr txBox="1"/>
          <p:nvPr userDrawn="1"/>
        </p:nvSpPr>
        <p:spPr bwMode="gray">
          <a:xfrm>
            <a:off x="-6054599" y="237067"/>
            <a:ext cx="5973110" cy="1200329"/>
          </a:xfrm>
          <a:prstGeom prst="rect">
            <a:avLst/>
          </a:prstGeom>
          <a:noFill/>
        </p:spPr>
        <p:txBody>
          <a:bodyPr wrap="none" rtlCol="0">
            <a:spAutoFit/>
          </a:bodyPr>
          <a:lstStyle/>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Haga clic en la imagen que figura sobre la diapositiva.</a:t>
            </a:r>
          </a:p>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Elimine la imagen mediante la tecla “Supr”.</a:t>
            </a:r>
          </a:p>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 Haga clic en el pequeño símbolo situado en el centro de la página.</a:t>
            </a:r>
          </a:p>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Seleccione una fotografía.</a:t>
            </a:r>
          </a:p>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Inicio/Restablecer” para restablecer el diseño de la diapositiva.</a:t>
            </a:r>
          </a:p>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En caso necesario, escoja una parte de la fotografía mediante “Formato/Recortar”.</a:t>
            </a:r>
          </a:p>
        </p:txBody>
      </p:sp>
      <p:sp>
        <p:nvSpPr>
          <p:cNvPr id="10" name="Dreieck">
            <a:extLst>
              <a:ext uri="{FF2B5EF4-FFF2-40B4-BE49-F238E27FC236}">
                <a16:creationId xmlns:a16="http://schemas.microsoft.com/office/drawing/2014/main" id="{22DB09A9-BCD0-4F35-8DC4-DDFE9DE6C2F9}"/>
              </a:ext>
            </a:extLst>
          </p:cNvPr>
          <p:cNvSpPr/>
          <p:nvPr userDrawn="1"/>
        </p:nvSpPr>
        <p:spPr bwMode="gray">
          <a:xfrm rot="5400000">
            <a:off x="-222461" y="562187"/>
            <a:ext cx="281941" cy="6096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15" name="Headline">
            <a:extLst>
              <a:ext uri="{FF2B5EF4-FFF2-40B4-BE49-F238E27FC236}">
                <a16:creationId xmlns:a16="http://schemas.microsoft.com/office/drawing/2014/main" id="{F8646EF2-FE73-41DC-B654-C5012A3720DD}"/>
              </a:ext>
            </a:extLst>
          </p:cNvPr>
          <p:cNvSpPr>
            <a:spLocks noGrp="1"/>
          </p:cNvSpPr>
          <p:nvPr>
            <p:ph type="title" hasCustomPrompt="1"/>
          </p:nvPr>
        </p:nvSpPr>
        <p:spPr bwMode="gray">
          <a:xfrm>
            <a:off x="164183" y="846876"/>
            <a:ext cx="11858487" cy="4040085"/>
          </a:xfrm>
          <a:prstGeom prst="rect">
            <a:avLst/>
          </a:prstGeom>
          <a:blipFill dpi="0" rotWithShape="1">
            <a:blip r:embed="rId4">
              <a:alphaModFix amt="80000"/>
            </a:blip>
            <a:srcRect/>
            <a:stretch>
              <a:fillRect l="-10" r="-10"/>
            </a:stretch>
          </a:blipFill>
        </p:spPr>
        <p:txBody>
          <a:bodyPr wrap="square" lIns="576000" bIns="1036800" anchor="b">
            <a:noAutofit/>
          </a:bodyPr>
          <a:lstStyle>
            <a:lvl1pPr>
              <a:defRPr sz="3467" b="1">
                <a:solidFill>
                  <a:schemeClr val="tx1"/>
                </a:solidFill>
              </a:defRPr>
            </a:lvl1pPr>
          </a:lstStyle>
          <a:p>
            <a:r>
              <a:rPr lang="es-ES" dirty="0"/>
              <a:t>Diapositiva de título/encabezado</a:t>
            </a:r>
            <a:br>
              <a:rPr lang="es-ES" dirty="0"/>
            </a:br>
            <a:r>
              <a:rPr lang="es-ES" dirty="0"/>
              <a:t>con fotografía de fondo (sustituible)</a:t>
            </a:r>
          </a:p>
        </p:txBody>
      </p:sp>
      <p:sp>
        <p:nvSpPr>
          <p:cNvPr id="19" name="Subline">
            <a:extLst>
              <a:ext uri="{FF2B5EF4-FFF2-40B4-BE49-F238E27FC236}">
                <a16:creationId xmlns:a16="http://schemas.microsoft.com/office/drawing/2014/main" id="{31A5E120-96AF-40F6-98D7-8A2FD24C3270}"/>
              </a:ext>
            </a:extLst>
          </p:cNvPr>
          <p:cNvSpPr>
            <a:spLocks noGrp="1"/>
          </p:cNvSpPr>
          <p:nvPr>
            <p:ph type="body" sz="quarter" idx="10" hasCustomPrompt="1"/>
          </p:nvPr>
        </p:nvSpPr>
        <p:spPr bwMode="gray">
          <a:xfrm>
            <a:off x="933134" y="3700611"/>
            <a:ext cx="10627783" cy="789960"/>
          </a:xfrm>
        </p:spPr>
        <p:txBody>
          <a:bodyPr>
            <a:spAutoFit/>
          </a:bodyPr>
          <a:lstStyle>
            <a:lvl1pPr marL="0" indent="0">
              <a:lnSpc>
                <a:spcPct val="95000"/>
              </a:lnSpc>
              <a:spcBef>
                <a:spcPts val="1600"/>
              </a:spcBef>
              <a:spcAft>
                <a:spcPts val="0"/>
              </a:spcAft>
              <a:buNone/>
              <a:defRPr sz="2000">
                <a:solidFill>
                  <a:schemeClr val="tx1"/>
                </a:solidFill>
              </a:defRPr>
            </a:lvl1pPr>
          </a:lstStyle>
          <a:p>
            <a:r>
              <a:rPr lang="es-ES" dirty="0"/>
              <a:t>Este es el subtítulo</a:t>
            </a:r>
          </a:p>
          <a:p>
            <a:r>
              <a:rPr lang="es-ES" dirty="0"/>
              <a:t>Nombre del proyecto | Fecha</a:t>
            </a:r>
          </a:p>
        </p:txBody>
      </p:sp>
      <p:pic>
        <p:nvPicPr>
          <p:cNvPr id="26" name="Beispiel" descr="Ein Bild, das Wand, Gebäude enthält.&#10;&#10;Automatisch generierte Beschreibung">
            <a:extLst>
              <a:ext uri="{FF2B5EF4-FFF2-40B4-BE49-F238E27FC236}">
                <a16:creationId xmlns:a16="http://schemas.microsoft.com/office/drawing/2014/main" id="{317CFD46-37B5-4632-BBA4-3F2278F98B67}"/>
              </a:ext>
            </a:extLst>
          </p:cNvPr>
          <p:cNvPicPr>
            <a:picLocks noChangeAspect="1"/>
          </p:cNvPicPr>
          <p:nvPr userDrawn="1"/>
        </p:nvPicPr>
        <p:blipFill>
          <a:blip r:embed="rId5"/>
          <a:stretch>
            <a:fillRect/>
          </a:stretch>
        </p:blipFill>
        <p:spPr bwMode="gray">
          <a:xfrm>
            <a:off x="9943556" y="1966807"/>
            <a:ext cx="1662545" cy="1147156"/>
          </a:xfrm>
          <a:prstGeom prst="rect">
            <a:avLst/>
          </a:prstGeom>
        </p:spPr>
      </p:pic>
      <p:pic>
        <p:nvPicPr>
          <p:cNvPr id="7" name="Grafik 6" descr="Ein Bild, das Screenshot enthält.&#10;&#10;Automatisch generierte Beschreibung">
            <a:extLst>
              <a:ext uri="{FF2B5EF4-FFF2-40B4-BE49-F238E27FC236}">
                <a16:creationId xmlns:a16="http://schemas.microsoft.com/office/drawing/2014/main" id="{6E759A33-1ECA-4EA3-8A06-178E18BF7040}"/>
              </a:ext>
            </a:extLst>
          </p:cNvPr>
          <p:cNvPicPr>
            <a:picLocks noChangeAspect="1"/>
          </p:cNvPicPr>
          <p:nvPr userDrawn="1"/>
        </p:nvPicPr>
        <p:blipFill rotWithShape="1">
          <a:blip r:embed="rId6"/>
          <a:srcRect l="27949" t="24404" r="52761"/>
          <a:stretch/>
        </p:blipFill>
        <p:spPr>
          <a:xfrm>
            <a:off x="9923387" y="1195292"/>
            <a:ext cx="569320" cy="650189"/>
          </a:xfrm>
          <a:prstGeom prst="rect">
            <a:avLst/>
          </a:prstGeom>
        </p:spPr>
      </p:pic>
      <p:pic>
        <p:nvPicPr>
          <p:cNvPr id="14" name="Grafik 13" descr="Ein Bild, das Screenshot enthält.&#10;&#10;Automatisch generierte Beschreibung">
            <a:extLst>
              <a:ext uri="{FF2B5EF4-FFF2-40B4-BE49-F238E27FC236}">
                <a16:creationId xmlns:a16="http://schemas.microsoft.com/office/drawing/2014/main" id="{1D0320E8-0618-47ED-906F-B50495B1344A}"/>
              </a:ext>
            </a:extLst>
          </p:cNvPr>
          <p:cNvPicPr>
            <a:picLocks/>
          </p:cNvPicPr>
          <p:nvPr userDrawn="1"/>
        </p:nvPicPr>
        <p:blipFill>
          <a:blip r:embed="rId7"/>
          <a:stretch>
            <a:fillRect/>
          </a:stretch>
        </p:blipFill>
        <p:spPr>
          <a:xfrm>
            <a:off x="7396602" y="1034677"/>
            <a:ext cx="2117468" cy="866995"/>
          </a:xfrm>
          <a:prstGeom prst="rect">
            <a:avLst/>
          </a:prstGeom>
        </p:spPr>
      </p:pic>
      <p:sp>
        <p:nvSpPr>
          <p:cNvPr id="30" name="Rechteck 29">
            <a:extLst>
              <a:ext uri="{FF2B5EF4-FFF2-40B4-BE49-F238E27FC236}">
                <a16:creationId xmlns:a16="http://schemas.microsoft.com/office/drawing/2014/main" id="{6FF6D387-2574-4BA6-B4A7-0BA8C8D78909}"/>
              </a:ext>
            </a:extLst>
          </p:cNvPr>
          <p:cNvSpPr/>
          <p:nvPr userDrawn="1"/>
        </p:nvSpPr>
        <p:spPr bwMode="gray">
          <a:xfrm>
            <a:off x="8723338" y="1492655"/>
            <a:ext cx="748399" cy="239948"/>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31" name="Rechteck">
            <a:extLst>
              <a:ext uri="{FF2B5EF4-FFF2-40B4-BE49-F238E27FC236}">
                <a16:creationId xmlns:a16="http://schemas.microsoft.com/office/drawing/2014/main" id="{30B8DCF8-4B33-4369-AF13-3EEB54C82C4D}"/>
              </a:ext>
            </a:extLst>
          </p:cNvPr>
          <p:cNvSpPr/>
          <p:nvPr userDrawn="1"/>
        </p:nvSpPr>
        <p:spPr bwMode="gray">
          <a:xfrm>
            <a:off x="9976556" y="1279681"/>
            <a:ext cx="446293" cy="450849"/>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Tree>
    <p:extLst>
      <p:ext uri="{BB962C8B-B14F-4D97-AF65-F5344CB8AC3E}">
        <p14:creationId xmlns:p14="http://schemas.microsoft.com/office/powerpoint/2010/main" val="306587205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olo encabezado">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599755" y="320284"/>
            <a:ext cx="11422911" cy="720725"/>
          </a:xfrm>
        </p:spPr>
        <p:txBody>
          <a:bodyPr/>
          <a:lstStyle>
            <a:lvl1pPr>
              <a:defRPr/>
            </a:lvl1pPr>
          </a:lstStyle>
          <a:p>
            <a:r>
              <a:rPr lang="es-ES" dirty="0"/>
              <a:t>Añadir título haciendo clic</a:t>
            </a:r>
          </a:p>
        </p:txBody>
      </p:sp>
      <p:sp>
        <p:nvSpPr>
          <p:cNvPr id="3" name="Datumsplatzhalter 2">
            <a:extLst>
              <a:ext uri="{FF2B5EF4-FFF2-40B4-BE49-F238E27FC236}">
                <a16:creationId xmlns:a16="http://schemas.microsoft.com/office/drawing/2014/main" id="{0F7B3A61-524C-49A6-9CA8-66B44289607D}"/>
              </a:ext>
            </a:extLst>
          </p:cNvPr>
          <p:cNvSpPr>
            <a:spLocks noGrp="1"/>
          </p:cNvSpPr>
          <p:nvPr>
            <p:ph type="dt" sz="half" idx="10"/>
          </p:nvPr>
        </p:nvSpPr>
        <p:spPr/>
        <p:txBody>
          <a:bodyPr/>
          <a:lstStyle/>
          <a:p>
            <a:r>
              <a:rPr lang="es-ES"/>
              <a:t>14.02.2019</a:t>
            </a:r>
            <a:endParaRPr lang="es-ES" dirty="0"/>
          </a:p>
        </p:txBody>
      </p:sp>
      <p:sp>
        <p:nvSpPr>
          <p:cNvPr id="4" name="Fußzeilenplatzhalter 3">
            <a:extLst>
              <a:ext uri="{FF2B5EF4-FFF2-40B4-BE49-F238E27FC236}">
                <a16:creationId xmlns:a16="http://schemas.microsoft.com/office/drawing/2014/main" id="{72FCAD40-DBD3-41B6-9877-BF28C7174E35}"/>
              </a:ext>
            </a:extLst>
          </p:cNvPr>
          <p:cNvSpPr>
            <a:spLocks noGrp="1"/>
          </p:cNvSpPr>
          <p:nvPr>
            <p:ph type="ftr" sz="quarter" idx="11"/>
          </p:nvPr>
        </p:nvSpPr>
        <p:spPr/>
        <p:txBody>
          <a:bodyPr/>
          <a:lstStyle/>
          <a:p>
            <a:r>
              <a:rPr lang="es-ES"/>
              <a:t>Título de la presentación</a:t>
            </a:r>
            <a:endParaRPr lang="es-ES" dirty="0"/>
          </a:p>
        </p:txBody>
      </p:sp>
      <p:sp>
        <p:nvSpPr>
          <p:cNvPr id="5" name="Foliennummernplatzhalter 4">
            <a:extLst>
              <a:ext uri="{FF2B5EF4-FFF2-40B4-BE49-F238E27FC236}">
                <a16:creationId xmlns:a16="http://schemas.microsoft.com/office/drawing/2014/main" id="{522A2CD4-94E6-4863-9DDC-A8403EBF44D8}"/>
              </a:ext>
            </a:extLst>
          </p:cNvPr>
          <p:cNvSpPr>
            <a:spLocks noGrp="1"/>
          </p:cNvSpPr>
          <p:nvPr>
            <p:ph type="sldNum" sz="quarter" idx="12"/>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3023591118"/>
      </p:ext>
    </p:extLst>
  </p:cSld>
  <p:clrMapOvr>
    <a:masterClrMapping/>
  </p:clrMapOvr>
  <p:transition>
    <p:fade/>
  </p:transition>
  <p:extLst>
    <p:ext uri="{DCECCB84-F9BA-43D5-87BE-67443E8EF086}">
      <p15:sldGuideLst xmlns:p15="http://schemas.microsoft.com/office/powerpoint/2012/main">
        <p15:guide id="1" orient="horz" pos="3793"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olo encabezado (alter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599755" y="320284"/>
            <a:ext cx="11422911" cy="720725"/>
          </a:xfrm>
        </p:spPr>
        <p:txBody>
          <a:bodyPr/>
          <a:lstStyle>
            <a:lvl1pPr>
              <a:defRPr/>
            </a:lvl1pPr>
          </a:lstStyle>
          <a:p>
            <a:r>
              <a:rPr lang="es-ES" dirty="0"/>
              <a:t>Añadir título haciendo clic</a:t>
            </a:r>
          </a:p>
        </p:txBody>
      </p:sp>
      <p:grpSp>
        <p:nvGrpSpPr>
          <p:cNvPr id="6" name="Key Visual">
            <a:extLst>
              <a:ext uri="{FF2B5EF4-FFF2-40B4-BE49-F238E27FC236}">
                <a16:creationId xmlns:a16="http://schemas.microsoft.com/office/drawing/2014/main" id="{77156747-85E7-4ED4-B2ED-42ABA70FA613}"/>
              </a:ext>
            </a:extLst>
          </p:cNvPr>
          <p:cNvGrpSpPr/>
          <p:nvPr userDrawn="1"/>
        </p:nvGrpSpPr>
        <p:grpSpPr bwMode="gray">
          <a:xfrm flipV="1">
            <a:off x="164180" y="5311121"/>
            <a:ext cx="3094437" cy="822639"/>
            <a:chOff x="4846637" y="119557"/>
            <a:chExt cx="3783013" cy="1005693"/>
          </a:xfrm>
        </p:grpSpPr>
        <p:sp>
          <p:nvSpPr>
            <p:cNvPr id="7" name="Freihandform: Form 6">
              <a:extLst>
                <a:ext uri="{FF2B5EF4-FFF2-40B4-BE49-F238E27FC236}">
                  <a16:creationId xmlns:a16="http://schemas.microsoft.com/office/drawing/2014/main" id="{2E6C23C4-9083-4866-858D-0C04644D965B}"/>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2"/>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Freihandform: Form 7">
              <a:extLst>
                <a:ext uri="{FF2B5EF4-FFF2-40B4-BE49-F238E27FC236}">
                  <a16:creationId xmlns:a16="http://schemas.microsoft.com/office/drawing/2014/main" id="{FB0BB156-07F2-4B83-B5A7-E91DE0017F5B}"/>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9" name="Freihandform: Form 8">
              <a:extLst>
                <a:ext uri="{FF2B5EF4-FFF2-40B4-BE49-F238E27FC236}">
                  <a16:creationId xmlns:a16="http://schemas.microsoft.com/office/drawing/2014/main" id="{86502DB2-D1D5-44BB-955E-FA20933B0C5A}"/>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10" name="Freihandform: Form 9">
              <a:extLst>
                <a:ext uri="{FF2B5EF4-FFF2-40B4-BE49-F238E27FC236}">
                  <a16:creationId xmlns:a16="http://schemas.microsoft.com/office/drawing/2014/main" id="{A25DFF6E-FE1D-49A8-A873-770951547FF1}"/>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11" name="Freihandform: Form 10">
              <a:extLst>
                <a:ext uri="{FF2B5EF4-FFF2-40B4-BE49-F238E27FC236}">
                  <a16:creationId xmlns:a16="http://schemas.microsoft.com/office/drawing/2014/main" id="{8E38456C-C414-4CEB-A953-0F72775B0C83}"/>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grpSp>
      <p:sp>
        <p:nvSpPr>
          <p:cNvPr id="3" name="Datumsplatzhalter 2">
            <a:extLst>
              <a:ext uri="{FF2B5EF4-FFF2-40B4-BE49-F238E27FC236}">
                <a16:creationId xmlns:a16="http://schemas.microsoft.com/office/drawing/2014/main" id="{DB3C9B8B-F6CC-44D1-A87A-BC041F53C45A}"/>
              </a:ext>
            </a:extLst>
          </p:cNvPr>
          <p:cNvSpPr>
            <a:spLocks noGrp="1"/>
          </p:cNvSpPr>
          <p:nvPr>
            <p:ph type="dt" sz="half" idx="10"/>
          </p:nvPr>
        </p:nvSpPr>
        <p:spPr/>
        <p:txBody>
          <a:bodyPr/>
          <a:lstStyle/>
          <a:p>
            <a:r>
              <a:rPr lang="es-ES"/>
              <a:t>14.02.2019</a:t>
            </a:r>
            <a:endParaRPr lang="es-ES" dirty="0"/>
          </a:p>
        </p:txBody>
      </p:sp>
      <p:sp>
        <p:nvSpPr>
          <p:cNvPr id="4" name="Fußzeilenplatzhalter 3">
            <a:extLst>
              <a:ext uri="{FF2B5EF4-FFF2-40B4-BE49-F238E27FC236}">
                <a16:creationId xmlns:a16="http://schemas.microsoft.com/office/drawing/2014/main" id="{5869916F-F6B3-49AA-833D-4A16DD1B23E0}"/>
              </a:ext>
            </a:extLst>
          </p:cNvPr>
          <p:cNvSpPr>
            <a:spLocks noGrp="1"/>
          </p:cNvSpPr>
          <p:nvPr>
            <p:ph type="ftr" sz="quarter" idx="11"/>
          </p:nvPr>
        </p:nvSpPr>
        <p:spPr/>
        <p:txBody>
          <a:bodyPr/>
          <a:lstStyle/>
          <a:p>
            <a:r>
              <a:rPr lang="es-ES"/>
              <a:t>Título de la presentación</a:t>
            </a:r>
            <a:endParaRPr lang="es-ES" dirty="0"/>
          </a:p>
        </p:txBody>
      </p:sp>
      <p:sp>
        <p:nvSpPr>
          <p:cNvPr id="5" name="Foliennummernplatzhalter 4">
            <a:extLst>
              <a:ext uri="{FF2B5EF4-FFF2-40B4-BE49-F238E27FC236}">
                <a16:creationId xmlns:a16="http://schemas.microsoft.com/office/drawing/2014/main" id="{5A2D33B4-67E8-48D1-B002-5A0AA14FED00}"/>
              </a:ext>
            </a:extLst>
          </p:cNvPr>
          <p:cNvSpPr>
            <a:spLocks noGrp="1"/>
          </p:cNvSpPr>
          <p:nvPr>
            <p:ph type="sldNum" sz="quarter" idx="12"/>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632759983"/>
      </p:ext>
    </p:extLst>
  </p:cSld>
  <p:clrMapOvr>
    <a:masterClrMapping/>
  </p:clrMapOvr>
  <p:transition>
    <p:fade/>
  </p:transition>
  <p:extLst>
    <p:ext uri="{DCECCB84-F9BA-43D5-87BE-67443E8EF086}">
      <p15:sldGuideLst xmlns:p15="http://schemas.microsoft.com/office/powerpoint/2012/main">
        <p15:guide id="1" orient="horz" pos="3793"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e de imprenta">
    <p:spTree>
      <p:nvGrpSpPr>
        <p:cNvPr id="1" name=""/>
        <p:cNvGrpSpPr/>
        <p:nvPr/>
      </p:nvGrpSpPr>
      <p:grpSpPr>
        <a:xfrm>
          <a:off x="0" y="0"/>
          <a:ext cx="0" cy="0"/>
          <a:chOff x="0" y="0"/>
          <a:chExt cx="0" cy="0"/>
        </a:xfrm>
      </p:grpSpPr>
      <p:sp>
        <p:nvSpPr>
          <p:cNvPr id="15" name="Textplatzhalter 14">
            <a:extLst>
              <a:ext uri="{FF2B5EF4-FFF2-40B4-BE49-F238E27FC236}">
                <a16:creationId xmlns:a16="http://schemas.microsoft.com/office/drawing/2014/main" id="{790F769E-F4C9-44EF-9773-070A28E48EFF}"/>
              </a:ext>
            </a:extLst>
          </p:cNvPr>
          <p:cNvSpPr>
            <a:spLocks noGrp="1"/>
          </p:cNvSpPr>
          <p:nvPr>
            <p:ph type="body" sz="quarter" idx="17" hasCustomPrompt="1"/>
          </p:nvPr>
        </p:nvSpPr>
        <p:spPr bwMode="gray">
          <a:xfrm>
            <a:off x="3813443" y="431343"/>
            <a:ext cx="6815481" cy="574260"/>
          </a:xfrm>
        </p:spPr>
        <p:txBody>
          <a:bodyPr wrap="square">
            <a:spAutoFit/>
          </a:bodyPr>
          <a:lstStyle>
            <a:lvl1pPr marL="0" marR="0" indent="0" algn="l" defTabSz="914392" rtl="0" eaLnBrk="1" fontAlgn="auto" latinLnBrk="0" hangingPunct="1">
              <a:lnSpc>
                <a:spcPct val="100000"/>
              </a:lnSpc>
              <a:spcBef>
                <a:spcPts val="0"/>
              </a:spcBef>
              <a:spcAft>
                <a:spcPts val="0"/>
              </a:spcAft>
              <a:buClrTx/>
              <a:buSzTx/>
              <a:buFontTx/>
              <a:buNone/>
              <a:tabLst/>
              <a:defRPr sz="933" b="1">
                <a:solidFill>
                  <a:schemeClr val="accent1"/>
                </a:solidFill>
              </a:defRPr>
            </a:lvl1pPr>
          </a:lstStyle>
          <a:p>
            <a:pPr marL="0" marR="0" lvl="0" indent="0" algn="l" defTabSz="914392" rtl="0" eaLnBrk="1" fontAlgn="auto" latinLnBrk="0" hangingPunct="1">
              <a:lnSpc>
                <a:spcPct val="100000"/>
              </a:lnSpc>
              <a:spcBef>
                <a:spcPts val="0"/>
              </a:spcBef>
              <a:spcAft>
                <a:spcPts val="0"/>
              </a:spcAft>
              <a:buClrTx/>
              <a:buSzTx/>
              <a:buFontTx/>
              <a:buNone/>
              <a:tabLst/>
              <a:defRPr/>
            </a:pPr>
            <a:r>
              <a:rPr kumimoji="0" lang="es-ES" sz="933" b="0" i="0" u="none" strike="noStrike" kern="1200" cap="none" spc="0" normalizeH="0" baseline="0" noProof="0">
                <a:ln>
                  <a:noFill/>
                </a:ln>
                <a:solidFill>
                  <a:srgbClr val="C80F0F"/>
                </a:solidFill>
                <a:effectLst/>
                <a:uLnTx/>
                <a:uFillTx/>
                <a:latin typeface="+mn-lt"/>
                <a:ea typeface="+mn-ea"/>
                <a:cs typeface="+mn-cs"/>
              </a:rPr>
              <a:t>Indicación el pie de imprenta: </a:t>
            </a:r>
            <a:br>
              <a:rPr kumimoji="0" lang="es-ES" sz="933" b="0" i="0" u="none" strike="noStrike" kern="1200" cap="none" spc="0" normalizeH="0" baseline="0" noProof="0">
                <a:ln>
                  <a:noFill/>
                </a:ln>
                <a:solidFill>
                  <a:srgbClr val="C80F0F"/>
                </a:solidFill>
                <a:effectLst/>
                <a:uLnTx/>
                <a:uFillTx/>
                <a:latin typeface="+mn-lt"/>
                <a:ea typeface="+mn-ea"/>
                <a:cs typeface="+mn-cs"/>
              </a:rPr>
            </a:br>
            <a:r>
              <a:rPr kumimoji="0" lang="es-ES" sz="933" b="0" i="0" u="none" strike="noStrike" kern="1200" cap="none" spc="0" normalizeH="0" baseline="0" noProof="0">
                <a:ln>
                  <a:noFill/>
                </a:ln>
                <a:solidFill>
                  <a:srgbClr val="C80F0F"/>
                </a:solidFill>
                <a:effectLst/>
                <a:uLnTx/>
                <a:uFillTx/>
                <a:latin typeface="+mn-lt"/>
                <a:ea typeface="+mn-ea"/>
                <a:cs typeface="+mn-cs"/>
              </a:rPr>
              <a:t>Adapte o elimine el texto de los marcadores de posición (nombre de proyecto/programa, dirección, correo electrónico, etc.) según se requiera. Elimine el marcador de posición para el logotipo del socio de cooperación cuando no proceda. (Este texto no es visible en el modo de presentación y tampoco se imprime.)</a:t>
            </a:r>
            <a:endParaRPr kumimoji="0" lang="es-ES" sz="933" b="0" i="0" u="none" strike="noStrike" kern="1200" cap="none" spc="0" normalizeH="0" baseline="0" noProof="0" dirty="0">
              <a:ln>
                <a:noFill/>
              </a:ln>
              <a:solidFill>
                <a:srgbClr val="C80F0F"/>
              </a:solidFill>
              <a:effectLst/>
              <a:uLnTx/>
              <a:uFillTx/>
              <a:latin typeface="+mn-lt"/>
              <a:ea typeface="+mn-ea"/>
              <a:cs typeface="+mn-cs"/>
            </a:endParaRPr>
          </a:p>
        </p:txBody>
      </p:sp>
      <p:sp>
        <p:nvSpPr>
          <p:cNvPr id="10" name="Rechteck 9">
            <a:extLst>
              <a:ext uri="{FF2B5EF4-FFF2-40B4-BE49-F238E27FC236}">
                <a16:creationId xmlns:a16="http://schemas.microsoft.com/office/drawing/2014/main" id="{8EF3C373-F3E5-423E-B3C3-C5E1BD203F77}"/>
              </a:ext>
            </a:extLst>
          </p:cNvPr>
          <p:cNvSpPr/>
          <p:nvPr userDrawn="1"/>
        </p:nvSpPr>
        <p:spPr bwMode="gray">
          <a:xfrm>
            <a:off x="600663" y="1475896"/>
            <a:ext cx="4286015" cy="1688283"/>
          </a:xfrm>
          <a:prstGeom prst="rect">
            <a:avLst/>
          </a:prstGeom>
        </p:spPr>
        <p:txBody>
          <a:bodyPr wrap="square" lIns="0" tIns="0">
            <a:spAutoFit/>
          </a:bodyPr>
          <a:lstStyle/>
          <a:p>
            <a:pPr marL="0" marR="0" lvl="0" indent="0" defTabSz="1219190" eaLnBrk="1" fontAlgn="auto" latinLnBrk="0" hangingPunct="1">
              <a:lnSpc>
                <a:spcPct val="100000"/>
              </a:lnSpc>
              <a:spcBef>
                <a:spcPts val="0"/>
              </a:spcBef>
              <a:spcAft>
                <a:spcPts val="0"/>
              </a:spcAft>
              <a:buClrTx/>
              <a:buSzTx/>
              <a:buFontTx/>
              <a:buNone/>
              <a:tabLst/>
              <a:defRPr/>
            </a:pPr>
            <a:r>
              <a:rPr kumimoji="0" lang="es-ES" sz="1067" b="0" i="0" u="none" strike="noStrike" kern="0" cap="none" spc="0" normalizeH="0" baseline="0" noProof="0" dirty="0">
                <a:ln>
                  <a:noFill/>
                </a:ln>
                <a:solidFill>
                  <a:prstClr val="black"/>
                </a:solidFill>
                <a:effectLst/>
                <a:uLnTx/>
                <a:uFillTx/>
              </a:rPr>
              <a:t>Como empresa federal, la GIZ asiste al Gobierno de la República Federal de Alemania en su labor para alcanzar sus objetivos en el ámbito de la cooperación internacional para el desarrollo sostenible.</a:t>
            </a:r>
          </a:p>
          <a:p>
            <a:pPr marL="0" marR="0" lvl="0" indent="0" defTabSz="1219190" eaLnBrk="1" fontAlgn="auto" latinLnBrk="0" hangingPunct="1">
              <a:lnSpc>
                <a:spcPct val="100000"/>
              </a:lnSpc>
              <a:spcBef>
                <a:spcPts val="0"/>
              </a:spcBef>
              <a:spcAft>
                <a:spcPts val="0"/>
              </a:spcAft>
              <a:buClrTx/>
              <a:buSzTx/>
              <a:buFontTx/>
              <a:buNone/>
              <a:tabLst/>
              <a:defRPr/>
            </a:pPr>
            <a:endParaRPr kumimoji="0" lang="es-ES" sz="1067" b="0" i="0" u="none" strike="noStrike" kern="0" cap="none" spc="0" normalizeH="0" baseline="0" noProof="0" dirty="0">
              <a:ln>
                <a:noFill/>
              </a:ln>
              <a:solidFill>
                <a:prstClr val="black"/>
              </a:solidFill>
              <a:effectLst/>
              <a:uLnTx/>
              <a:uFillTx/>
            </a:endParaRPr>
          </a:p>
          <a:p>
            <a:pPr marL="0" marR="0" lvl="0" indent="0" defTabSz="1219190" eaLnBrk="1" fontAlgn="auto" latinLnBrk="0" hangingPunct="1">
              <a:lnSpc>
                <a:spcPct val="100000"/>
              </a:lnSpc>
              <a:spcBef>
                <a:spcPts val="0"/>
              </a:spcBef>
              <a:spcAft>
                <a:spcPts val="0"/>
              </a:spcAft>
              <a:buClrTx/>
              <a:buSzTx/>
              <a:buFontTx/>
              <a:buNone/>
              <a:tabLst/>
              <a:defRPr/>
            </a:pPr>
            <a:r>
              <a:rPr kumimoji="0" lang="es-ES" sz="1067" b="1" i="0" u="none" strike="noStrike" kern="0" cap="none" spc="0" normalizeH="0" baseline="0" noProof="0" dirty="0">
                <a:ln>
                  <a:noFill/>
                </a:ln>
                <a:solidFill>
                  <a:prstClr val="black"/>
                </a:solidFill>
                <a:effectLst/>
                <a:uLnTx/>
                <a:uFillTx/>
              </a:rPr>
              <a:t>Publicado por: </a:t>
            </a:r>
          </a:p>
          <a:p>
            <a:pPr marL="0" marR="0" lvl="0" indent="0" defTabSz="1219190" eaLnBrk="1" fontAlgn="auto" latinLnBrk="0" hangingPunct="1">
              <a:lnSpc>
                <a:spcPct val="100000"/>
              </a:lnSpc>
              <a:spcBef>
                <a:spcPts val="0"/>
              </a:spcBef>
              <a:spcAft>
                <a:spcPts val="0"/>
              </a:spcAft>
              <a:buClrTx/>
              <a:buSzTx/>
              <a:buFontTx/>
              <a:buNone/>
              <a:tabLst/>
              <a:defRPr/>
            </a:pPr>
            <a:r>
              <a:rPr kumimoji="0" lang="es-ES" sz="1067" b="0" i="0" u="none" strike="noStrike" kern="0" cap="none" spc="0" normalizeH="0" baseline="0" noProof="0" dirty="0">
                <a:ln>
                  <a:noFill/>
                </a:ln>
                <a:solidFill>
                  <a:prstClr val="black"/>
                </a:solidFill>
                <a:effectLst/>
                <a:uLnTx/>
                <a:uFillTx/>
              </a:rPr>
              <a:t>Deutsche Gesellschaft für </a:t>
            </a:r>
          </a:p>
          <a:p>
            <a:pPr marL="0" marR="0" lvl="0" indent="0" defTabSz="1219190" eaLnBrk="1" fontAlgn="auto" latinLnBrk="0" hangingPunct="1">
              <a:lnSpc>
                <a:spcPct val="100000"/>
              </a:lnSpc>
              <a:spcBef>
                <a:spcPts val="0"/>
              </a:spcBef>
              <a:spcAft>
                <a:spcPts val="0"/>
              </a:spcAft>
              <a:buClrTx/>
              <a:buSzTx/>
              <a:buFontTx/>
              <a:buNone/>
              <a:tabLst/>
              <a:defRPr/>
            </a:pPr>
            <a:r>
              <a:rPr kumimoji="0" lang="es-ES" sz="1067" b="0" i="0" u="none" strike="noStrike" kern="0" cap="none" spc="0" normalizeH="0" baseline="0" noProof="0" dirty="0">
                <a:ln>
                  <a:noFill/>
                </a:ln>
                <a:solidFill>
                  <a:prstClr val="black"/>
                </a:solidFill>
                <a:effectLst/>
                <a:uLnTx/>
                <a:uFillTx/>
              </a:rPr>
              <a:t>Internationale Zusammenarbeit (GIZ) GmbH</a:t>
            </a:r>
          </a:p>
          <a:p>
            <a:pPr marL="0" marR="0" lvl="0" indent="0" defTabSz="1219190" eaLnBrk="1" fontAlgn="auto" latinLnBrk="0" hangingPunct="1">
              <a:lnSpc>
                <a:spcPct val="100000"/>
              </a:lnSpc>
              <a:spcBef>
                <a:spcPts val="0"/>
              </a:spcBef>
              <a:spcAft>
                <a:spcPts val="0"/>
              </a:spcAft>
              <a:buClrTx/>
              <a:buSzTx/>
              <a:buFontTx/>
              <a:buNone/>
              <a:tabLst/>
              <a:defRPr/>
            </a:pPr>
            <a:endParaRPr kumimoji="0" lang="es-ES" sz="1067" b="0" i="0" u="none" strike="noStrike" kern="0" cap="none" spc="0" normalizeH="0" baseline="0" noProof="0" dirty="0">
              <a:ln>
                <a:noFill/>
              </a:ln>
              <a:solidFill>
                <a:prstClr val="black"/>
              </a:solidFill>
              <a:effectLst/>
              <a:uLnTx/>
              <a:uFillTx/>
            </a:endParaRPr>
          </a:p>
          <a:p>
            <a:pPr marL="0" marR="0" lvl="0" indent="0" defTabSz="1219190" eaLnBrk="1" fontAlgn="auto" latinLnBrk="0" hangingPunct="1">
              <a:lnSpc>
                <a:spcPct val="100000"/>
              </a:lnSpc>
              <a:spcBef>
                <a:spcPts val="0"/>
              </a:spcBef>
              <a:spcAft>
                <a:spcPts val="0"/>
              </a:spcAft>
              <a:buClrTx/>
              <a:buSzTx/>
              <a:buFontTx/>
              <a:buNone/>
              <a:tabLst/>
              <a:defRPr/>
            </a:pPr>
            <a:r>
              <a:rPr kumimoji="0" lang="es-ES" sz="1067" b="0" i="0" u="none" strike="noStrike" kern="0" cap="none" spc="0" normalizeH="0" baseline="0" noProof="0" dirty="0">
                <a:ln>
                  <a:noFill/>
                </a:ln>
                <a:solidFill>
                  <a:prstClr val="black"/>
                </a:solidFill>
                <a:effectLst/>
                <a:uLnTx/>
                <a:uFillTx/>
              </a:rPr>
              <a:t>Domicilios de la Sociedad </a:t>
            </a:r>
          </a:p>
          <a:p>
            <a:pPr marL="0" marR="0" lvl="0" indent="0" defTabSz="1219190" eaLnBrk="1" fontAlgn="auto" latinLnBrk="0" hangingPunct="1">
              <a:lnSpc>
                <a:spcPct val="100000"/>
              </a:lnSpc>
              <a:spcBef>
                <a:spcPts val="0"/>
              </a:spcBef>
              <a:spcAft>
                <a:spcPts val="0"/>
              </a:spcAft>
              <a:buClrTx/>
              <a:buSzTx/>
              <a:buFontTx/>
              <a:buNone/>
              <a:tabLst/>
              <a:defRPr/>
            </a:pPr>
            <a:r>
              <a:rPr kumimoji="0" lang="es-ES" sz="1067" b="0" i="0" u="none" strike="noStrike" kern="0" cap="none" spc="0" normalizeH="0" baseline="0" noProof="0" dirty="0">
                <a:ln>
                  <a:noFill/>
                </a:ln>
                <a:solidFill>
                  <a:prstClr val="black"/>
                </a:solidFill>
                <a:effectLst/>
                <a:uLnTx/>
                <a:uFillTx/>
              </a:rPr>
              <a:t>Bonn y Eschborn, Alemania </a:t>
            </a:r>
          </a:p>
        </p:txBody>
      </p:sp>
      <p:sp>
        <p:nvSpPr>
          <p:cNvPr id="7" name="Textplatzhalter 6">
            <a:extLst>
              <a:ext uri="{FF2B5EF4-FFF2-40B4-BE49-F238E27FC236}">
                <a16:creationId xmlns:a16="http://schemas.microsoft.com/office/drawing/2014/main" id="{24969EDD-4A06-4BE9-93A1-41E56B041198}"/>
              </a:ext>
            </a:extLst>
          </p:cNvPr>
          <p:cNvSpPr>
            <a:spLocks noGrp="1"/>
          </p:cNvSpPr>
          <p:nvPr>
            <p:ph type="body" sz="quarter" idx="14" hasCustomPrompt="1"/>
          </p:nvPr>
        </p:nvSpPr>
        <p:spPr bwMode="gray">
          <a:xfrm>
            <a:off x="600660" y="3397149"/>
            <a:ext cx="4619229" cy="2350191"/>
          </a:xfrm>
        </p:spPr>
        <p:txBody>
          <a:bodyPr/>
          <a:lstStyle>
            <a:lvl1pPr>
              <a:lnSpc>
                <a:spcPct val="100000"/>
              </a:lnSpc>
              <a:defRPr kumimoji="0" lang="de-DE" sz="1067" b="0" i="0" u="none" strike="noStrike" kern="0" cap="none" spc="0" normalizeH="0" baseline="0" dirty="0" smtClean="0">
                <a:ln>
                  <a:noFill/>
                </a:ln>
                <a:solidFill>
                  <a:prstClr val="black"/>
                </a:solidFill>
                <a:effectLst/>
                <a:uLnTx/>
                <a:uFillTx/>
                <a:latin typeface="+mn-lt"/>
                <a:ea typeface="+mn-ea"/>
                <a:cs typeface="+mn-cs"/>
              </a:defRPr>
            </a:lvl1pPr>
            <a:lvl2pPr marL="0" indent="0">
              <a:buNone/>
              <a:defRPr kumimoji="0" lang="de-DE" sz="1067" b="0" i="0" u="none" strike="noStrike" kern="0" cap="none" spc="0" normalizeH="0" baseline="0" dirty="0">
                <a:ln>
                  <a:noFill/>
                </a:ln>
                <a:solidFill>
                  <a:prstClr val="black"/>
                </a:solidFill>
                <a:effectLst/>
                <a:uLnTx/>
                <a:uFillTx/>
                <a:latin typeface="+mn-lt"/>
                <a:ea typeface="+mn-ea"/>
                <a:cs typeface="+mn-cs"/>
              </a:defRPr>
            </a:lvl2pPr>
            <a:lvl3pPr>
              <a:defRPr kumimoji="0" lang="de-DE" sz="1333" b="0" i="0" u="none" strike="noStrike" kern="0" cap="none" spc="0" normalizeH="0" baseline="0" dirty="0" smtClean="0">
                <a:ln>
                  <a:noFill/>
                </a:ln>
                <a:solidFill>
                  <a:prstClr val="black"/>
                </a:solidFill>
                <a:effectLst/>
                <a:uLnTx/>
                <a:uFillTx/>
                <a:latin typeface="+mn-lt"/>
                <a:ea typeface="+mn-ea"/>
                <a:cs typeface="+mn-cs"/>
              </a:defRPr>
            </a:lvl3pPr>
            <a:lvl4pPr>
              <a:defRPr kumimoji="0" lang="de-DE" sz="1333" b="0" i="0" u="none" strike="noStrike" kern="0" cap="none" spc="0" normalizeH="0" baseline="0" dirty="0" smtClean="0">
                <a:ln>
                  <a:noFill/>
                </a:ln>
                <a:solidFill>
                  <a:prstClr val="black"/>
                </a:solidFill>
                <a:effectLst/>
                <a:uLnTx/>
                <a:uFillTx/>
                <a:latin typeface="+mn-lt"/>
                <a:ea typeface="+mn-ea"/>
                <a:cs typeface="+mn-cs"/>
              </a:defRPr>
            </a:lvl4pPr>
            <a:lvl5pPr>
              <a:defRPr kumimoji="0" lang="de-DE" sz="1333" b="0" i="0" u="none" strike="noStrike" kern="0" cap="none" spc="0" normalizeH="0" baseline="0" dirty="0">
                <a:ln>
                  <a:noFill/>
                </a:ln>
                <a:solidFill>
                  <a:prstClr val="black"/>
                </a:solidFill>
                <a:effectLst/>
                <a:uLnTx/>
                <a:uFillTx/>
                <a:latin typeface="+mn-lt"/>
                <a:ea typeface="+mn-ea"/>
                <a:cs typeface="+mn-cs"/>
              </a:defRPr>
            </a:lvl5pPr>
          </a:lstStyle>
          <a:p>
            <a:pPr lvl="0"/>
            <a:r>
              <a:rPr lang="de-DE" dirty="0" err="1"/>
              <a:t>Añadir</a:t>
            </a:r>
            <a:r>
              <a:rPr lang="de-DE" dirty="0"/>
              <a:t> </a:t>
            </a:r>
            <a:r>
              <a:rPr lang="de-DE" dirty="0" err="1"/>
              <a:t>texto</a:t>
            </a:r>
            <a:r>
              <a:rPr lang="de-DE" dirty="0"/>
              <a:t> </a:t>
            </a:r>
            <a:r>
              <a:rPr lang="de-DE" dirty="0" err="1"/>
              <a:t>haciendo</a:t>
            </a:r>
            <a:r>
              <a:rPr lang="de-DE" dirty="0"/>
              <a:t> </a:t>
            </a:r>
            <a:r>
              <a:rPr lang="de-DE" dirty="0" err="1"/>
              <a:t>clic</a:t>
            </a:r>
            <a:endParaRPr lang="de-DE" dirty="0"/>
          </a:p>
        </p:txBody>
      </p:sp>
      <p:sp>
        <p:nvSpPr>
          <p:cNvPr id="13" name="Textplatzhalter 6">
            <a:extLst>
              <a:ext uri="{FF2B5EF4-FFF2-40B4-BE49-F238E27FC236}">
                <a16:creationId xmlns:a16="http://schemas.microsoft.com/office/drawing/2014/main" id="{CF011E25-18E3-408D-87A2-25C927E6CD34}"/>
              </a:ext>
            </a:extLst>
          </p:cNvPr>
          <p:cNvSpPr>
            <a:spLocks noGrp="1"/>
          </p:cNvSpPr>
          <p:nvPr>
            <p:ph type="body" sz="quarter" idx="15" hasCustomPrompt="1"/>
          </p:nvPr>
        </p:nvSpPr>
        <p:spPr bwMode="gray">
          <a:xfrm>
            <a:off x="5848718" y="1475896"/>
            <a:ext cx="4570903" cy="2594357"/>
          </a:xfrm>
        </p:spPr>
        <p:txBody>
          <a:bodyPr/>
          <a:lstStyle>
            <a:lvl1pPr>
              <a:lnSpc>
                <a:spcPct val="100000"/>
              </a:lnSpc>
              <a:defRPr kumimoji="0" lang="de-DE" sz="1067" b="0" i="0" u="none" strike="noStrike" kern="0" cap="none" spc="0" normalizeH="0" baseline="0" dirty="0" smtClean="0">
                <a:ln>
                  <a:noFill/>
                </a:ln>
                <a:solidFill>
                  <a:prstClr val="black"/>
                </a:solidFill>
                <a:effectLst/>
                <a:uLnTx/>
                <a:uFillTx/>
                <a:latin typeface="+mn-lt"/>
                <a:ea typeface="+mn-ea"/>
                <a:cs typeface="+mn-cs"/>
              </a:defRPr>
            </a:lvl1pPr>
            <a:lvl2pPr marL="0" indent="0">
              <a:lnSpc>
                <a:spcPct val="100000"/>
              </a:lnSpc>
              <a:buNone/>
              <a:defRPr kumimoji="0" lang="de-DE" sz="1067" b="0" i="0" u="none" strike="noStrike" kern="0" cap="none" spc="0" normalizeH="0" baseline="0" dirty="0">
                <a:ln>
                  <a:noFill/>
                </a:ln>
                <a:solidFill>
                  <a:prstClr val="black"/>
                </a:solidFill>
                <a:effectLst/>
                <a:uLnTx/>
                <a:uFillTx/>
                <a:latin typeface="+mn-lt"/>
                <a:ea typeface="+mn-ea"/>
                <a:cs typeface="+mn-cs"/>
              </a:defRPr>
            </a:lvl2pPr>
            <a:lvl3pPr>
              <a:defRPr kumimoji="0" lang="de-DE" sz="1333" b="0" i="0" u="none" strike="noStrike" kern="0" cap="none" spc="0" normalizeH="0" baseline="0" dirty="0" smtClean="0">
                <a:ln>
                  <a:noFill/>
                </a:ln>
                <a:solidFill>
                  <a:prstClr val="black"/>
                </a:solidFill>
                <a:effectLst/>
                <a:uLnTx/>
                <a:uFillTx/>
                <a:latin typeface="+mn-lt"/>
                <a:ea typeface="+mn-ea"/>
                <a:cs typeface="+mn-cs"/>
              </a:defRPr>
            </a:lvl3pPr>
            <a:lvl4pPr>
              <a:defRPr kumimoji="0" lang="de-DE" sz="1333" b="0" i="0" u="none" strike="noStrike" kern="0" cap="none" spc="0" normalizeH="0" baseline="0" dirty="0" smtClean="0">
                <a:ln>
                  <a:noFill/>
                </a:ln>
                <a:solidFill>
                  <a:prstClr val="black"/>
                </a:solidFill>
                <a:effectLst/>
                <a:uLnTx/>
                <a:uFillTx/>
                <a:latin typeface="+mn-lt"/>
                <a:ea typeface="+mn-ea"/>
                <a:cs typeface="+mn-cs"/>
              </a:defRPr>
            </a:lvl4pPr>
            <a:lvl5pPr>
              <a:defRPr kumimoji="0" lang="de-DE" sz="1333" b="0" i="0" u="none" strike="noStrike" kern="0" cap="none" spc="0" normalizeH="0" baseline="0" dirty="0">
                <a:ln>
                  <a:noFill/>
                </a:ln>
                <a:solidFill>
                  <a:prstClr val="black"/>
                </a:solidFill>
                <a:effectLst/>
                <a:uLnTx/>
                <a:uFillTx/>
                <a:latin typeface="+mn-lt"/>
                <a:ea typeface="+mn-ea"/>
                <a:cs typeface="+mn-cs"/>
              </a:defRPr>
            </a:lvl5pPr>
          </a:lstStyle>
          <a:p>
            <a:pPr lvl="0"/>
            <a:r>
              <a:rPr lang="de-DE" dirty="0" err="1"/>
              <a:t>Añadir</a:t>
            </a:r>
            <a:r>
              <a:rPr lang="de-DE" dirty="0"/>
              <a:t> </a:t>
            </a:r>
            <a:r>
              <a:rPr lang="de-DE" dirty="0" err="1"/>
              <a:t>texto</a:t>
            </a:r>
            <a:r>
              <a:rPr lang="de-DE" dirty="0"/>
              <a:t> </a:t>
            </a:r>
            <a:r>
              <a:rPr lang="de-DE" dirty="0" err="1"/>
              <a:t>haciendo</a:t>
            </a:r>
            <a:r>
              <a:rPr lang="de-DE" dirty="0"/>
              <a:t> </a:t>
            </a:r>
            <a:r>
              <a:rPr lang="de-DE" dirty="0" err="1"/>
              <a:t>clic</a:t>
            </a:r>
            <a:endParaRPr lang="de-DE" dirty="0"/>
          </a:p>
        </p:txBody>
      </p:sp>
      <p:sp>
        <p:nvSpPr>
          <p:cNvPr id="9" name="Titel 4">
            <a:extLst>
              <a:ext uri="{FF2B5EF4-FFF2-40B4-BE49-F238E27FC236}">
                <a16:creationId xmlns:a16="http://schemas.microsoft.com/office/drawing/2014/main" id="{A54890EC-9E57-4997-94A7-B17711F7AB69}"/>
              </a:ext>
            </a:extLst>
          </p:cNvPr>
          <p:cNvSpPr txBox="1">
            <a:spLocks/>
          </p:cNvSpPr>
          <p:nvPr userDrawn="1"/>
        </p:nvSpPr>
        <p:spPr bwMode="gray">
          <a:xfrm>
            <a:off x="599757" y="320284"/>
            <a:ext cx="3739345" cy="720725"/>
          </a:xfrm>
          <a:prstGeom prst="rect">
            <a:avLst/>
          </a:prstGeom>
        </p:spPr>
        <p:txBody>
          <a:bodyPr vert="horz" lIns="0" tIns="0" rIns="96000" bIns="0" rtlCol="0" anchor="b">
            <a:noAutofit/>
          </a:bodyPr>
          <a:lstStyle>
            <a:lvl1pPr algn="l" defTabSz="685800" rtl="0" eaLnBrk="1" latinLnBrk="0" hangingPunct="1">
              <a:lnSpc>
                <a:spcPct val="90000"/>
              </a:lnSpc>
              <a:spcBef>
                <a:spcPct val="0"/>
              </a:spcBef>
              <a:buNone/>
              <a:defRPr sz="1800" b="1" kern="1200" cap="none" baseline="0">
                <a:solidFill>
                  <a:schemeClr val="tx1"/>
                </a:solidFill>
                <a:latin typeface="+mj-lt"/>
                <a:ea typeface="+mj-ea"/>
                <a:cs typeface="+mj-cs"/>
              </a:defRPr>
            </a:lvl1pPr>
          </a:lstStyle>
          <a:p>
            <a:r>
              <a:rPr lang="es-ES" sz="2400" dirty="0"/>
              <a:t>Pie de imprenta</a:t>
            </a:r>
          </a:p>
        </p:txBody>
      </p:sp>
      <p:sp>
        <p:nvSpPr>
          <p:cNvPr id="11" name="Textplatzhalter 2">
            <a:extLst>
              <a:ext uri="{FF2B5EF4-FFF2-40B4-BE49-F238E27FC236}">
                <a16:creationId xmlns:a16="http://schemas.microsoft.com/office/drawing/2014/main" id="{454AFBB5-5170-421B-B9DB-ACE735B9EAB9}"/>
              </a:ext>
            </a:extLst>
          </p:cNvPr>
          <p:cNvSpPr>
            <a:spLocks noGrp="1"/>
          </p:cNvSpPr>
          <p:nvPr>
            <p:ph type="body" sz="quarter" idx="21" hasCustomPrompt="1"/>
          </p:nvPr>
        </p:nvSpPr>
        <p:spPr>
          <a:xfrm>
            <a:off x="5848352" y="4276012"/>
            <a:ext cx="2863849" cy="147733"/>
          </a:xfrm>
        </p:spPr>
        <p:txBody>
          <a:bodyPr wrap="none" lIns="0">
            <a:noAutofit/>
          </a:bodyPr>
          <a:lstStyle>
            <a:lvl1pPr>
              <a:defRPr lang="de-DE" sz="1067" smtClean="0">
                <a:solidFill>
                  <a:prstClr val="black"/>
                </a:solidFill>
              </a:defRPr>
            </a:lvl1pPr>
            <a:lvl2pPr>
              <a:defRPr lang="de-DE" sz="1800" smtClean="0"/>
            </a:lvl2pPr>
            <a:lvl3pPr>
              <a:defRPr lang="de-DE" sz="1800" smtClean="0"/>
            </a:lvl3pPr>
            <a:lvl4pPr>
              <a:defRPr lang="de-DE" smtClean="0"/>
            </a:lvl4pPr>
            <a:lvl5pPr>
              <a:defRPr lang="fr-FR"/>
            </a:lvl5pPr>
          </a:lstStyle>
          <a:p>
            <a:pPr lvl="0"/>
            <a:r>
              <a:rPr lang="de-DE" dirty="0" err="1"/>
              <a:t>Añadir</a:t>
            </a:r>
            <a:r>
              <a:rPr lang="de-DE" dirty="0"/>
              <a:t> </a:t>
            </a:r>
            <a:r>
              <a:rPr lang="de-DE" dirty="0" err="1"/>
              <a:t>texto</a:t>
            </a:r>
            <a:r>
              <a:rPr lang="de-DE" dirty="0"/>
              <a:t> </a:t>
            </a:r>
            <a:r>
              <a:rPr lang="de-DE" dirty="0" err="1"/>
              <a:t>haciendo</a:t>
            </a:r>
            <a:r>
              <a:rPr lang="de-DE" dirty="0"/>
              <a:t> </a:t>
            </a:r>
            <a:r>
              <a:rPr lang="de-DE" dirty="0" err="1"/>
              <a:t>clic</a:t>
            </a:r>
            <a:endParaRPr lang="de-DE" dirty="0"/>
          </a:p>
        </p:txBody>
      </p:sp>
      <p:sp>
        <p:nvSpPr>
          <p:cNvPr id="2" name="Datumsplatzhalter 1">
            <a:extLst>
              <a:ext uri="{FF2B5EF4-FFF2-40B4-BE49-F238E27FC236}">
                <a16:creationId xmlns:a16="http://schemas.microsoft.com/office/drawing/2014/main" id="{8CB4DA96-8B00-4036-BDD7-FB16C8201E97}"/>
              </a:ext>
            </a:extLst>
          </p:cNvPr>
          <p:cNvSpPr>
            <a:spLocks noGrp="1"/>
          </p:cNvSpPr>
          <p:nvPr>
            <p:ph type="dt" sz="half" idx="22"/>
          </p:nvPr>
        </p:nvSpPr>
        <p:spPr/>
        <p:txBody>
          <a:bodyPr/>
          <a:lstStyle/>
          <a:p>
            <a:r>
              <a:rPr lang="es-ES"/>
              <a:t>14.02.2019</a:t>
            </a:r>
            <a:endParaRPr lang="es-ES" dirty="0"/>
          </a:p>
        </p:txBody>
      </p:sp>
      <p:sp>
        <p:nvSpPr>
          <p:cNvPr id="3" name="Fußzeilenplatzhalter 2">
            <a:extLst>
              <a:ext uri="{FF2B5EF4-FFF2-40B4-BE49-F238E27FC236}">
                <a16:creationId xmlns:a16="http://schemas.microsoft.com/office/drawing/2014/main" id="{71539105-2A91-4F75-B2E3-65860977569A}"/>
              </a:ext>
            </a:extLst>
          </p:cNvPr>
          <p:cNvSpPr>
            <a:spLocks noGrp="1"/>
          </p:cNvSpPr>
          <p:nvPr>
            <p:ph type="ftr" sz="quarter" idx="23"/>
          </p:nvPr>
        </p:nvSpPr>
        <p:spPr/>
        <p:txBody>
          <a:bodyPr/>
          <a:lstStyle/>
          <a:p>
            <a:r>
              <a:rPr lang="es-ES"/>
              <a:t>Título de la presentación</a:t>
            </a:r>
            <a:endParaRPr lang="es-ES" dirty="0"/>
          </a:p>
        </p:txBody>
      </p:sp>
      <p:sp>
        <p:nvSpPr>
          <p:cNvPr id="4" name="Foliennummernplatzhalter 3">
            <a:extLst>
              <a:ext uri="{FF2B5EF4-FFF2-40B4-BE49-F238E27FC236}">
                <a16:creationId xmlns:a16="http://schemas.microsoft.com/office/drawing/2014/main" id="{73342BF7-AF7B-4ED5-9BB9-DD5C7E6F2EDA}"/>
              </a:ext>
            </a:extLst>
          </p:cNvPr>
          <p:cNvSpPr>
            <a:spLocks noGrp="1"/>
          </p:cNvSpPr>
          <p:nvPr>
            <p:ph type="sldNum" sz="quarter" idx="24"/>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343559430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tografías y fuentes">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24969EDD-4A06-4BE9-93A1-41E56B041198}"/>
              </a:ext>
            </a:extLst>
          </p:cNvPr>
          <p:cNvSpPr>
            <a:spLocks noGrp="1"/>
          </p:cNvSpPr>
          <p:nvPr>
            <p:ph type="body" sz="quarter" idx="14" hasCustomPrompt="1"/>
          </p:nvPr>
        </p:nvSpPr>
        <p:spPr bwMode="gray">
          <a:xfrm>
            <a:off x="600660" y="1475895"/>
            <a:ext cx="9563579" cy="4626708"/>
          </a:xfrm>
        </p:spPr>
        <p:txBody>
          <a:bodyPr numCol="2"/>
          <a:lstStyle>
            <a:lvl1pPr marL="0" marR="0" indent="0" algn="l" defTabSz="914392" rtl="0" eaLnBrk="1" fontAlgn="auto" latinLnBrk="0" hangingPunct="1">
              <a:lnSpc>
                <a:spcPct val="100000"/>
              </a:lnSpc>
              <a:spcBef>
                <a:spcPts val="0"/>
              </a:spcBef>
              <a:spcAft>
                <a:spcPts val="0"/>
              </a:spcAft>
              <a:buClrTx/>
              <a:buSzTx/>
              <a:buFont typeface="Arial" panose="020B0604020202020204" pitchFamily="34" charset="0"/>
              <a:buNone/>
              <a:tabLst/>
              <a:defRPr kumimoji="0" lang="de-DE" sz="1067" b="0" i="0" u="none" strike="noStrike" kern="0" cap="none" spc="0" normalizeH="0" baseline="0" dirty="0" smtClean="0">
                <a:ln>
                  <a:noFill/>
                </a:ln>
                <a:solidFill>
                  <a:prstClr val="black"/>
                </a:solidFill>
                <a:effectLst/>
                <a:uLnTx/>
                <a:uFillTx/>
                <a:latin typeface="+mn-lt"/>
                <a:ea typeface="+mn-ea"/>
                <a:cs typeface="+mn-cs"/>
              </a:defRPr>
            </a:lvl1pPr>
            <a:lvl2pPr marL="0" indent="0">
              <a:buNone/>
              <a:defRPr kumimoji="0" lang="de-DE" sz="1067" b="0" i="0" u="none" strike="noStrike" kern="0" cap="none" spc="0" normalizeH="0" baseline="0" dirty="0">
                <a:ln>
                  <a:noFill/>
                </a:ln>
                <a:solidFill>
                  <a:prstClr val="black"/>
                </a:solidFill>
                <a:effectLst/>
                <a:uLnTx/>
                <a:uFillTx/>
                <a:latin typeface="+mn-lt"/>
                <a:ea typeface="+mn-ea"/>
                <a:cs typeface="+mn-cs"/>
              </a:defRPr>
            </a:lvl2pPr>
            <a:lvl3pPr>
              <a:defRPr kumimoji="0" lang="de-DE" sz="1333" b="0" i="0" u="none" strike="noStrike" kern="0" cap="none" spc="0" normalizeH="0" baseline="0" dirty="0" smtClean="0">
                <a:ln>
                  <a:noFill/>
                </a:ln>
                <a:solidFill>
                  <a:prstClr val="black"/>
                </a:solidFill>
                <a:effectLst/>
                <a:uLnTx/>
                <a:uFillTx/>
                <a:latin typeface="+mn-lt"/>
                <a:ea typeface="+mn-ea"/>
                <a:cs typeface="+mn-cs"/>
              </a:defRPr>
            </a:lvl3pPr>
            <a:lvl4pPr>
              <a:defRPr kumimoji="0" lang="de-DE" sz="1333" b="0" i="0" u="none" strike="noStrike" kern="0" cap="none" spc="0" normalizeH="0" baseline="0" dirty="0" smtClean="0">
                <a:ln>
                  <a:noFill/>
                </a:ln>
                <a:solidFill>
                  <a:prstClr val="black"/>
                </a:solidFill>
                <a:effectLst/>
                <a:uLnTx/>
                <a:uFillTx/>
                <a:latin typeface="+mn-lt"/>
                <a:ea typeface="+mn-ea"/>
                <a:cs typeface="+mn-cs"/>
              </a:defRPr>
            </a:lvl4pPr>
            <a:lvl5pPr>
              <a:defRPr kumimoji="0" lang="de-DE" sz="1333" b="0" i="0" u="none" strike="noStrike" kern="0" cap="none" spc="0" normalizeH="0" baseline="0" dirty="0">
                <a:ln>
                  <a:noFill/>
                </a:ln>
                <a:solidFill>
                  <a:prstClr val="black"/>
                </a:solidFill>
                <a:effectLst/>
                <a:uLnTx/>
                <a:uFillTx/>
                <a:latin typeface="+mn-lt"/>
                <a:ea typeface="+mn-ea"/>
                <a:cs typeface="+mn-cs"/>
              </a:defRPr>
            </a:lvl5pPr>
          </a:lstStyle>
          <a:p>
            <a:pPr lvl="0"/>
            <a:r>
              <a:rPr lang="de-DE" dirty="0" err="1"/>
              <a:t>Añadir</a:t>
            </a:r>
            <a:r>
              <a:rPr lang="de-DE" dirty="0"/>
              <a:t> </a:t>
            </a:r>
            <a:r>
              <a:rPr lang="de-DE" dirty="0" err="1"/>
              <a:t>texto</a:t>
            </a:r>
            <a:r>
              <a:rPr lang="de-DE" dirty="0"/>
              <a:t> </a:t>
            </a:r>
            <a:r>
              <a:rPr lang="de-DE" dirty="0" err="1"/>
              <a:t>haciendo</a:t>
            </a:r>
            <a:r>
              <a:rPr lang="de-DE" dirty="0"/>
              <a:t> </a:t>
            </a:r>
            <a:r>
              <a:rPr lang="de-DE" dirty="0" err="1"/>
              <a:t>clic</a:t>
            </a:r>
            <a:endParaRPr lang="de-DE" dirty="0"/>
          </a:p>
        </p:txBody>
      </p:sp>
      <p:sp>
        <p:nvSpPr>
          <p:cNvPr id="11" name="Rechteck 10">
            <a:extLst>
              <a:ext uri="{FF2B5EF4-FFF2-40B4-BE49-F238E27FC236}">
                <a16:creationId xmlns:a16="http://schemas.microsoft.com/office/drawing/2014/main" id="{1BCACD76-7CB8-457E-9434-C57DB9E23AA9}"/>
              </a:ext>
            </a:extLst>
          </p:cNvPr>
          <p:cNvSpPr/>
          <p:nvPr userDrawn="1"/>
        </p:nvSpPr>
        <p:spPr bwMode="gray">
          <a:xfrm>
            <a:off x="1036949" y="6535917"/>
            <a:ext cx="1445444" cy="213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err="1"/>
          </a:p>
        </p:txBody>
      </p:sp>
      <p:sp>
        <p:nvSpPr>
          <p:cNvPr id="12" name="Titel 4">
            <a:extLst>
              <a:ext uri="{FF2B5EF4-FFF2-40B4-BE49-F238E27FC236}">
                <a16:creationId xmlns:a16="http://schemas.microsoft.com/office/drawing/2014/main" id="{7C271A97-CC1D-481E-9972-CE4AD69C28AD}"/>
              </a:ext>
            </a:extLst>
          </p:cNvPr>
          <p:cNvSpPr txBox="1">
            <a:spLocks/>
          </p:cNvSpPr>
          <p:nvPr userDrawn="1"/>
        </p:nvSpPr>
        <p:spPr bwMode="gray">
          <a:xfrm>
            <a:off x="599757" y="320284"/>
            <a:ext cx="9020495" cy="720725"/>
          </a:xfrm>
          <a:prstGeom prst="rect">
            <a:avLst/>
          </a:prstGeom>
        </p:spPr>
        <p:txBody>
          <a:bodyPr vert="horz" lIns="0" tIns="0" rIns="96000" bIns="0" rtlCol="0" anchor="b">
            <a:noAutofit/>
          </a:bodyPr>
          <a:lstStyle>
            <a:lvl1pPr algn="l" defTabSz="685800" rtl="0" eaLnBrk="1" latinLnBrk="0" hangingPunct="1">
              <a:lnSpc>
                <a:spcPct val="90000"/>
              </a:lnSpc>
              <a:spcBef>
                <a:spcPct val="0"/>
              </a:spcBef>
              <a:buNone/>
              <a:defRPr sz="1800" b="1" kern="1200" cap="none" baseline="0">
                <a:solidFill>
                  <a:schemeClr val="tx1"/>
                </a:solidFill>
                <a:latin typeface="+mj-lt"/>
                <a:ea typeface="+mj-ea"/>
                <a:cs typeface="+mj-cs"/>
              </a:defRPr>
            </a:lvl1pPr>
          </a:lstStyle>
          <a:p>
            <a:r>
              <a:rPr lang="es-ES" sz="2400" b="1" dirty="0"/>
              <a:t>Fotografías/fuentes:</a:t>
            </a:r>
            <a:endParaRPr lang="es-ES" sz="2400" dirty="0"/>
          </a:p>
        </p:txBody>
      </p:sp>
    </p:spTree>
    <p:extLst>
      <p:ext uri="{BB962C8B-B14F-4D97-AF65-F5344CB8AC3E}">
        <p14:creationId xmlns:p14="http://schemas.microsoft.com/office/powerpoint/2010/main" val="43914536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apositiva de cie">
    <p:spTree>
      <p:nvGrpSpPr>
        <p:cNvPr id="1" name=""/>
        <p:cNvGrpSpPr/>
        <p:nvPr/>
      </p:nvGrpSpPr>
      <p:grpSpPr>
        <a:xfrm>
          <a:off x="0" y="0"/>
          <a:ext cx="0" cy="0"/>
          <a:chOff x="0" y="0"/>
          <a:chExt cx="0" cy="0"/>
        </a:xfrm>
      </p:grpSpPr>
      <p:pic>
        <p:nvPicPr>
          <p:cNvPr id="17" name="Grafik 16" descr="Ein Bild, das Kette enthält.&#10;&#10;Automatisch generierte Beschreibung">
            <a:extLst>
              <a:ext uri="{FF2B5EF4-FFF2-40B4-BE49-F238E27FC236}">
                <a16:creationId xmlns:a16="http://schemas.microsoft.com/office/drawing/2014/main" id="{D27820A7-D571-4E28-A8CF-ADB17402AE97}"/>
              </a:ext>
            </a:extLst>
          </p:cNvPr>
          <p:cNvPicPr>
            <a:picLocks/>
          </p:cNvPicPr>
          <p:nvPr userDrawn="1"/>
        </p:nvPicPr>
        <p:blipFill rotWithShape="1">
          <a:blip r:embed="rId2"/>
          <a:srcRect t="233" b="15579"/>
          <a:stretch/>
        </p:blipFill>
        <p:spPr bwMode="gray">
          <a:xfrm>
            <a:off x="164183" y="165103"/>
            <a:ext cx="11858487" cy="5444047"/>
          </a:xfrm>
          <a:prstGeom prst="rect">
            <a:avLst/>
          </a:prstGeom>
        </p:spPr>
      </p:pic>
      <p:pic>
        <p:nvPicPr>
          <p:cNvPr id="12" name="Grafik 11" descr="Ein Bild, das Säge enthält.&#10;&#10;Automatisch generierte Beschreibung">
            <a:extLst>
              <a:ext uri="{FF2B5EF4-FFF2-40B4-BE49-F238E27FC236}">
                <a16:creationId xmlns:a16="http://schemas.microsoft.com/office/drawing/2014/main" id="{D33A00EE-9ACF-4636-BD82-6CF5E7FCB98C}"/>
              </a:ext>
            </a:extLst>
          </p:cNvPr>
          <p:cNvPicPr>
            <a:picLocks noChangeAspect="1"/>
          </p:cNvPicPr>
          <p:nvPr userDrawn="1"/>
        </p:nvPicPr>
        <p:blipFill>
          <a:blip r:embed="rId3"/>
          <a:stretch>
            <a:fillRect/>
          </a:stretch>
        </p:blipFill>
        <p:spPr bwMode="gray">
          <a:xfrm>
            <a:off x="164180" y="856567"/>
            <a:ext cx="11860800" cy="5214544"/>
          </a:xfrm>
          <a:prstGeom prst="rect">
            <a:avLst/>
          </a:prstGeom>
        </p:spPr>
      </p:pic>
      <p:sp>
        <p:nvSpPr>
          <p:cNvPr id="14" name="Bar">
            <a:extLst>
              <a:ext uri="{FF2B5EF4-FFF2-40B4-BE49-F238E27FC236}">
                <a16:creationId xmlns:a16="http://schemas.microsoft.com/office/drawing/2014/main" id="{CAE61038-067C-47CF-8DDC-5ED6CDAC4AEE}"/>
              </a:ext>
            </a:extLst>
          </p:cNvPr>
          <p:cNvSpPr/>
          <p:nvPr userDrawn="1"/>
        </p:nvSpPr>
        <p:spPr bwMode="gray">
          <a:xfrm>
            <a:off x="8815754" y="5609150"/>
            <a:ext cx="3206913" cy="195903"/>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eaLnBrk="0" fontAlgn="base" hangingPunct="0">
              <a:spcBef>
                <a:spcPct val="0"/>
              </a:spcBef>
              <a:spcAft>
                <a:spcPct val="0"/>
              </a:spcAft>
            </a:pPr>
            <a:endParaRPr lang="de-DE" sz="2400" dirty="0" err="1">
              <a:solidFill>
                <a:schemeClr val="tx2"/>
              </a:solidFill>
              <a:latin typeface="Arial" charset="0"/>
            </a:endParaRPr>
          </a:p>
        </p:txBody>
      </p:sp>
      <p:sp>
        <p:nvSpPr>
          <p:cNvPr id="19" name="Rechteck 18">
            <a:extLst>
              <a:ext uri="{FF2B5EF4-FFF2-40B4-BE49-F238E27FC236}">
                <a16:creationId xmlns:a16="http://schemas.microsoft.com/office/drawing/2014/main" id="{4950B203-064F-443F-94A9-C002DAAE8F83}"/>
              </a:ext>
            </a:extLst>
          </p:cNvPr>
          <p:cNvSpPr/>
          <p:nvPr userDrawn="1"/>
        </p:nvSpPr>
        <p:spPr bwMode="gray">
          <a:xfrm>
            <a:off x="1620791" y="2077323"/>
            <a:ext cx="4705732" cy="3027304"/>
          </a:xfrm>
          <a:prstGeom prst="rect">
            <a:avLst/>
          </a:prstGeom>
        </p:spPr>
        <p:txBody>
          <a:bodyPr wrap="square">
            <a:spAutoFit/>
          </a:bodyPr>
          <a:lstStyle/>
          <a:p>
            <a:pPr marL="0" marR="0" lvl="0" indent="0" defTabSz="1219190" eaLnBrk="1" fontAlgn="auto" latinLnBrk="0" hangingPunct="1">
              <a:lnSpc>
                <a:spcPct val="100000"/>
              </a:lnSpc>
              <a:spcBef>
                <a:spcPts val="0"/>
              </a:spcBef>
              <a:spcAft>
                <a:spcPts val="0"/>
              </a:spcAft>
              <a:buClrTx/>
              <a:buSzTx/>
              <a:buFontTx/>
              <a:buNone/>
              <a:tabLst/>
              <a:defRPr/>
            </a:pPr>
            <a:r>
              <a:rPr kumimoji="0" lang="es-ES" sz="1467" b="1" i="0" u="none" strike="noStrike" kern="0" cap="none" spc="0" normalizeH="0" baseline="0" noProof="0">
                <a:ln>
                  <a:noFill/>
                </a:ln>
                <a:solidFill>
                  <a:prstClr val="black"/>
                </a:solidFill>
                <a:effectLst/>
                <a:uLnTx/>
                <a:uFillTx/>
              </a:rPr>
              <a:t>Deutsche Gesellschaft für</a:t>
            </a:r>
            <a:br>
              <a:rPr kumimoji="0" lang="es-ES" sz="1467" b="1" i="0" u="none" strike="noStrike" kern="0" cap="none" spc="0" normalizeH="0" baseline="0" noProof="0">
                <a:ln>
                  <a:noFill/>
                </a:ln>
                <a:solidFill>
                  <a:prstClr val="black"/>
                </a:solidFill>
                <a:effectLst/>
                <a:uLnTx/>
                <a:uFillTx/>
              </a:rPr>
            </a:br>
            <a:r>
              <a:rPr kumimoji="0" lang="es-ES" sz="1467" b="1" i="0" u="none" strike="noStrike" kern="0" cap="none" spc="0" normalizeH="0" baseline="0" noProof="0">
                <a:ln>
                  <a:noFill/>
                </a:ln>
                <a:solidFill>
                  <a:prstClr val="black"/>
                </a:solidFill>
                <a:effectLst/>
                <a:uLnTx/>
                <a:uFillTx/>
              </a:rPr>
              <a:t>Internationale Zusammenarbeit (GIZ) GmbH</a:t>
            </a:r>
          </a:p>
          <a:p>
            <a:pPr marL="0" marR="0" lvl="0" indent="0" defTabSz="1219190" eaLnBrk="1" fontAlgn="auto" latinLnBrk="0" hangingPunct="1">
              <a:lnSpc>
                <a:spcPct val="100000"/>
              </a:lnSpc>
              <a:spcBef>
                <a:spcPts val="0"/>
              </a:spcBef>
              <a:spcAft>
                <a:spcPts val="0"/>
              </a:spcAft>
              <a:buClrTx/>
              <a:buSzTx/>
              <a:buFontTx/>
              <a:buNone/>
              <a:tabLst/>
              <a:defRPr/>
            </a:pPr>
            <a:endParaRPr kumimoji="0" lang="es-ES" sz="1467" b="1" i="0" u="none" strike="noStrike" kern="0" cap="none" spc="0" normalizeH="0" baseline="0" noProof="0">
              <a:ln>
                <a:noFill/>
              </a:ln>
              <a:solidFill>
                <a:prstClr val="black"/>
              </a:solidFill>
              <a:effectLst/>
              <a:uLnTx/>
              <a:uFillTx/>
            </a:endParaRPr>
          </a:p>
          <a:p>
            <a:pPr marL="0" marR="0" lvl="0" indent="0" defTabSz="1219190" eaLnBrk="1" fontAlgn="auto" latinLnBrk="0" hangingPunct="1">
              <a:lnSpc>
                <a:spcPct val="100000"/>
              </a:lnSpc>
              <a:spcBef>
                <a:spcPts val="0"/>
              </a:spcBef>
              <a:spcAft>
                <a:spcPts val="0"/>
              </a:spcAft>
              <a:buClrTx/>
              <a:buSzTx/>
              <a:buFontTx/>
              <a:buNone/>
              <a:tabLst/>
              <a:defRPr/>
            </a:pPr>
            <a:r>
              <a:rPr kumimoji="0" lang="es-ES" sz="1467" b="0" i="0" u="none" strike="noStrike" kern="0" cap="none" spc="0" normalizeH="0" baseline="0" noProof="0">
                <a:ln>
                  <a:noFill/>
                </a:ln>
                <a:solidFill>
                  <a:prstClr val="black"/>
                </a:solidFill>
                <a:effectLst/>
                <a:uLnTx/>
                <a:uFillTx/>
              </a:rPr>
              <a:t>Domicilios </a:t>
            </a:r>
            <a:r>
              <a:rPr kumimoji="0" lang="es-ES" sz="1467" b="0" i="0" u="none" strike="noStrike" kern="0" cap="none" spc="0" normalizeH="0" baseline="0" noProof="0" dirty="0">
                <a:ln>
                  <a:noFill/>
                </a:ln>
                <a:solidFill>
                  <a:prstClr val="black"/>
                </a:solidFill>
                <a:effectLst/>
                <a:uLnTx/>
                <a:uFillTx/>
              </a:rPr>
              <a:t>de la Sociedad:</a:t>
            </a:r>
            <a:br>
              <a:rPr lang="es-ES" sz="1467" dirty="0"/>
            </a:br>
            <a:r>
              <a:rPr kumimoji="0" lang="es-ES" sz="1467" b="0" i="0" u="none" strike="noStrike" kern="0" cap="none" spc="0" normalizeH="0" baseline="0" noProof="0" dirty="0">
                <a:ln>
                  <a:noFill/>
                </a:ln>
                <a:solidFill>
                  <a:prstClr val="black"/>
                </a:solidFill>
                <a:effectLst/>
                <a:uLnTx/>
                <a:uFillTx/>
              </a:rPr>
              <a:t>Bonn y Eschborn, Alemania</a:t>
            </a:r>
          </a:p>
          <a:p>
            <a:pPr marL="0" marR="0" lvl="0" indent="0" defTabSz="1219190" eaLnBrk="1" fontAlgn="auto" latinLnBrk="0" hangingPunct="1">
              <a:lnSpc>
                <a:spcPct val="100000"/>
              </a:lnSpc>
              <a:spcBef>
                <a:spcPts val="0"/>
              </a:spcBef>
              <a:spcAft>
                <a:spcPts val="0"/>
              </a:spcAft>
              <a:buClrTx/>
              <a:buSzTx/>
              <a:buFontTx/>
              <a:buNone/>
              <a:tabLst/>
              <a:defRPr/>
            </a:pPr>
            <a:endParaRPr kumimoji="0" lang="es-ES" sz="1467" b="0" i="0" u="none" strike="noStrike" kern="0" cap="none" spc="0" normalizeH="0" baseline="0" noProof="0">
              <a:ln>
                <a:noFill/>
              </a:ln>
              <a:solidFill>
                <a:prstClr val="black"/>
              </a:solidFill>
              <a:effectLst/>
              <a:uLnTx/>
              <a:uFillTx/>
            </a:endParaRPr>
          </a:p>
          <a:p>
            <a:pPr marL="0" marR="0" lvl="0" indent="0" defTabSz="1219190" eaLnBrk="1" fontAlgn="auto" latinLnBrk="0" hangingPunct="1">
              <a:lnSpc>
                <a:spcPct val="100000"/>
              </a:lnSpc>
              <a:spcBef>
                <a:spcPts val="0"/>
              </a:spcBef>
              <a:spcAft>
                <a:spcPts val="0"/>
              </a:spcAft>
              <a:buClrTx/>
              <a:buSzTx/>
              <a:buFontTx/>
              <a:buNone/>
              <a:tabLst/>
              <a:defRPr/>
            </a:pPr>
            <a:r>
              <a:rPr kumimoji="0" lang="es-ES" sz="1467" b="0" i="0" u="none" strike="noStrike" kern="0" cap="none" spc="0" normalizeH="0" baseline="0" noProof="0">
                <a:ln>
                  <a:noFill/>
                </a:ln>
                <a:solidFill>
                  <a:prstClr val="black"/>
                </a:solidFill>
                <a:effectLst/>
                <a:uLnTx/>
                <a:uFillTx/>
              </a:rPr>
              <a:t>Friedrich-Ebert-Allee 36 + 40</a:t>
            </a:r>
            <a:br>
              <a:rPr kumimoji="0" lang="es-ES" sz="1467" b="0" i="0" u="none" strike="noStrike" kern="0" cap="none" spc="0" normalizeH="0" baseline="0" noProof="0">
                <a:ln>
                  <a:noFill/>
                </a:ln>
                <a:solidFill>
                  <a:prstClr val="black"/>
                </a:solidFill>
                <a:effectLst/>
                <a:uLnTx/>
                <a:uFillTx/>
              </a:rPr>
            </a:br>
            <a:r>
              <a:rPr kumimoji="0" lang="es-ES" sz="1467" b="0" i="0" u="none" strike="noStrike" kern="0" cap="none" spc="0" normalizeH="0" baseline="0" noProof="0">
                <a:ln>
                  <a:noFill/>
                </a:ln>
                <a:solidFill>
                  <a:prstClr val="black"/>
                </a:solidFill>
                <a:effectLst/>
                <a:uLnTx/>
                <a:uFillTx/>
              </a:rPr>
              <a:t>53113 Bonn, Alemania</a:t>
            </a:r>
            <a:br>
              <a:rPr kumimoji="0" lang="es-ES" sz="1467" b="0" i="0" u="none" strike="noStrike" kern="0" cap="none" spc="0" normalizeH="0" baseline="0" noProof="0">
                <a:ln>
                  <a:noFill/>
                </a:ln>
                <a:solidFill>
                  <a:prstClr val="black"/>
                </a:solidFill>
                <a:effectLst/>
                <a:uLnTx/>
                <a:uFillTx/>
              </a:rPr>
            </a:br>
            <a:r>
              <a:rPr kumimoji="0" lang="es-ES" sz="1467" b="0" i="0" u="none" strike="noStrike" kern="0" cap="none" spc="0" normalizeH="0" baseline="0" noProof="0">
                <a:ln>
                  <a:noFill/>
                </a:ln>
                <a:solidFill>
                  <a:prstClr val="black"/>
                </a:solidFill>
                <a:effectLst/>
                <a:uLnTx/>
                <a:uFillTx/>
              </a:rPr>
              <a:t>T  +49  228  44 60 - 0</a:t>
            </a:r>
            <a:br>
              <a:rPr kumimoji="0" lang="es-ES" sz="1467" b="0" i="0" u="none" strike="noStrike" kern="0" cap="none" spc="0" normalizeH="0" baseline="0" noProof="0">
                <a:ln>
                  <a:noFill/>
                </a:ln>
                <a:solidFill>
                  <a:prstClr val="black"/>
                </a:solidFill>
                <a:effectLst/>
                <a:uLnTx/>
                <a:uFillTx/>
              </a:rPr>
            </a:br>
            <a:r>
              <a:rPr kumimoji="0" lang="es-ES" sz="1467" b="0" i="0" u="none" strike="noStrike" kern="0" cap="none" spc="0" normalizeH="0" baseline="0" noProof="0">
                <a:ln>
                  <a:noFill/>
                </a:ln>
                <a:solidFill>
                  <a:prstClr val="black"/>
                </a:solidFill>
                <a:effectLst/>
                <a:uLnTx/>
                <a:uFillTx/>
              </a:rPr>
              <a:t>F  +49  228  44 60 - 17 66</a:t>
            </a:r>
          </a:p>
          <a:p>
            <a:pPr marL="0" marR="0" lvl="0" indent="0" defTabSz="1219190" eaLnBrk="1" fontAlgn="auto" latinLnBrk="0" hangingPunct="1">
              <a:lnSpc>
                <a:spcPct val="100000"/>
              </a:lnSpc>
              <a:spcBef>
                <a:spcPts val="0"/>
              </a:spcBef>
              <a:spcAft>
                <a:spcPts val="0"/>
              </a:spcAft>
              <a:buClrTx/>
              <a:buSzTx/>
              <a:buFontTx/>
              <a:buNone/>
              <a:tabLst/>
              <a:defRPr/>
            </a:pPr>
            <a:endParaRPr kumimoji="0" lang="es-ES" sz="1467" b="0" i="0" u="none" strike="noStrike" kern="0" cap="none" spc="0" normalizeH="0" baseline="0" noProof="0">
              <a:ln>
                <a:noFill/>
              </a:ln>
              <a:solidFill>
                <a:prstClr val="black"/>
              </a:solidFill>
              <a:effectLst/>
              <a:uLnTx/>
              <a:uFillTx/>
            </a:endParaRPr>
          </a:p>
          <a:p>
            <a:pPr marL="0" marR="0" lvl="0" indent="0" defTabSz="1219190" eaLnBrk="1" fontAlgn="auto" latinLnBrk="0" hangingPunct="1">
              <a:lnSpc>
                <a:spcPct val="100000"/>
              </a:lnSpc>
              <a:spcBef>
                <a:spcPts val="0"/>
              </a:spcBef>
              <a:spcAft>
                <a:spcPts val="0"/>
              </a:spcAft>
              <a:buClrTx/>
              <a:buSzTx/>
              <a:buFontTx/>
              <a:buNone/>
              <a:tabLst/>
              <a:defRPr/>
            </a:pPr>
            <a:r>
              <a:rPr kumimoji="0" lang="es-ES" sz="1467" b="0" i="0" u="none" strike="noStrike" kern="0" cap="none" spc="0" normalizeH="0" baseline="0" noProof="0">
                <a:ln>
                  <a:noFill/>
                </a:ln>
                <a:solidFill>
                  <a:prstClr val="black"/>
                </a:solidFill>
                <a:effectLst/>
                <a:uLnTx/>
                <a:uFillTx/>
              </a:rPr>
              <a:t>E  info@giz.de</a:t>
            </a:r>
          </a:p>
          <a:p>
            <a:pPr marL="0" marR="0" lvl="0" indent="0" defTabSz="1219190" eaLnBrk="1" fontAlgn="auto" latinLnBrk="0" hangingPunct="1">
              <a:lnSpc>
                <a:spcPct val="100000"/>
              </a:lnSpc>
              <a:spcBef>
                <a:spcPts val="0"/>
              </a:spcBef>
              <a:spcAft>
                <a:spcPts val="0"/>
              </a:spcAft>
              <a:buClrTx/>
              <a:buSzTx/>
              <a:buFontTx/>
              <a:buNone/>
              <a:tabLst/>
              <a:defRPr/>
            </a:pPr>
            <a:r>
              <a:rPr kumimoji="0" lang="es-ES" sz="1467" b="0" i="0" u="none" strike="noStrike" kern="0" cap="none" spc="0" normalizeH="0" baseline="0" noProof="0">
                <a:ln>
                  <a:noFill/>
                </a:ln>
                <a:solidFill>
                  <a:prstClr val="black"/>
                </a:solidFill>
                <a:effectLst/>
                <a:uLnTx/>
                <a:uFillTx/>
              </a:rPr>
              <a:t>I   </a:t>
            </a:r>
            <a:r>
              <a:rPr kumimoji="0" lang="es-ES" sz="533" b="0" i="0" u="none" strike="noStrike" kern="0" cap="none" spc="0" normalizeH="0" baseline="0" noProof="0">
                <a:ln>
                  <a:noFill/>
                </a:ln>
                <a:solidFill>
                  <a:prstClr val="black"/>
                </a:solidFill>
                <a:effectLst/>
                <a:uLnTx/>
                <a:uFillTx/>
              </a:rPr>
              <a:t> </a:t>
            </a:r>
            <a:r>
              <a:rPr kumimoji="0" lang="es-ES" sz="1467" b="0" i="0" u="none" strike="noStrike" kern="0" cap="none" spc="0" normalizeH="0" baseline="0" noProof="0">
                <a:ln>
                  <a:noFill/>
                </a:ln>
                <a:solidFill>
                  <a:prstClr val="black"/>
                </a:solidFill>
                <a:effectLst/>
                <a:uLnTx/>
                <a:uFillTx/>
              </a:rPr>
              <a:t>www.giz.de</a:t>
            </a:r>
            <a:endParaRPr kumimoji="0" lang="es-ES" sz="1467" b="0" i="0" u="none" strike="noStrike" kern="0" cap="none" spc="0" normalizeH="0" baseline="0" noProof="0" dirty="0">
              <a:ln>
                <a:noFill/>
              </a:ln>
              <a:solidFill>
                <a:prstClr val="black"/>
              </a:solidFill>
              <a:effectLst/>
              <a:uLnTx/>
              <a:uFillTx/>
            </a:endParaRPr>
          </a:p>
        </p:txBody>
      </p:sp>
      <p:sp>
        <p:nvSpPr>
          <p:cNvPr id="20" name="Rechteck 19">
            <a:extLst>
              <a:ext uri="{FF2B5EF4-FFF2-40B4-BE49-F238E27FC236}">
                <a16:creationId xmlns:a16="http://schemas.microsoft.com/office/drawing/2014/main" id="{37982854-A844-4D46-9BB7-0890F958ED69}"/>
              </a:ext>
            </a:extLst>
          </p:cNvPr>
          <p:cNvSpPr/>
          <p:nvPr userDrawn="1"/>
        </p:nvSpPr>
        <p:spPr bwMode="gray">
          <a:xfrm>
            <a:off x="4700586" y="3413822"/>
            <a:ext cx="4294717" cy="995401"/>
          </a:xfrm>
          <a:prstGeom prst="rect">
            <a:avLst/>
          </a:prstGeom>
        </p:spPr>
        <p:txBody>
          <a:bodyPr wrap="square">
            <a:spAutoFit/>
          </a:bodyPr>
          <a:lstStyle/>
          <a:p>
            <a:pPr marL="0" marR="0" lvl="0" indent="0" algn="l" defTabSz="1219190" rtl="0" eaLnBrk="1" fontAlgn="auto" latinLnBrk="0" hangingPunct="1">
              <a:lnSpc>
                <a:spcPct val="100000"/>
              </a:lnSpc>
              <a:spcBef>
                <a:spcPts val="0"/>
              </a:spcBef>
              <a:spcAft>
                <a:spcPts val="0"/>
              </a:spcAft>
              <a:buClrTx/>
              <a:buSzTx/>
              <a:buFontTx/>
              <a:buNone/>
              <a:tabLst/>
              <a:defRPr/>
            </a:pPr>
            <a:r>
              <a:rPr kumimoji="0" lang="es-ES" sz="1467" b="0" i="0" u="none" strike="noStrike" kern="0" cap="none" spc="0" normalizeH="0" baseline="0" noProof="0">
                <a:ln>
                  <a:noFill/>
                </a:ln>
                <a:solidFill>
                  <a:prstClr val="black"/>
                </a:solidFill>
                <a:effectLst/>
                <a:uLnTx/>
                <a:uFillTx/>
                <a:latin typeface="+mn-lt"/>
                <a:ea typeface="+mn-ea"/>
                <a:cs typeface="+mn-cs"/>
              </a:rPr>
              <a:t>Dag-Hammarskjöld-Weg 1 - 5</a:t>
            </a:r>
            <a:br>
              <a:rPr kumimoji="0" lang="es-ES" sz="1467" b="0" i="0" u="none" strike="noStrike" kern="0" cap="none" spc="0" normalizeH="0" baseline="0" noProof="0">
                <a:ln>
                  <a:noFill/>
                </a:ln>
                <a:solidFill>
                  <a:prstClr val="black"/>
                </a:solidFill>
                <a:effectLst/>
                <a:uLnTx/>
                <a:uFillTx/>
                <a:latin typeface="+mn-lt"/>
                <a:ea typeface="+mn-ea"/>
                <a:cs typeface="+mn-cs"/>
              </a:rPr>
            </a:br>
            <a:r>
              <a:rPr kumimoji="0" lang="es-ES" sz="1467" b="0" i="0" u="none" strike="noStrike" kern="0" cap="none" spc="0" normalizeH="0" baseline="0" noProof="0">
                <a:ln>
                  <a:noFill/>
                </a:ln>
                <a:solidFill>
                  <a:prstClr val="black"/>
                </a:solidFill>
                <a:effectLst/>
                <a:uLnTx/>
                <a:uFillTx/>
                <a:latin typeface="+mn-lt"/>
                <a:ea typeface="+mn-ea"/>
                <a:cs typeface="+mn-cs"/>
              </a:rPr>
              <a:t>65760 Eschborn, </a:t>
            </a:r>
            <a:r>
              <a:rPr kumimoji="0" lang="es-ES" sz="1467" b="0" i="0" u="none" strike="noStrike" kern="0" cap="none" spc="0" normalizeH="0" baseline="0" noProof="0">
                <a:ln>
                  <a:noFill/>
                </a:ln>
                <a:solidFill>
                  <a:prstClr val="black"/>
                </a:solidFill>
                <a:effectLst/>
                <a:uLnTx/>
                <a:uFillTx/>
              </a:rPr>
              <a:t>Alemania</a:t>
            </a:r>
            <a:br>
              <a:rPr kumimoji="0" lang="es-ES" sz="1467" b="0" i="0" u="none" strike="noStrike" kern="0" cap="none" spc="0" normalizeH="0" baseline="0" noProof="0">
                <a:ln>
                  <a:noFill/>
                </a:ln>
                <a:solidFill>
                  <a:prstClr val="black"/>
                </a:solidFill>
                <a:effectLst/>
                <a:uLnTx/>
                <a:uFillTx/>
                <a:latin typeface="+mn-lt"/>
                <a:ea typeface="+mn-ea"/>
                <a:cs typeface="+mn-cs"/>
              </a:rPr>
            </a:br>
            <a:r>
              <a:rPr kumimoji="0" lang="es-ES" sz="1467" b="0" i="0" u="none" strike="noStrike" kern="0" cap="none" spc="0" normalizeH="0" baseline="0" noProof="0">
                <a:ln>
                  <a:noFill/>
                </a:ln>
                <a:solidFill>
                  <a:prstClr val="black"/>
                </a:solidFill>
                <a:effectLst/>
                <a:uLnTx/>
                <a:uFillTx/>
                <a:latin typeface="+mn-lt"/>
                <a:ea typeface="+mn-ea"/>
                <a:cs typeface="+mn-cs"/>
              </a:rPr>
              <a:t>T  +49  61 96  79 - 0</a:t>
            </a:r>
            <a:br>
              <a:rPr kumimoji="0" lang="es-ES" sz="1467" b="0" i="0" u="none" strike="noStrike" kern="0" cap="none" spc="0" normalizeH="0" baseline="0" noProof="0">
                <a:ln>
                  <a:noFill/>
                </a:ln>
                <a:solidFill>
                  <a:prstClr val="black"/>
                </a:solidFill>
                <a:effectLst/>
                <a:uLnTx/>
                <a:uFillTx/>
                <a:latin typeface="+mn-lt"/>
                <a:ea typeface="+mn-ea"/>
                <a:cs typeface="+mn-cs"/>
              </a:rPr>
            </a:br>
            <a:r>
              <a:rPr kumimoji="0" lang="es-ES" sz="1467" b="0" i="0" u="none" strike="noStrike" kern="0" cap="none" spc="0" normalizeH="0" baseline="0" noProof="0">
                <a:ln>
                  <a:noFill/>
                </a:ln>
                <a:solidFill>
                  <a:prstClr val="black"/>
                </a:solidFill>
                <a:effectLst/>
                <a:uLnTx/>
                <a:uFillTx/>
                <a:latin typeface="+mn-lt"/>
                <a:ea typeface="+mn-ea"/>
                <a:cs typeface="+mn-cs"/>
              </a:rPr>
              <a:t>F  +49  61 96  79 - 11 15</a:t>
            </a:r>
            <a:endParaRPr kumimoji="0" lang="es-ES" sz="1467" b="0" i="0" u="none" strike="noStrike" kern="0" cap="none" spc="0" normalizeH="0" baseline="0" noProof="0" dirty="0">
              <a:ln>
                <a:noFill/>
              </a:ln>
              <a:solidFill>
                <a:prstClr val="black"/>
              </a:solidFill>
              <a:effectLst/>
              <a:uLnTx/>
              <a:uFillTx/>
              <a:latin typeface="+mn-lt"/>
              <a:ea typeface="+mn-ea"/>
              <a:cs typeface="+mn-cs"/>
            </a:endParaRPr>
          </a:p>
        </p:txBody>
      </p:sp>
      <p:pic>
        <p:nvPicPr>
          <p:cNvPr id="8" name="logo">
            <a:extLst>
              <a:ext uri="{FF2B5EF4-FFF2-40B4-BE49-F238E27FC236}">
                <a16:creationId xmlns:a16="http://schemas.microsoft.com/office/drawing/2014/main" id="{89CFF6E4-F492-44F6-997D-92E15F612E25}"/>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8000"/>
                    </a14:imgEffect>
                  </a14:imgLayer>
                </a14:imgProps>
              </a:ext>
              <a:ext uri="{28A0092B-C50C-407E-A947-70E740481C1C}">
                <a14:useLocalDpi xmlns:a14="http://schemas.microsoft.com/office/drawing/2010/main" val="0"/>
              </a:ext>
            </a:extLst>
          </a:blip>
          <a:stretch>
            <a:fillRect/>
          </a:stretch>
        </p:blipFill>
        <p:spPr bwMode="gray">
          <a:xfrm>
            <a:off x="1702220" y="5929845"/>
            <a:ext cx="2200291" cy="607280"/>
          </a:xfrm>
          <a:prstGeom prst="rect">
            <a:avLst/>
          </a:prstGeom>
        </p:spPr>
      </p:pic>
    </p:spTree>
    <p:extLst>
      <p:ext uri="{BB962C8B-B14F-4D97-AF65-F5344CB8AC3E}">
        <p14:creationId xmlns:p14="http://schemas.microsoft.com/office/powerpoint/2010/main" val="407005938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n-US" dirty="0"/>
          </a:p>
        </p:txBody>
      </p:sp>
      <p:sp>
        <p:nvSpPr>
          <p:cNvPr id="4" name="Date Placeholder 3"/>
          <p:cNvSpPr>
            <a:spLocks noGrp="1"/>
          </p:cNvSpPr>
          <p:nvPr>
            <p:ph type="dt" sz="half" idx="10"/>
          </p:nvPr>
        </p:nvSpPr>
        <p:spPr/>
        <p:txBody>
          <a:bodyPr/>
          <a:lstStyle/>
          <a:p>
            <a:r>
              <a:rPr lang="es-ES"/>
              <a:t>14.02.2019</a:t>
            </a:r>
            <a:endParaRPr lang="es-ES" dirty="0"/>
          </a:p>
        </p:txBody>
      </p:sp>
      <p:sp>
        <p:nvSpPr>
          <p:cNvPr id="5" name="Footer Placeholder 4"/>
          <p:cNvSpPr>
            <a:spLocks noGrp="1"/>
          </p:cNvSpPr>
          <p:nvPr>
            <p:ph type="ftr" sz="quarter" idx="11"/>
          </p:nvPr>
        </p:nvSpPr>
        <p:spPr/>
        <p:txBody>
          <a:bodyPr/>
          <a:lstStyle/>
          <a:p>
            <a:r>
              <a:rPr lang="es-ES"/>
              <a:t>Título de la presentación</a:t>
            </a:r>
            <a:endParaRPr lang="es-ES" dirty="0"/>
          </a:p>
        </p:txBody>
      </p:sp>
      <p:sp>
        <p:nvSpPr>
          <p:cNvPr id="6" name="Slide Number Placeholder 5"/>
          <p:cNvSpPr>
            <a:spLocks noGrp="1"/>
          </p:cNvSpPr>
          <p:nvPr>
            <p:ph type="sldNum" sz="quarter" idx="12"/>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2140239696"/>
      </p:ext>
    </p:extLst>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Content Placeholder 2"/>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10"/>
          </p:nvPr>
        </p:nvSpPr>
        <p:spPr/>
        <p:txBody>
          <a:bodyPr/>
          <a:lstStyle/>
          <a:p>
            <a:r>
              <a:rPr lang="es-ES"/>
              <a:t>14.02.2019</a:t>
            </a:r>
            <a:endParaRPr lang="es-ES" dirty="0"/>
          </a:p>
        </p:txBody>
      </p:sp>
      <p:sp>
        <p:nvSpPr>
          <p:cNvPr id="5" name="Footer Placeholder 4"/>
          <p:cNvSpPr>
            <a:spLocks noGrp="1"/>
          </p:cNvSpPr>
          <p:nvPr>
            <p:ph type="ftr" sz="quarter" idx="11"/>
          </p:nvPr>
        </p:nvSpPr>
        <p:spPr/>
        <p:txBody>
          <a:bodyPr/>
          <a:lstStyle/>
          <a:p>
            <a:r>
              <a:rPr lang="es-ES"/>
              <a:t>Título de la presentación</a:t>
            </a:r>
            <a:endParaRPr lang="es-ES" dirty="0"/>
          </a:p>
        </p:txBody>
      </p:sp>
      <p:sp>
        <p:nvSpPr>
          <p:cNvPr id="6" name="Slide Number Placeholder 5"/>
          <p:cNvSpPr>
            <a:spLocks noGrp="1"/>
          </p:cNvSpPr>
          <p:nvPr>
            <p:ph type="sldNum" sz="quarter" idx="12"/>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3794820509"/>
      </p:ext>
    </p:extLst>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Date Placeholder 3"/>
          <p:cNvSpPr>
            <a:spLocks noGrp="1"/>
          </p:cNvSpPr>
          <p:nvPr>
            <p:ph type="dt" sz="half" idx="10"/>
          </p:nvPr>
        </p:nvSpPr>
        <p:spPr/>
        <p:txBody>
          <a:bodyPr/>
          <a:lstStyle/>
          <a:p>
            <a:r>
              <a:rPr lang="es-ES"/>
              <a:t>14.02.2019</a:t>
            </a:r>
            <a:endParaRPr lang="es-ES" dirty="0"/>
          </a:p>
        </p:txBody>
      </p:sp>
      <p:sp>
        <p:nvSpPr>
          <p:cNvPr id="5" name="Footer Placeholder 4"/>
          <p:cNvSpPr>
            <a:spLocks noGrp="1"/>
          </p:cNvSpPr>
          <p:nvPr>
            <p:ph type="ftr" sz="quarter" idx="11"/>
          </p:nvPr>
        </p:nvSpPr>
        <p:spPr/>
        <p:txBody>
          <a:bodyPr/>
          <a:lstStyle/>
          <a:p>
            <a:r>
              <a:rPr lang="es-ES"/>
              <a:t>Título de la presentación</a:t>
            </a:r>
            <a:endParaRPr lang="es-ES" dirty="0"/>
          </a:p>
        </p:txBody>
      </p:sp>
      <p:sp>
        <p:nvSpPr>
          <p:cNvPr id="6" name="Slide Number Placeholder 5"/>
          <p:cNvSpPr>
            <a:spLocks noGrp="1"/>
          </p:cNvSpPr>
          <p:nvPr>
            <p:ph type="sldNum" sz="quarter" idx="12"/>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564013623"/>
      </p:ext>
    </p:extLst>
  </p:cSld>
  <p:clrMapOvr>
    <a:masterClrMapping/>
  </p:clrMapOvr>
  <p:hf hdr="0"/>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5" name="Date Placeholder 4"/>
          <p:cNvSpPr>
            <a:spLocks noGrp="1"/>
          </p:cNvSpPr>
          <p:nvPr>
            <p:ph type="dt" sz="half" idx="10"/>
          </p:nvPr>
        </p:nvSpPr>
        <p:spPr/>
        <p:txBody>
          <a:bodyPr/>
          <a:lstStyle/>
          <a:p>
            <a:r>
              <a:rPr lang="es-ES"/>
              <a:t>14.02.2019</a:t>
            </a:r>
            <a:endParaRPr lang="es-ES" dirty="0"/>
          </a:p>
        </p:txBody>
      </p:sp>
      <p:sp>
        <p:nvSpPr>
          <p:cNvPr id="6" name="Footer Placeholder 5"/>
          <p:cNvSpPr>
            <a:spLocks noGrp="1"/>
          </p:cNvSpPr>
          <p:nvPr>
            <p:ph type="ftr" sz="quarter" idx="11"/>
          </p:nvPr>
        </p:nvSpPr>
        <p:spPr/>
        <p:txBody>
          <a:bodyPr/>
          <a:lstStyle/>
          <a:p>
            <a:r>
              <a:rPr lang="es-ES"/>
              <a:t>Título de la presentación</a:t>
            </a:r>
            <a:endParaRPr lang="es-ES" dirty="0"/>
          </a:p>
        </p:txBody>
      </p:sp>
      <p:sp>
        <p:nvSpPr>
          <p:cNvPr id="7" name="Slide Number Placeholder 6"/>
          <p:cNvSpPr>
            <a:spLocks noGrp="1"/>
          </p:cNvSpPr>
          <p:nvPr>
            <p:ph type="sldNum" sz="quarter" idx="12"/>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2557105880"/>
      </p:ext>
    </p:extLst>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s-ES"/>
              <a:t>Haga clic para modificar el estilo de título del patrón</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Content Placeholder 3"/>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Content Placeholder 5"/>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7" name="Date Placeholder 6"/>
          <p:cNvSpPr>
            <a:spLocks noGrp="1"/>
          </p:cNvSpPr>
          <p:nvPr>
            <p:ph type="dt" sz="half" idx="10"/>
          </p:nvPr>
        </p:nvSpPr>
        <p:spPr/>
        <p:txBody>
          <a:bodyPr/>
          <a:lstStyle/>
          <a:p>
            <a:r>
              <a:rPr lang="es-ES"/>
              <a:t>14.02.2019</a:t>
            </a:r>
            <a:endParaRPr lang="es-ES" dirty="0"/>
          </a:p>
        </p:txBody>
      </p:sp>
      <p:sp>
        <p:nvSpPr>
          <p:cNvPr id="8" name="Footer Placeholder 7"/>
          <p:cNvSpPr>
            <a:spLocks noGrp="1"/>
          </p:cNvSpPr>
          <p:nvPr>
            <p:ph type="ftr" sz="quarter" idx="11"/>
          </p:nvPr>
        </p:nvSpPr>
        <p:spPr/>
        <p:txBody>
          <a:bodyPr/>
          <a:lstStyle/>
          <a:p>
            <a:r>
              <a:rPr lang="es-ES"/>
              <a:t>Título de la presentación</a:t>
            </a:r>
            <a:endParaRPr lang="es-ES" dirty="0"/>
          </a:p>
        </p:txBody>
      </p:sp>
      <p:sp>
        <p:nvSpPr>
          <p:cNvPr id="9" name="Slide Number Placeholder 8"/>
          <p:cNvSpPr>
            <a:spLocks noGrp="1"/>
          </p:cNvSpPr>
          <p:nvPr>
            <p:ph type="sldNum" sz="quarter" idx="12"/>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2498194621"/>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ítulo gráfico/imagen s. fondo">
    <p:spTree>
      <p:nvGrpSpPr>
        <p:cNvPr id="1" name=""/>
        <p:cNvGrpSpPr/>
        <p:nvPr/>
      </p:nvGrpSpPr>
      <p:grpSpPr>
        <a:xfrm>
          <a:off x="0" y="0"/>
          <a:ext cx="0" cy="0"/>
          <a:chOff x="0" y="0"/>
          <a:chExt cx="0" cy="0"/>
        </a:xfrm>
      </p:grpSpPr>
      <p:cxnSp>
        <p:nvCxnSpPr>
          <p:cNvPr id="18" name="Gerade Verbindung mit Pfeil 17">
            <a:extLst>
              <a:ext uri="{FF2B5EF4-FFF2-40B4-BE49-F238E27FC236}">
                <a16:creationId xmlns:a16="http://schemas.microsoft.com/office/drawing/2014/main" id="{B3069BFA-978F-4C67-9E31-417DAEA6D762}"/>
              </a:ext>
            </a:extLst>
          </p:cNvPr>
          <p:cNvCxnSpPr/>
          <p:nvPr userDrawn="1"/>
        </p:nvCxnSpPr>
        <p:spPr bwMode="gray">
          <a:xfrm>
            <a:off x="6070600" y="1244600"/>
            <a:ext cx="0" cy="914400"/>
          </a:xfrm>
          <a:prstGeom prst="straightConnector1">
            <a:avLst/>
          </a:prstGeom>
          <a:ln w="12700">
            <a:prstDash val="sysDash"/>
            <a:tailEnd type="triangle" w="lg" len="lg"/>
          </a:ln>
        </p:spPr>
        <p:style>
          <a:lnRef idx="1">
            <a:schemeClr val="accent1"/>
          </a:lnRef>
          <a:fillRef idx="0">
            <a:schemeClr val="accent1"/>
          </a:fillRef>
          <a:effectRef idx="0">
            <a:schemeClr val="accent1"/>
          </a:effectRef>
          <a:fontRef idx="minor">
            <a:schemeClr val="tx1"/>
          </a:fontRef>
        </p:style>
      </p:cxnSp>
      <p:sp>
        <p:nvSpPr>
          <p:cNvPr id="20" name="1.">
            <a:extLst>
              <a:ext uri="{FF2B5EF4-FFF2-40B4-BE49-F238E27FC236}">
                <a16:creationId xmlns:a16="http://schemas.microsoft.com/office/drawing/2014/main" id="{67681DD3-675E-4A00-BAD1-E15F86B46A3B}"/>
              </a:ext>
            </a:extLst>
          </p:cNvPr>
          <p:cNvSpPr/>
          <p:nvPr userDrawn="1"/>
        </p:nvSpPr>
        <p:spPr bwMode="gray">
          <a:xfrm>
            <a:off x="5101393" y="170887"/>
            <a:ext cx="1968500" cy="674031"/>
          </a:xfrm>
          <a:prstGeom prst="rect">
            <a:avLst/>
          </a:prstGeom>
        </p:spPr>
        <p:txBody>
          <a:bodyPr wrap="square">
            <a:spAutoFit/>
          </a:bodyPr>
          <a:lstStyle/>
          <a:p>
            <a:pPr marL="0" marR="0" lvl="0" indent="0" algn="l" defTabSz="914392"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s-ES" sz="1400" b="0" i="0" u="none" strike="noStrike" kern="1200" cap="none" spc="0" normalizeH="0" baseline="0" noProof="0" dirty="0">
                <a:ln>
                  <a:noFill/>
                </a:ln>
                <a:solidFill>
                  <a:prstClr val="black"/>
                </a:solidFill>
                <a:effectLst/>
                <a:uLnTx/>
                <a:uFillTx/>
                <a:latin typeface="+mn-lt"/>
              </a:rPr>
              <a:t>1. Haga clic en este símbolo para añadir una nueva fotografía.</a:t>
            </a:r>
          </a:p>
        </p:txBody>
      </p:sp>
      <p:sp>
        <p:nvSpPr>
          <p:cNvPr id="21" name="2.">
            <a:extLst>
              <a:ext uri="{FF2B5EF4-FFF2-40B4-BE49-F238E27FC236}">
                <a16:creationId xmlns:a16="http://schemas.microsoft.com/office/drawing/2014/main" id="{4A7AC98E-3BC8-4F55-9CC0-5C2F02EAA809}"/>
              </a:ext>
            </a:extLst>
          </p:cNvPr>
          <p:cNvSpPr/>
          <p:nvPr userDrawn="1"/>
        </p:nvSpPr>
        <p:spPr bwMode="gray">
          <a:xfrm>
            <a:off x="7259626" y="170887"/>
            <a:ext cx="1968500" cy="674031"/>
          </a:xfrm>
          <a:prstGeom prst="rect">
            <a:avLst/>
          </a:prstGeom>
        </p:spPr>
        <p:txBody>
          <a:bodyPr wrap="square">
            <a:spAutoFit/>
          </a:bodyPr>
          <a:lstStyle/>
          <a:p>
            <a:pPr marL="0" marR="0" lvl="0" indent="0" algn="l" defTabSz="914392"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s-ES" sz="1400" b="0" i="0" u="none" strike="noStrike" kern="1200" cap="none" spc="0" normalizeH="0" baseline="0" noProof="0" dirty="0">
                <a:ln>
                  <a:noFill/>
                </a:ln>
                <a:solidFill>
                  <a:prstClr val="black"/>
                </a:solidFill>
                <a:effectLst/>
                <a:uLnTx/>
                <a:uFillTx/>
                <a:latin typeface="+mn-lt"/>
              </a:rPr>
              <a:t>2. Para restablecer </a:t>
            </a:r>
            <a:br>
              <a:rPr kumimoji="0" lang="es-ES" sz="1400" b="0" i="0" u="none" strike="noStrike" kern="1200" cap="none" spc="0" normalizeH="0" baseline="0" noProof="0" dirty="0">
                <a:ln>
                  <a:noFill/>
                </a:ln>
                <a:solidFill>
                  <a:prstClr val="black"/>
                </a:solidFill>
                <a:effectLst/>
                <a:uLnTx/>
                <a:uFillTx/>
                <a:latin typeface="+mn-lt"/>
              </a:rPr>
            </a:br>
            <a:r>
              <a:rPr kumimoji="0" lang="es-ES" sz="1400" b="0" i="0" u="none" strike="noStrike" kern="1200" cap="none" spc="0" normalizeH="0" baseline="0" noProof="0" dirty="0">
                <a:ln>
                  <a:noFill/>
                </a:ln>
                <a:solidFill>
                  <a:prstClr val="black"/>
                </a:solidFill>
                <a:effectLst/>
                <a:uLnTx/>
                <a:uFillTx/>
                <a:latin typeface="+mn-lt"/>
              </a:rPr>
              <a:t>el diseño de la diapositiva:</a:t>
            </a:r>
          </a:p>
        </p:txBody>
      </p:sp>
      <p:sp>
        <p:nvSpPr>
          <p:cNvPr id="22" name="3.">
            <a:extLst>
              <a:ext uri="{FF2B5EF4-FFF2-40B4-BE49-F238E27FC236}">
                <a16:creationId xmlns:a16="http://schemas.microsoft.com/office/drawing/2014/main" id="{F208DCCA-928B-424C-9EEC-A75484E04416}"/>
              </a:ext>
            </a:extLst>
          </p:cNvPr>
          <p:cNvSpPr/>
          <p:nvPr userDrawn="1"/>
        </p:nvSpPr>
        <p:spPr bwMode="gray">
          <a:xfrm>
            <a:off x="9618990" y="170887"/>
            <a:ext cx="2695785" cy="867930"/>
          </a:xfrm>
          <a:prstGeom prst="rect">
            <a:avLst/>
          </a:prstGeom>
        </p:spPr>
        <p:txBody>
          <a:bodyPr wrap="square">
            <a:spAutoFit/>
          </a:bodyPr>
          <a:lstStyle/>
          <a:p>
            <a:pPr marL="0" marR="0" lvl="0" indent="0" algn="l" defTabSz="914392"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s-ES" sz="1400" b="0" i="0" u="none" strike="noStrike" kern="1200" cap="none" spc="0" normalizeH="0" baseline="0" noProof="0" dirty="0">
                <a:ln>
                  <a:noFill/>
                </a:ln>
                <a:solidFill>
                  <a:prstClr val="black"/>
                </a:solidFill>
                <a:effectLst/>
                <a:uLnTx/>
                <a:uFillTx/>
                <a:latin typeface="+mn-lt"/>
              </a:rPr>
              <a:t>3. En caso necesario, escoja una parte de la fotografía mediante “Recortar”.</a:t>
            </a:r>
            <a:br>
              <a:rPr lang="es-ES" sz="1400" dirty="0"/>
            </a:br>
            <a:endParaRPr kumimoji="0" lang="es-ES"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4" name="how">
            <a:extLst>
              <a:ext uri="{FF2B5EF4-FFF2-40B4-BE49-F238E27FC236}">
                <a16:creationId xmlns:a16="http://schemas.microsoft.com/office/drawing/2014/main" id="{AFBA0602-9708-4EDC-B6FA-8AD86D8E1F37}"/>
              </a:ext>
            </a:extLst>
          </p:cNvPr>
          <p:cNvSpPr txBox="1"/>
          <p:nvPr userDrawn="1"/>
        </p:nvSpPr>
        <p:spPr bwMode="gray">
          <a:xfrm>
            <a:off x="-6054599" y="237067"/>
            <a:ext cx="5973110" cy="1200329"/>
          </a:xfrm>
          <a:prstGeom prst="rect">
            <a:avLst/>
          </a:prstGeom>
          <a:noFill/>
        </p:spPr>
        <p:txBody>
          <a:bodyPr wrap="none" rtlCol="0">
            <a:spAutoFit/>
          </a:bodyPr>
          <a:lstStyle/>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Haga clic en la imagen que figura sobre la diapositiva.</a:t>
            </a:r>
          </a:p>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Elimine la imagen mediante la tecla “Supr”.</a:t>
            </a:r>
          </a:p>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 Haga clic en el pequeño símbolo situado en el centro de la página.</a:t>
            </a:r>
          </a:p>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Seleccione una fotografía.</a:t>
            </a:r>
          </a:p>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Inicio/Restablecer” para restablecer el diseño de la diapositiva.</a:t>
            </a:r>
          </a:p>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En caso necesario, escoja una parte de la fotografía mediante “Formato/Recortar”.</a:t>
            </a:r>
          </a:p>
        </p:txBody>
      </p:sp>
      <p:sp>
        <p:nvSpPr>
          <p:cNvPr id="25" name="Dreieck">
            <a:extLst>
              <a:ext uri="{FF2B5EF4-FFF2-40B4-BE49-F238E27FC236}">
                <a16:creationId xmlns:a16="http://schemas.microsoft.com/office/drawing/2014/main" id="{A6BCBC9F-6F1E-46DB-BE0E-4AB250A95ABB}"/>
              </a:ext>
            </a:extLst>
          </p:cNvPr>
          <p:cNvSpPr/>
          <p:nvPr userDrawn="1"/>
        </p:nvSpPr>
        <p:spPr bwMode="gray">
          <a:xfrm rot="5400000">
            <a:off x="-222461" y="562187"/>
            <a:ext cx="281941" cy="6096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27" name="Grafik 26" descr="Ein Bild, das Screenshot enthält.&#10;&#10;Automatisch generierte Beschreibung">
            <a:extLst>
              <a:ext uri="{FF2B5EF4-FFF2-40B4-BE49-F238E27FC236}">
                <a16:creationId xmlns:a16="http://schemas.microsoft.com/office/drawing/2014/main" id="{5EA5AE47-4303-479A-A4CE-C6714052B6C3}"/>
              </a:ext>
            </a:extLst>
          </p:cNvPr>
          <p:cNvPicPr>
            <a:picLocks noChangeAspect="1"/>
          </p:cNvPicPr>
          <p:nvPr userDrawn="1"/>
        </p:nvPicPr>
        <p:blipFill rotWithShape="1">
          <a:blip r:embed="rId2"/>
          <a:srcRect l="27949" t="24404" r="52761"/>
          <a:stretch/>
        </p:blipFill>
        <p:spPr>
          <a:xfrm>
            <a:off x="9923387" y="1195292"/>
            <a:ext cx="569320" cy="650189"/>
          </a:xfrm>
          <a:prstGeom prst="rect">
            <a:avLst/>
          </a:prstGeom>
        </p:spPr>
      </p:pic>
      <p:pic>
        <p:nvPicPr>
          <p:cNvPr id="37" name="Grafik 36" descr="Ein Bild, das Screenshot enthält.&#10;&#10;Automatisch generierte Beschreibung">
            <a:extLst>
              <a:ext uri="{FF2B5EF4-FFF2-40B4-BE49-F238E27FC236}">
                <a16:creationId xmlns:a16="http://schemas.microsoft.com/office/drawing/2014/main" id="{DEFCF13F-40E6-4D21-9F63-9ED573FF7001}"/>
              </a:ext>
            </a:extLst>
          </p:cNvPr>
          <p:cNvPicPr>
            <a:picLocks/>
          </p:cNvPicPr>
          <p:nvPr userDrawn="1"/>
        </p:nvPicPr>
        <p:blipFill>
          <a:blip r:embed="rId3"/>
          <a:stretch>
            <a:fillRect/>
          </a:stretch>
        </p:blipFill>
        <p:spPr>
          <a:xfrm>
            <a:off x="7396602" y="1034677"/>
            <a:ext cx="2117468" cy="866995"/>
          </a:xfrm>
          <a:prstGeom prst="rect">
            <a:avLst/>
          </a:prstGeom>
        </p:spPr>
      </p:pic>
      <p:sp>
        <p:nvSpPr>
          <p:cNvPr id="38" name="Rechteck 37">
            <a:extLst>
              <a:ext uri="{FF2B5EF4-FFF2-40B4-BE49-F238E27FC236}">
                <a16:creationId xmlns:a16="http://schemas.microsoft.com/office/drawing/2014/main" id="{722FCDA7-AE82-4333-AB93-A44BC5E8037E}"/>
              </a:ext>
            </a:extLst>
          </p:cNvPr>
          <p:cNvSpPr/>
          <p:nvPr userDrawn="1"/>
        </p:nvSpPr>
        <p:spPr bwMode="gray">
          <a:xfrm>
            <a:off x="8723338" y="1492655"/>
            <a:ext cx="748399" cy="239948"/>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39" name="Rechteck">
            <a:extLst>
              <a:ext uri="{FF2B5EF4-FFF2-40B4-BE49-F238E27FC236}">
                <a16:creationId xmlns:a16="http://schemas.microsoft.com/office/drawing/2014/main" id="{5E7A84D2-4022-4241-8349-BBF09C28EBC9}"/>
              </a:ext>
            </a:extLst>
          </p:cNvPr>
          <p:cNvSpPr/>
          <p:nvPr userDrawn="1"/>
        </p:nvSpPr>
        <p:spPr bwMode="gray">
          <a:xfrm>
            <a:off x="9976556" y="1279681"/>
            <a:ext cx="446293" cy="450849"/>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11" name="logo">
            <a:extLst>
              <a:ext uri="{FF2B5EF4-FFF2-40B4-BE49-F238E27FC236}">
                <a16:creationId xmlns:a16="http://schemas.microsoft.com/office/drawing/2014/main" id="{F8081F88-CBA8-4146-B984-924F5BAE4350}"/>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8000"/>
                    </a14:imgEffect>
                  </a14:imgLayer>
                </a14:imgProps>
              </a:ext>
              <a:ext uri="{28A0092B-C50C-407E-A947-70E740481C1C}">
                <a14:useLocalDpi xmlns:a14="http://schemas.microsoft.com/office/drawing/2010/main" val="0"/>
              </a:ext>
            </a:extLst>
          </a:blip>
          <a:stretch>
            <a:fillRect/>
          </a:stretch>
        </p:blipFill>
        <p:spPr bwMode="gray">
          <a:xfrm>
            <a:off x="916199" y="5422244"/>
            <a:ext cx="3081728" cy="850557"/>
          </a:xfrm>
          <a:prstGeom prst="rect">
            <a:avLst/>
          </a:prstGeom>
        </p:spPr>
      </p:pic>
      <p:sp>
        <p:nvSpPr>
          <p:cNvPr id="17" name="Bar">
            <a:extLst>
              <a:ext uri="{FF2B5EF4-FFF2-40B4-BE49-F238E27FC236}">
                <a16:creationId xmlns:a16="http://schemas.microsoft.com/office/drawing/2014/main" id="{F01B0C4A-732E-4BC2-A2D7-A086E4E5403B}"/>
              </a:ext>
            </a:extLst>
          </p:cNvPr>
          <p:cNvSpPr/>
          <p:nvPr userDrawn="1"/>
        </p:nvSpPr>
        <p:spPr bwMode="gray">
          <a:xfrm>
            <a:off x="7158790" y="4886961"/>
            <a:ext cx="4863877" cy="297123"/>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eaLnBrk="0" fontAlgn="base" hangingPunct="0">
              <a:spcBef>
                <a:spcPct val="0"/>
              </a:spcBef>
              <a:spcAft>
                <a:spcPct val="0"/>
              </a:spcAft>
            </a:pPr>
            <a:endParaRPr lang="de-DE" sz="2400" dirty="0" err="1">
              <a:solidFill>
                <a:schemeClr val="tx2"/>
              </a:solidFill>
              <a:latin typeface="Arial" charset="0"/>
            </a:endParaRPr>
          </a:p>
        </p:txBody>
      </p:sp>
      <p:sp>
        <p:nvSpPr>
          <p:cNvPr id="13" name="Bildplatzhalter">
            <a:extLst>
              <a:ext uri="{FF2B5EF4-FFF2-40B4-BE49-F238E27FC236}">
                <a16:creationId xmlns:a16="http://schemas.microsoft.com/office/drawing/2014/main" id="{670A352A-9075-4383-BC37-7EF209BB4A7F}"/>
              </a:ext>
            </a:extLst>
          </p:cNvPr>
          <p:cNvSpPr>
            <a:spLocks noGrp="1"/>
          </p:cNvSpPr>
          <p:nvPr>
            <p:ph type="pic" sz="quarter" idx="11" hasCustomPrompt="1"/>
          </p:nvPr>
        </p:nvSpPr>
        <p:spPr bwMode="gray">
          <a:xfrm>
            <a:off x="164183" y="165103"/>
            <a:ext cx="11858487" cy="4721860"/>
          </a:xfrm>
          <a:noFill/>
        </p:spPr>
        <p:txBody>
          <a:bodyPr tIns="720000" rIns="0"/>
          <a:lstStyle>
            <a:lvl1pPr marL="0" marR="0" indent="0" algn="ctr" defTabSz="914392" rtl="0" eaLnBrk="1" fontAlgn="auto" latinLnBrk="0" hangingPunct="1">
              <a:lnSpc>
                <a:spcPct val="90000"/>
              </a:lnSpc>
              <a:spcBef>
                <a:spcPts val="0"/>
              </a:spcBef>
              <a:spcAft>
                <a:spcPts val="0"/>
              </a:spcAft>
              <a:buClrTx/>
              <a:buSzTx/>
              <a:buFont typeface="Arial" panose="020B0604020202020204" pitchFamily="34" charset="0"/>
              <a:buNone/>
              <a:tabLst/>
              <a:defRPr sz="667">
                <a:solidFill>
                  <a:schemeClr val="accent1"/>
                </a:solidFill>
              </a:defRPr>
            </a:lvl1pPr>
          </a:lstStyle>
          <a:p>
            <a:r>
              <a:rPr lang="es-ES"/>
              <a:t>.</a:t>
            </a:r>
            <a:endParaRPr lang="es-ES" dirty="0"/>
          </a:p>
        </p:txBody>
      </p:sp>
      <p:sp>
        <p:nvSpPr>
          <p:cNvPr id="28" name="Headline">
            <a:extLst>
              <a:ext uri="{FF2B5EF4-FFF2-40B4-BE49-F238E27FC236}">
                <a16:creationId xmlns:a16="http://schemas.microsoft.com/office/drawing/2014/main" id="{813E0E27-07DF-4161-8BD6-EBA305CB5161}"/>
              </a:ext>
            </a:extLst>
          </p:cNvPr>
          <p:cNvSpPr>
            <a:spLocks noGrp="1"/>
          </p:cNvSpPr>
          <p:nvPr>
            <p:ph type="title" hasCustomPrompt="1"/>
          </p:nvPr>
        </p:nvSpPr>
        <p:spPr bwMode="gray">
          <a:xfrm>
            <a:off x="164183" y="846876"/>
            <a:ext cx="11858487" cy="4040085"/>
          </a:xfrm>
          <a:prstGeom prst="rect">
            <a:avLst/>
          </a:prstGeom>
          <a:blipFill dpi="0" rotWithShape="1">
            <a:blip r:embed="rId6"/>
            <a:srcRect/>
            <a:stretch>
              <a:fillRect l="-10" r="-10"/>
            </a:stretch>
          </a:blipFill>
        </p:spPr>
        <p:txBody>
          <a:bodyPr wrap="square" lIns="576000" bIns="1036800" anchor="b">
            <a:noAutofit/>
          </a:bodyPr>
          <a:lstStyle>
            <a:lvl1pPr>
              <a:defRPr sz="3467" b="1">
                <a:solidFill>
                  <a:schemeClr val="tx1"/>
                </a:solidFill>
              </a:defRPr>
            </a:lvl1pPr>
          </a:lstStyle>
          <a:p>
            <a:r>
              <a:rPr lang="es-ES" dirty="0"/>
              <a:t>Diapositiva de título con fondo blanco para ilustración/imagen sin fondo (</a:t>
            </a:r>
            <a:r>
              <a:rPr lang="es-ES"/>
              <a:t>sustituible)</a:t>
            </a:r>
            <a:endParaRPr lang="es-ES" dirty="0"/>
          </a:p>
        </p:txBody>
      </p:sp>
      <p:sp>
        <p:nvSpPr>
          <p:cNvPr id="19" name="Subline">
            <a:extLst>
              <a:ext uri="{FF2B5EF4-FFF2-40B4-BE49-F238E27FC236}">
                <a16:creationId xmlns:a16="http://schemas.microsoft.com/office/drawing/2014/main" id="{31A5E120-96AF-40F6-98D7-8A2FD24C3270}"/>
              </a:ext>
            </a:extLst>
          </p:cNvPr>
          <p:cNvSpPr>
            <a:spLocks noGrp="1"/>
          </p:cNvSpPr>
          <p:nvPr>
            <p:ph type="body" sz="quarter" idx="10" hasCustomPrompt="1"/>
          </p:nvPr>
        </p:nvSpPr>
        <p:spPr bwMode="gray">
          <a:xfrm>
            <a:off x="933134" y="3700611"/>
            <a:ext cx="10627783" cy="789960"/>
          </a:xfrm>
        </p:spPr>
        <p:txBody>
          <a:bodyPr>
            <a:spAutoFit/>
          </a:bodyPr>
          <a:lstStyle>
            <a:lvl1pPr marL="0" indent="0">
              <a:lnSpc>
                <a:spcPct val="95000"/>
              </a:lnSpc>
              <a:spcBef>
                <a:spcPts val="1600"/>
              </a:spcBef>
              <a:spcAft>
                <a:spcPts val="0"/>
              </a:spcAft>
              <a:buNone/>
              <a:defRPr sz="2000">
                <a:solidFill>
                  <a:schemeClr val="tx1"/>
                </a:solidFill>
              </a:defRPr>
            </a:lvl1pPr>
          </a:lstStyle>
          <a:p>
            <a:r>
              <a:rPr lang="es-ES" dirty="0"/>
              <a:t>Este es el subtítulo</a:t>
            </a:r>
          </a:p>
          <a:p>
            <a:r>
              <a:rPr lang="es-ES" dirty="0"/>
              <a:t>Nombre del proyecto | Fecha</a:t>
            </a:r>
          </a:p>
        </p:txBody>
      </p:sp>
      <p:pic>
        <p:nvPicPr>
          <p:cNvPr id="26" name="Beispiel" descr="Ein Bild, das Wand, Gebäude enthält.&#10;&#10;Automatisch generierte Beschreibung">
            <a:extLst>
              <a:ext uri="{FF2B5EF4-FFF2-40B4-BE49-F238E27FC236}">
                <a16:creationId xmlns:a16="http://schemas.microsoft.com/office/drawing/2014/main" id="{317CFD46-37B5-4632-BBA4-3F2278F98B67}"/>
              </a:ext>
            </a:extLst>
          </p:cNvPr>
          <p:cNvPicPr>
            <a:picLocks noChangeAspect="1"/>
          </p:cNvPicPr>
          <p:nvPr userDrawn="1"/>
        </p:nvPicPr>
        <p:blipFill>
          <a:blip r:embed="rId7"/>
          <a:stretch>
            <a:fillRect/>
          </a:stretch>
        </p:blipFill>
        <p:spPr bwMode="gray">
          <a:xfrm>
            <a:off x="10396672" y="1966807"/>
            <a:ext cx="1662545" cy="1147156"/>
          </a:xfrm>
          <a:prstGeom prst="rect">
            <a:avLst/>
          </a:prstGeom>
        </p:spPr>
      </p:pic>
    </p:spTree>
    <p:extLst>
      <p:ext uri="{BB962C8B-B14F-4D97-AF65-F5344CB8AC3E}">
        <p14:creationId xmlns:p14="http://schemas.microsoft.com/office/powerpoint/2010/main" val="136354930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Date Placeholder 2"/>
          <p:cNvSpPr>
            <a:spLocks noGrp="1"/>
          </p:cNvSpPr>
          <p:nvPr>
            <p:ph type="dt" sz="half" idx="10"/>
          </p:nvPr>
        </p:nvSpPr>
        <p:spPr/>
        <p:txBody>
          <a:bodyPr/>
          <a:lstStyle/>
          <a:p>
            <a:r>
              <a:rPr lang="es-ES"/>
              <a:t>14.02.2019</a:t>
            </a:r>
            <a:endParaRPr lang="es-ES" dirty="0"/>
          </a:p>
        </p:txBody>
      </p:sp>
      <p:sp>
        <p:nvSpPr>
          <p:cNvPr id="4" name="Footer Placeholder 3"/>
          <p:cNvSpPr>
            <a:spLocks noGrp="1"/>
          </p:cNvSpPr>
          <p:nvPr>
            <p:ph type="ftr" sz="quarter" idx="11"/>
          </p:nvPr>
        </p:nvSpPr>
        <p:spPr/>
        <p:txBody>
          <a:bodyPr/>
          <a:lstStyle/>
          <a:p>
            <a:r>
              <a:rPr lang="es-ES"/>
              <a:t>Título de la presentación</a:t>
            </a:r>
            <a:endParaRPr lang="es-ES" dirty="0"/>
          </a:p>
        </p:txBody>
      </p:sp>
      <p:sp>
        <p:nvSpPr>
          <p:cNvPr id="5" name="Slide Number Placeholder 4"/>
          <p:cNvSpPr>
            <a:spLocks noGrp="1"/>
          </p:cNvSpPr>
          <p:nvPr>
            <p:ph type="sldNum" sz="quarter" idx="12"/>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2399101254"/>
      </p:ext>
    </p:extLst>
  </p:cSld>
  <p:clrMapOvr>
    <a:masterClrMapping/>
  </p:clrMapOvr>
  <p:hf hdr="0"/>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s-ES"/>
              <a:t>14.02.2019</a:t>
            </a:r>
            <a:endParaRPr lang="es-ES" dirty="0"/>
          </a:p>
        </p:txBody>
      </p:sp>
      <p:sp>
        <p:nvSpPr>
          <p:cNvPr id="3" name="Footer Placeholder 2"/>
          <p:cNvSpPr>
            <a:spLocks noGrp="1"/>
          </p:cNvSpPr>
          <p:nvPr>
            <p:ph type="ftr" sz="quarter" idx="11"/>
          </p:nvPr>
        </p:nvSpPr>
        <p:spPr/>
        <p:txBody>
          <a:bodyPr/>
          <a:lstStyle/>
          <a:p>
            <a:r>
              <a:rPr lang="es-ES"/>
              <a:t>Título de la presentación</a:t>
            </a:r>
            <a:endParaRPr lang="es-ES" dirty="0"/>
          </a:p>
        </p:txBody>
      </p:sp>
      <p:sp>
        <p:nvSpPr>
          <p:cNvPr id="4" name="Slide Number Placeholder 3"/>
          <p:cNvSpPr>
            <a:spLocks noGrp="1"/>
          </p:cNvSpPr>
          <p:nvPr>
            <p:ph type="sldNum" sz="quarter" idx="12"/>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3695295430"/>
      </p:ext>
    </p:extLst>
  </p:cSld>
  <p:clrMapOvr>
    <a:masterClrMapping/>
  </p:clrMapOvr>
  <p:hf hdr="0"/>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Date Placeholder 4"/>
          <p:cNvSpPr>
            <a:spLocks noGrp="1"/>
          </p:cNvSpPr>
          <p:nvPr>
            <p:ph type="dt" sz="half" idx="10"/>
          </p:nvPr>
        </p:nvSpPr>
        <p:spPr/>
        <p:txBody>
          <a:bodyPr/>
          <a:lstStyle/>
          <a:p>
            <a:r>
              <a:rPr lang="es-ES"/>
              <a:t>14.02.2019</a:t>
            </a:r>
            <a:endParaRPr lang="es-ES" dirty="0"/>
          </a:p>
        </p:txBody>
      </p:sp>
      <p:sp>
        <p:nvSpPr>
          <p:cNvPr id="6" name="Footer Placeholder 5"/>
          <p:cNvSpPr>
            <a:spLocks noGrp="1"/>
          </p:cNvSpPr>
          <p:nvPr>
            <p:ph type="ftr" sz="quarter" idx="11"/>
          </p:nvPr>
        </p:nvSpPr>
        <p:spPr/>
        <p:txBody>
          <a:bodyPr/>
          <a:lstStyle/>
          <a:p>
            <a:r>
              <a:rPr lang="es-ES"/>
              <a:t>Título de la presentación</a:t>
            </a:r>
            <a:endParaRPr lang="es-ES" dirty="0"/>
          </a:p>
        </p:txBody>
      </p:sp>
      <p:sp>
        <p:nvSpPr>
          <p:cNvPr id="7" name="Slide Number Placeholder 6"/>
          <p:cNvSpPr>
            <a:spLocks noGrp="1"/>
          </p:cNvSpPr>
          <p:nvPr>
            <p:ph type="sldNum" sz="quarter" idx="12"/>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4233284467"/>
      </p:ext>
    </p:extLst>
  </p:cSld>
  <p:clrMapOvr>
    <a:masterClrMapping/>
  </p:clrMapOvr>
  <p:hf hdr="0"/>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
              <a:t>Haga clic en el icono para agregar una imagen</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Date Placeholder 4"/>
          <p:cNvSpPr>
            <a:spLocks noGrp="1"/>
          </p:cNvSpPr>
          <p:nvPr>
            <p:ph type="dt" sz="half" idx="10"/>
          </p:nvPr>
        </p:nvSpPr>
        <p:spPr/>
        <p:txBody>
          <a:bodyPr/>
          <a:lstStyle/>
          <a:p>
            <a:r>
              <a:rPr lang="es-ES"/>
              <a:t>14.02.2019</a:t>
            </a:r>
            <a:endParaRPr lang="es-ES" dirty="0"/>
          </a:p>
        </p:txBody>
      </p:sp>
      <p:sp>
        <p:nvSpPr>
          <p:cNvPr id="6" name="Footer Placeholder 5"/>
          <p:cNvSpPr>
            <a:spLocks noGrp="1"/>
          </p:cNvSpPr>
          <p:nvPr>
            <p:ph type="ftr" sz="quarter" idx="11"/>
          </p:nvPr>
        </p:nvSpPr>
        <p:spPr/>
        <p:txBody>
          <a:bodyPr/>
          <a:lstStyle/>
          <a:p>
            <a:r>
              <a:rPr lang="es-ES"/>
              <a:t>Título de la presentación</a:t>
            </a:r>
            <a:endParaRPr lang="es-ES" dirty="0"/>
          </a:p>
        </p:txBody>
      </p:sp>
      <p:sp>
        <p:nvSpPr>
          <p:cNvPr id="7" name="Slide Number Placeholder 6"/>
          <p:cNvSpPr>
            <a:spLocks noGrp="1"/>
          </p:cNvSpPr>
          <p:nvPr>
            <p:ph type="sldNum" sz="quarter" idx="12"/>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3358438767"/>
      </p:ext>
    </p:extLst>
  </p:cSld>
  <p:clrMapOvr>
    <a:masterClrMapping/>
  </p:clrMapOvr>
  <p:hf hdr="0"/>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Vertical Text Placeholder 2"/>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10"/>
          </p:nvPr>
        </p:nvSpPr>
        <p:spPr/>
        <p:txBody>
          <a:bodyPr/>
          <a:lstStyle/>
          <a:p>
            <a:r>
              <a:rPr lang="es-ES"/>
              <a:t>14.02.2019</a:t>
            </a:r>
            <a:endParaRPr lang="es-ES" dirty="0"/>
          </a:p>
        </p:txBody>
      </p:sp>
      <p:sp>
        <p:nvSpPr>
          <p:cNvPr id="5" name="Footer Placeholder 4"/>
          <p:cNvSpPr>
            <a:spLocks noGrp="1"/>
          </p:cNvSpPr>
          <p:nvPr>
            <p:ph type="ftr" sz="quarter" idx="11"/>
          </p:nvPr>
        </p:nvSpPr>
        <p:spPr/>
        <p:txBody>
          <a:bodyPr/>
          <a:lstStyle/>
          <a:p>
            <a:r>
              <a:rPr lang="es-ES"/>
              <a:t>Título de la presentación</a:t>
            </a:r>
            <a:endParaRPr lang="es-ES" dirty="0"/>
          </a:p>
        </p:txBody>
      </p:sp>
      <p:sp>
        <p:nvSpPr>
          <p:cNvPr id="6" name="Slide Number Placeholder 5"/>
          <p:cNvSpPr>
            <a:spLocks noGrp="1"/>
          </p:cNvSpPr>
          <p:nvPr>
            <p:ph type="sldNum" sz="quarter" idx="12"/>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3794427781"/>
      </p:ext>
    </p:extLst>
  </p:cSld>
  <p:clrMapOvr>
    <a:masterClrMapping/>
  </p:clrMapOvr>
  <p:hf hdr="0"/>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10"/>
          </p:nvPr>
        </p:nvSpPr>
        <p:spPr/>
        <p:txBody>
          <a:bodyPr/>
          <a:lstStyle/>
          <a:p>
            <a:r>
              <a:rPr lang="es-ES"/>
              <a:t>14.02.2019</a:t>
            </a:r>
            <a:endParaRPr lang="es-ES" dirty="0"/>
          </a:p>
        </p:txBody>
      </p:sp>
      <p:sp>
        <p:nvSpPr>
          <p:cNvPr id="5" name="Footer Placeholder 4"/>
          <p:cNvSpPr>
            <a:spLocks noGrp="1"/>
          </p:cNvSpPr>
          <p:nvPr>
            <p:ph type="ftr" sz="quarter" idx="11"/>
          </p:nvPr>
        </p:nvSpPr>
        <p:spPr/>
        <p:txBody>
          <a:bodyPr/>
          <a:lstStyle/>
          <a:p>
            <a:r>
              <a:rPr lang="es-ES"/>
              <a:t>Título de la presentación</a:t>
            </a:r>
            <a:endParaRPr lang="es-ES" dirty="0"/>
          </a:p>
        </p:txBody>
      </p:sp>
      <p:sp>
        <p:nvSpPr>
          <p:cNvPr id="6" name="Slide Number Placeholder 5"/>
          <p:cNvSpPr>
            <a:spLocks noGrp="1"/>
          </p:cNvSpPr>
          <p:nvPr>
            <p:ph type="sldNum" sz="quarter" idx="12"/>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150648082"/>
      </p:ext>
    </p:extLst>
  </p:cSld>
  <p:clrMapOvr>
    <a:masterClrMapping/>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Título b/n">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FF0DB5C6-9E74-4378-9827-68473EFA35F3}"/>
              </a:ext>
            </a:extLst>
          </p:cNvPr>
          <p:cNvPicPr>
            <a:picLocks/>
          </p:cNvPicPr>
          <p:nvPr userDrawn="1"/>
        </p:nvPicPr>
        <p:blipFill rotWithShape="1">
          <a:blip r:embed="rId2"/>
          <a:srcRect t="233" b="26747"/>
          <a:stretch/>
        </p:blipFill>
        <p:spPr bwMode="gray">
          <a:xfrm>
            <a:off x="164183" y="165100"/>
            <a:ext cx="11858487" cy="4721861"/>
          </a:xfrm>
          <a:prstGeom prst="rect">
            <a:avLst/>
          </a:prstGeom>
        </p:spPr>
      </p:pic>
      <p:pic>
        <p:nvPicPr>
          <p:cNvPr id="15" name="Grafik 14" descr="Ein Bild, das Säge enthält.&#10;&#10;Automatisch generierte Beschreibung">
            <a:extLst>
              <a:ext uri="{FF2B5EF4-FFF2-40B4-BE49-F238E27FC236}">
                <a16:creationId xmlns:a16="http://schemas.microsoft.com/office/drawing/2014/main" id="{31687CA2-4830-4EA3-B6BE-4D04E1B83630}"/>
              </a:ext>
            </a:extLst>
          </p:cNvPr>
          <p:cNvPicPr>
            <a:picLocks noChangeAspect="1"/>
          </p:cNvPicPr>
          <p:nvPr userDrawn="1"/>
        </p:nvPicPr>
        <p:blipFill>
          <a:blip r:embed="rId3"/>
          <a:stretch>
            <a:fillRect/>
          </a:stretch>
        </p:blipFill>
        <p:spPr bwMode="gray">
          <a:xfrm>
            <a:off x="164180" y="846876"/>
            <a:ext cx="11860800" cy="4040085"/>
          </a:xfrm>
          <a:prstGeom prst="rect">
            <a:avLst/>
          </a:prstGeom>
        </p:spPr>
      </p:pic>
      <p:pic>
        <p:nvPicPr>
          <p:cNvPr id="10" name="logo">
            <a:extLst>
              <a:ext uri="{FF2B5EF4-FFF2-40B4-BE49-F238E27FC236}">
                <a16:creationId xmlns:a16="http://schemas.microsoft.com/office/drawing/2014/main" id="{5020DAB1-6624-4F6F-85BE-D8BE78A1A57E}"/>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8000"/>
                    </a14:imgEffect>
                  </a14:imgLayer>
                </a14:imgProps>
              </a:ext>
              <a:ext uri="{28A0092B-C50C-407E-A947-70E740481C1C}">
                <a14:useLocalDpi xmlns:a14="http://schemas.microsoft.com/office/drawing/2010/main" val="0"/>
              </a:ext>
            </a:extLst>
          </a:blip>
          <a:stretch>
            <a:fillRect/>
          </a:stretch>
        </p:blipFill>
        <p:spPr bwMode="gray">
          <a:xfrm>
            <a:off x="916199" y="5422244"/>
            <a:ext cx="3081728" cy="850557"/>
          </a:xfrm>
          <a:prstGeom prst="rect">
            <a:avLst/>
          </a:prstGeom>
        </p:spPr>
      </p:pic>
      <p:sp>
        <p:nvSpPr>
          <p:cNvPr id="13" name="Bar">
            <a:extLst>
              <a:ext uri="{FF2B5EF4-FFF2-40B4-BE49-F238E27FC236}">
                <a16:creationId xmlns:a16="http://schemas.microsoft.com/office/drawing/2014/main" id="{8C59F0BE-E094-4F6F-B663-07A571A19A62}"/>
              </a:ext>
            </a:extLst>
          </p:cNvPr>
          <p:cNvSpPr/>
          <p:nvPr userDrawn="1"/>
        </p:nvSpPr>
        <p:spPr bwMode="gray">
          <a:xfrm>
            <a:off x="7158790" y="4886961"/>
            <a:ext cx="4863877" cy="297123"/>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eaLnBrk="0" fontAlgn="base" hangingPunct="0">
              <a:spcBef>
                <a:spcPct val="0"/>
              </a:spcBef>
              <a:spcAft>
                <a:spcPct val="0"/>
              </a:spcAft>
            </a:pPr>
            <a:endParaRPr lang="de-DE" sz="2400" dirty="0" err="1">
              <a:solidFill>
                <a:schemeClr val="tx2"/>
              </a:solidFill>
              <a:latin typeface="Arial" charset="0"/>
            </a:endParaRPr>
          </a:p>
        </p:txBody>
      </p:sp>
      <p:sp>
        <p:nvSpPr>
          <p:cNvPr id="19" name="Subline">
            <a:extLst>
              <a:ext uri="{FF2B5EF4-FFF2-40B4-BE49-F238E27FC236}">
                <a16:creationId xmlns:a16="http://schemas.microsoft.com/office/drawing/2014/main" id="{31A5E120-96AF-40F6-98D7-8A2FD24C3270}"/>
              </a:ext>
            </a:extLst>
          </p:cNvPr>
          <p:cNvSpPr>
            <a:spLocks noGrp="1"/>
          </p:cNvSpPr>
          <p:nvPr>
            <p:ph type="body" sz="quarter" idx="10" hasCustomPrompt="1"/>
          </p:nvPr>
        </p:nvSpPr>
        <p:spPr bwMode="gray">
          <a:xfrm>
            <a:off x="933134" y="3700611"/>
            <a:ext cx="10627783" cy="789960"/>
          </a:xfrm>
        </p:spPr>
        <p:txBody>
          <a:bodyPr>
            <a:spAutoFit/>
          </a:bodyPr>
          <a:lstStyle>
            <a:lvl1pPr marL="0" indent="0">
              <a:lnSpc>
                <a:spcPct val="95000"/>
              </a:lnSpc>
              <a:spcBef>
                <a:spcPts val="1600"/>
              </a:spcBef>
              <a:spcAft>
                <a:spcPts val="0"/>
              </a:spcAft>
              <a:buNone/>
              <a:defRPr sz="2000">
                <a:solidFill>
                  <a:schemeClr val="tx1"/>
                </a:solidFill>
              </a:defRPr>
            </a:lvl1pPr>
          </a:lstStyle>
          <a:p>
            <a:r>
              <a:rPr lang="es-ES" dirty="0"/>
              <a:t>Este es el subtítulo</a:t>
            </a:r>
          </a:p>
          <a:p>
            <a:r>
              <a:rPr lang="es-ES" dirty="0"/>
              <a:t>Nombre del proyecto | Fecha</a:t>
            </a:r>
          </a:p>
        </p:txBody>
      </p:sp>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933131" y="2542201"/>
            <a:ext cx="10628948" cy="960263"/>
          </a:xfrm>
          <a:prstGeom prst="rect">
            <a:avLst/>
          </a:prstGeom>
        </p:spPr>
        <p:txBody>
          <a:bodyPr wrap="square">
            <a:spAutoFit/>
          </a:bodyPr>
          <a:lstStyle>
            <a:lvl1pPr>
              <a:defRPr sz="3467" b="1">
                <a:solidFill>
                  <a:schemeClr val="tx1"/>
                </a:solidFill>
              </a:defRPr>
            </a:lvl1pPr>
          </a:lstStyle>
          <a:p>
            <a:r>
              <a:rPr lang="es-ES" dirty="0"/>
              <a:t>Diapositiva de título/encabezado</a:t>
            </a:r>
            <a:br>
              <a:rPr lang="es-ES" dirty="0"/>
            </a:br>
            <a:r>
              <a:rPr lang="es-ES" dirty="0"/>
              <a:t>con el </a:t>
            </a:r>
            <a:r>
              <a:rPr lang="es-ES" i="1" dirty="0"/>
              <a:t>key visual</a:t>
            </a:r>
            <a:r>
              <a:rPr lang="es-ES" dirty="0"/>
              <a:t> (diseño base) de la GIZ en b/n</a:t>
            </a:r>
          </a:p>
        </p:txBody>
      </p:sp>
    </p:spTree>
    <p:extLst>
      <p:ext uri="{BB962C8B-B14F-4D97-AF65-F5344CB8AC3E}">
        <p14:creationId xmlns:p14="http://schemas.microsoft.com/office/powerpoint/2010/main" val="190136612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Diap. intermedia en blanco">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1114266" y="2717807"/>
            <a:ext cx="9963469" cy="545727"/>
          </a:xfrm>
          <a:prstGeom prst="rect">
            <a:avLst/>
          </a:prstGeom>
        </p:spPr>
        <p:txBody>
          <a:bodyPr wrap="square" anchor="ctr">
            <a:spAutoFit/>
          </a:bodyPr>
          <a:lstStyle>
            <a:lvl1pPr algn="ctr">
              <a:lnSpc>
                <a:spcPct val="95000"/>
              </a:lnSpc>
              <a:spcBef>
                <a:spcPts val="1600"/>
              </a:spcBef>
              <a:defRPr sz="3467" b="0">
                <a:solidFill>
                  <a:schemeClr val="tx1"/>
                </a:solidFill>
              </a:defRPr>
            </a:lvl1pPr>
          </a:lstStyle>
          <a:p>
            <a:r>
              <a:rPr lang="es-ES" sz="3733" dirty="0">
                <a:solidFill>
                  <a:prstClr val="black"/>
                </a:solidFill>
              </a:rPr>
              <a:t>Diapositiva intermedia</a:t>
            </a:r>
            <a:endParaRPr lang="es-ES" dirty="0"/>
          </a:p>
        </p:txBody>
      </p:sp>
      <p:sp>
        <p:nvSpPr>
          <p:cNvPr id="2" name="Datumsplatzhalter 1">
            <a:extLst>
              <a:ext uri="{FF2B5EF4-FFF2-40B4-BE49-F238E27FC236}">
                <a16:creationId xmlns:a16="http://schemas.microsoft.com/office/drawing/2014/main" id="{42AD7FE3-15E4-4E0D-9CCB-209C22AF880A}"/>
              </a:ext>
            </a:extLst>
          </p:cNvPr>
          <p:cNvSpPr>
            <a:spLocks noGrp="1"/>
          </p:cNvSpPr>
          <p:nvPr>
            <p:ph type="dt" sz="half" idx="10"/>
          </p:nvPr>
        </p:nvSpPr>
        <p:spPr/>
        <p:txBody>
          <a:bodyPr/>
          <a:lstStyle/>
          <a:p>
            <a:r>
              <a:rPr lang="es-ES"/>
              <a:t>14.02.2019</a:t>
            </a:r>
            <a:endParaRPr lang="es-ES" dirty="0"/>
          </a:p>
        </p:txBody>
      </p:sp>
      <p:sp>
        <p:nvSpPr>
          <p:cNvPr id="3" name="Fußzeilenplatzhalter 2">
            <a:extLst>
              <a:ext uri="{FF2B5EF4-FFF2-40B4-BE49-F238E27FC236}">
                <a16:creationId xmlns:a16="http://schemas.microsoft.com/office/drawing/2014/main" id="{DE695D31-06C7-4B4E-96FF-361FE074BA9C}"/>
              </a:ext>
            </a:extLst>
          </p:cNvPr>
          <p:cNvSpPr>
            <a:spLocks noGrp="1"/>
          </p:cNvSpPr>
          <p:nvPr>
            <p:ph type="ftr" sz="quarter" idx="11"/>
          </p:nvPr>
        </p:nvSpPr>
        <p:spPr/>
        <p:txBody>
          <a:bodyPr/>
          <a:lstStyle/>
          <a:p>
            <a:r>
              <a:rPr lang="es-ES"/>
              <a:t>Título de la presentación</a:t>
            </a:r>
            <a:endParaRPr lang="es-ES" dirty="0"/>
          </a:p>
        </p:txBody>
      </p:sp>
      <p:sp>
        <p:nvSpPr>
          <p:cNvPr id="4" name="Foliennummernplatzhalter 3">
            <a:extLst>
              <a:ext uri="{FF2B5EF4-FFF2-40B4-BE49-F238E27FC236}">
                <a16:creationId xmlns:a16="http://schemas.microsoft.com/office/drawing/2014/main" id="{5D4A944B-8983-46CD-9A09-1A45970EE76F}"/>
              </a:ext>
            </a:extLst>
          </p:cNvPr>
          <p:cNvSpPr>
            <a:spLocks noGrp="1"/>
          </p:cNvSpPr>
          <p:nvPr>
            <p:ph type="sldNum" sz="quarter" idx="12"/>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326194937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fusszeil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dirty="0"/>
              <a:t>Präsentationstitel hier eintragen</a:t>
            </a:r>
          </a:p>
        </p:txBody>
      </p:sp>
      <p:sp>
        <p:nvSpPr>
          <p:cNvPr id="4" name="Datumsplatzhalter 3"/>
          <p:cNvSpPr>
            <a:spLocks noGrp="1"/>
          </p:cNvSpPr>
          <p:nvPr>
            <p:ph type="dt" sz="half" idx="11"/>
          </p:nvPr>
        </p:nvSpPr>
        <p:spPr/>
        <p:txBody>
          <a:bodyPr/>
          <a:lstStyle/>
          <a:p>
            <a:fld id="{9317A057-C766-48FB-B1EC-CC1898F04EF1}" type="datetime1">
              <a:rPr lang="de-DE" noProof="0" smtClean="0"/>
              <a:t>19.11.2020</a:t>
            </a:fld>
            <a:endParaRPr lang="de-DE" noProof="0"/>
          </a:p>
        </p:txBody>
      </p:sp>
    </p:spTree>
    <p:extLst>
      <p:ext uri="{BB962C8B-B14F-4D97-AF65-F5344CB8AC3E}">
        <p14:creationId xmlns:p14="http://schemas.microsoft.com/office/powerpoint/2010/main" val="2738565517"/>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1_Titel">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84535767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28" name="think-cell Folie" r:id="rId4" imgW="6350000" imgH="6350000" progId="">
                  <p:embed/>
                </p:oleObj>
              </mc:Choice>
              <mc:Fallback>
                <p:oleObj name="think-cell Folie" r:id="rId4" imgW="6350000" imgH="6350000" progId="">
                  <p:embed/>
                  <p:pic>
                    <p:nvPicPr>
                      <p:cNvPr id="8" name="Objek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hteck 6"/>
          <p:cNvSpPr/>
          <p:nvPr userDrawn="1"/>
        </p:nvSpPr>
        <p:spPr>
          <a:xfrm>
            <a:off x="0" y="0"/>
            <a:ext cx="12216000" cy="48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prstClr val="white"/>
              </a:solidFill>
              <a:latin typeface="Arial"/>
            </a:endParaRPr>
          </a:p>
        </p:txBody>
      </p:sp>
      <p:sp>
        <p:nvSpPr>
          <p:cNvPr id="9" name="Rechteck 8"/>
          <p:cNvSpPr/>
          <p:nvPr userDrawn="1"/>
        </p:nvSpPr>
        <p:spPr>
          <a:xfrm>
            <a:off x="240000" y="180000"/>
            <a:ext cx="11760000" cy="117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prstClr val="white"/>
              </a:solidFill>
              <a:latin typeface="Arial"/>
            </a:endParaRPr>
          </a:p>
        </p:txBody>
      </p:sp>
      <p:sp>
        <p:nvSpPr>
          <p:cNvPr id="16" name="Titel 15"/>
          <p:cNvSpPr>
            <a:spLocks noGrp="1"/>
          </p:cNvSpPr>
          <p:nvPr>
            <p:ph type="title"/>
          </p:nvPr>
        </p:nvSpPr>
        <p:spPr>
          <a:xfrm>
            <a:off x="2265600" y="5791514"/>
            <a:ext cx="8342400" cy="461665"/>
          </a:xfrm>
        </p:spPr>
        <p:txBody>
          <a:bodyPr lIns="0" tIns="0" rIns="0" bIns="0" anchor="b" anchorCtr="0">
            <a:spAutoFit/>
          </a:bodyPr>
          <a:lstStyle>
            <a:lvl1pPr>
              <a:lnSpc>
                <a:spcPts val="3600"/>
              </a:lnSpc>
              <a:defRPr sz="3200">
                <a:solidFill>
                  <a:schemeClr val="accent1"/>
                </a:solidFill>
              </a:defRPr>
            </a:lvl1pPr>
          </a:lstStyle>
          <a:p>
            <a:r>
              <a:rPr lang="de-DE" noProof="0" dirty="0"/>
              <a:t>Titelmasterformat durch Klicken bearbeiten</a:t>
            </a:r>
          </a:p>
        </p:txBody>
      </p:sp>
      <p:sp>
        <p:nvSpPr>
          <p:cNvPr id="17" name="Untertitel 2"/>
          <p:cNvSpPr>
            <a:spLocks noGrp="1"/>
          </p:cNvSpPr>
          <p:nvPr>
            <p:ph type="subTitle" idx="1" hasCustomPrompt="1"/>
          </p:nvPr>
        </p:nvSpPr>
        <p:spPr>
          <a:xfrm>
            <a:off x="2265600" y="6469308"/>
            <a:ext cx="8342901" cy="180049"/>
          </a:xfrm>
        </p:spPr>
        <p:txBody>
          <a:bodyPr wrap="square" lIns="0" tIns="0" rIns="0" bIns="0">
            <a:spAutoFit/>
          </a:bodyPr>
          <a:lstStyle>
            <a:lvl1pPr marL="0" indent="0" algn="l">
              <a:buNone/>
              <a:defRPr sz="1300">
                <a:solidFill>
                  <a:schemeClr val="accent3"/>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a:t>Ort, Datum, Veranstaltung</a:t>
            </a:r>
          </a:p>
        </p:txBody>
      </p:sp>
      <p:sp>
        <p:nvSpPr>
          <p:cNvPr id="20" name="Bildplatzhalter 19"/>
          <p:cNvSpPr>
            <a:spLocks noGrp="1"/>
          </p:cNvSpPr>
          <p:nvPr>
            <p:ph type="pic" sz="quarter" idx="10" hasCustomPrompt="1"/>
          </p:nvPr>
        </p:nvSpPr>
        <p:spPr>
          <a:xfrm>
            <a:off x="9840001" y="392400"/>
            <a:ext cx="1862667" cy="609600"/>
          </a:xfrm>
          <a:solidFill>
            <a:schemeClr val="accent4">
              <a:lumMod val="20000"/>
              <a:lumOff val="80000"/>
            </a:schemeClr>
          </a:solidFill>
        </p:spPr>
        <p:txBody>
          <a:bodyPr anchor="ctr">
            <a:normAutofit/>
          </a:bodyPr>
          <a:lstStyle>
            <a:lvl1pPr marL="0" indent="0" algn="ctr">
              <a:buNone/>
              <a:defRPr sz="1200"/>
            </a:lvl1pPr>
          </a:lstStyle>
          <a:p>
            <a:r>
              <a:rPr lang="de-DE" noProof="0" dirty="0"/>
              <a:t>Logo</a:t>
            </a:r>
          </a:p>
        </p:txBody>
      </p:sp>
      <p:pic>
        <p:nvPicPr>
          <p:cNvPr id="21" name="Grafik 20"/>
          <p:cNvPicPr>
            <a:picLocks noChangeAspect="1"/>
          </p:cNvPicPr>
          <p:nvPr userDrawn="1"/>
        </p:nvPicPr>
        <p:blipFill rotWithShape="1">
          <a:blip r:embed="rId6" cstate="print">
            <a:extLst>
              <a:ext uri="{28A0092B-C50C-407E-A947-70E740481C1C}">
                <a14:useLocalDpi xmlns:a14="http://schemas.microsoft.com/office/drawing/2010/main" val="0"/>
              </a:ext>
            </a:extLst>
          </a:blip>
          <a:srcRect l="16067" r="24469"/>
          <a:stretch/>
        </p:blipFill>
        <p:spPr>
          <a:xfrm>
            <a:off x="0" y="1638304"/>
            <a:ext cx="12216000" cy="2951457"/>
          </a:xfrm>
          <a:prstGeom prst="rect">
            <a:avLst/>
          </a:prstGeom>
        </p:spPr>
      </p:pic>
      <p:sp>
        <p:nvSpPr>
          <p:cNvPr id="14" name="Titel 15"/>
          <p:cNvSpPr txBox="1">
            <a:spLocks/>
          </p:cNvSpPr>
          <p:nvPr userDrawn="1"/>
        </p:nvSpPr>
        <p:spPr>
          <a:xfrm>
            <a:off x="2265603" y="4833212"/>
            <a:ext cx="8303999" cy="408445"/>
          </a:xfrm>
          <a:prstGeom prst="rect">
            <a:avLst/>
          </a:prstGeom>
        </p:spPr>
        <p:txBody>
          <a:bodyPr vert="horz" lIns="0" tIns="0" rIns="0" bIns="0" rtlCol="0" anchor="t" anchorCtr="0">
            <a:spAutoFit/>
          </a:bodyPr>
          <a:lstStyle>
            <a:lvl1pPr algn="l" defTabSz="914400" rtl="0" eaLnBrk="1" latinLnBrk="0" hangingPunct="1">
              <a:lnSpc>
                <a:spcPts val="3700"/>
              </a:lnSpc>
              <a:spcBef>
                <a:spcPct val="0"/>
              </a:spcBef>
              <a:buNone/>
              <a:defRPr sz="3200" kern="1200">
                <a:solidFill>
                  <a:schemeClr val="accent1"/>
                </a:solidFill>
                <a:latin typeface="Times" pitchFamily="18" charset="0"/>
                <a:ea typeface="+mj-ea"/>
                <a:cs typeface="Times" pitchFamily="18" charset="0"/>
              </a:defRPr>
            </a:lvl1pPr>
          </a:lstStyle>
          <a:p>
            <a:r>
              <a:rPr lang="de-DE" sz="1800" b="1" dirty="0" err="1">
                <a:solidFill>
                  <a:srgbClr val="004F80"/>
                </a:solidFill>
                <a:latin typeface="Arial"/>
              </a:rPr>
              <a:t>develoPPP.de</a:t>
            </a:r>
            <a:endParaRPr lang="de-DE" sz="1800" b="1" dirty="0">
              <a:solidFill>
                <a:srgbClr val="004F80"/>
              </a:solidFill>
              <a:latin typeface="Arial"/>
            </a:endParaRPr>
          </a:p>
        </p:txBody>
      </p:sp>
    </p:spTree>
    <p:extLst>
      <p:ext uri="{BB962C8B-B14F-4D97-AF65-F5344CB8AC3E}">
        <p14:creationId xmlns:p14="http://schemas.microsoft.com/office/powerpoint/2010/main" val="168055754"/>
      </p:ext>
    </p:extLst>
  </p:cSld>
  <p:clrMapOvr>
    <a:masterClrMapping/>
  </p:clrMapOvr>
  <mc:AlternateContent xmlns:mc="http://schemas.openxmlformats.org/markup-compatibility/2006" xmlns:p14="http://schemas.microsoft.com/office/powerpoint/2010/main">
    <mc:Choice Requires="p14">
      <p:transition spd="slow" p14:dur="20000" advClick="0" advTm="20000"/>
    </mc:Choice>
    <mc:Fallback xmlns="">
      <p:transition spd="slow" advClick="0" advTm="2000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ítulo (altern.)">
    <p:spTree>
      <p:nvGrpSpPr>
        <p:cNvPr id="1" name=""/>
        <p:cNvGrpSpPr/>
        <p:nvPr/>
      </p:nvGrpSpPr>
      <p:grpSpPr>
        <a:xfrm>
          <a:off x="0" y="0"/>
          <a:ext cx="0" cy="0"/>
          <a:chOff x="0" y="0"/>
          <a:chExt cx="0" cy="0"/>
        </a:xfrm>
      </p:grpSpPr>
      <p:pic>
        <p:nvPicPr>
          <p:cNvPr id="10" name="logo">
            <a:extLst>
              <a:ext uri="{FF2B5EF4-FFF2-40B4-BE49-F238E27FC236}">
                <a16:creationId xmlns:a16="http://schemas.microsoft.com/office/drawing/2014/main" id="{5020DAB1-6624-4F6F-85BE-D8BE78A1A57E}"/>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8000"/>
                    </a14:imgEffect>
                  </a14:imgLayer>
                </a14:imgProps>
              </a:ext>
              <a:ext uri="{28A0092B-C50C-407E-A947-70E740481C1C}">
                <a14:useLocalDpi xmlns:a14="http://schemas.microsoft.com/office/drawing/2010/main" val="0"/>
              </a:ext>
            </a:extLst>
          </a:blip>
          <a:stretch>
            <a:fillRect/>
          </a:stretch>
        </p:blipFill>
        <p:spPr bwMode="gray">
          <a:xfrm>
            <a:off x="916199" y="5422244"/>
            <a:ext cx="3081728" cy="850557"/>
          </a:xfrm>
          <a:prstGeom prst="rect">
            <a:avLst/>
          </a:prstGeom>
        </p:spPr>
      </p:pic>
      <p:sp>
        <p:nvSpPr>
          <p:cNvPr id="13" name="Bar">
            <a:extLst>
              <a:ext uri="{FF2B5EF4-FFF2-40B4-BE49-F238E27FC236}">
                <a16:creationId xmlns:a16="http://schemas.microsoft.com/office/drawing/2014/main" id="{8C59F0BE-E094-4F6F-B663-07A571A19A62}"/>
              </a:ext>
            </a:extLst>
          </p:cNvPr>
          <p:cNvSpPr/>
          <p:nvPr userDrawn="1"/>
        </p:nvSpPr>
        <p:spPr bwMode="gray">
          <a:xfrm>
            <a:off x="7158790" y="4886961"/>
            <a:ext cx="4863877" cy="297123"/>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eaLnBrk="0" fontAlgn="base" hangingPunct="0">
              <a:spcBef>
                <a:spcPct val="0"/>
              </a:spcBef>
              <a:spcAft>
                <a:spcPct val="0"/>
              </a:spcAft>
            </a:pPr>
            <a:endParaRPr lang="de-DE" sz="2400" dirty="0" err="1">
              <a:solidFill>
                <a:schemeClr val="tx2"/>
              </a:solidFill>
              <a:latin typeface="Arial" charset="0"/>
            </a:endParaRPr>
          </a:p>
        </p:txBody>
      </p:sp>
      <p:sp>
        <p:nvSpPr>
          <p:cNvPr id="19" name="Subline">
            <a:extLst>
              <a:ext uri="{FF2B5EF4-FFF2-40B4-BE49-F238E27FC236}">
                <a16:creationId xmlns:a16="http://schemas.microsoft.com/office/drawing/2014/main" id="{31A5E120-96AF-40F6-98D7-8A2FD24C3270}"/>
              </a:ext>
            </a:extLst>
          </p:cNvPr>
          <p:cNvSpPr>
            <a:spLocks noGrp="1"/>
          </p:cNvSpPr>
          <p:nvPr>
            <p:ph type="body" sz="quarter" idx="10" hasCustomPrompt="1"/>
          </p:nvPr>
        </p:nvSpPr>
        <p:spPr bwMode="gray">
          <a:xfrm>
            <a:off x="933134" y="3700611"/>
            <a:ext cx="10627783" cy="789960"/>
          </a:xfrm>
        </p:spPr>
        <p:txBody>
          <a:bodyPr>
            <a:spAutoFit/>
          </a:bodyPr>
          <a:lstStyle>
            <a:lvl1pPr marL="0" indent="0">
              <a:lnSpc>
                <a:spcPct val="95000"/>
              </a:lnSpc>
              <a:spcBef>
                <a:spcPts val="1600"/>
              </a:spcBef>
              <a:spcAft>
                <a:spcPts val="0"/>
              </a:spcAft>
              <a:buNone/>
              <a:defRPr sz="2000">
                <a:solidFill>
                  <a:schemeClr val="tx1"/>
                </a:solidFill>
              </a:defRPr>
            </a:lvl1pPr>
          </a:lstStyle>
          <a:p>
            <a:r>
              <a:rPr lang="es-ES" dirty="0"/>
              <a:t>Este es el subtítulo</a:t>
            </a:r>
          </a:p>
          <a:p>
            <a:r>
              <a:rPr lang="es-ES" dirty="0"/>
              <a:t>Nombre del proyecto | Fecha</a:t>
            </a:r>
          </a:p>
        </p:txBody>
      </p:sp>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933131" y="2542201"/>
            <a:ext cx="10628948" cy="960263"/>
          </a:xfrm>
          <a:prstGeom prst="rect">
            <a:avLst/>
          </a:prstGeom>
        </p:spPr>
        <p:txBody>
          <a:bodyPr wrap="square">
            <a:spAutoFit/>
          </a:bodyPr>
          <a:lstStyle>
            <a:lvl1pPr>
              <a:defRPr sz="3467" b="1">
                <a:solidFill>
                  <a:schemeClr val="tx1"/>
                </a:solidFill>
              </a:defRPr>
            </a:lvl1pPr>
          </a:lstStyle>
          <a:p>
            <a:r>
              <a:rPr lang="es-ES" dirty="0"/>
              <a:t>Diapositiva de título </a:t>
            </a:r>
            <a:br>
              <a:rPr lang="es-ES" dirty="0"/>
            </a:br>
            <a:r>
              <a:rPr lang="es-ES" dirty="0"/>
              <a:t>(opción alternativa sin foto</a:t>
            </a:r>
            <a:r>
              <a:rPr lang="es-ES"/>
              <a:t>) </a:t>
            </a:r>
            <a:endParaRPr lang="es-ES" dirty="0"/>
          </a:p>
        </p:txBody>
      </p:sp>
      <p:grpSp>
        <p:nvGrpSpPr>
          <p:cNvPr id="8" name="Key Visual">
            <a:extLst>
              <a:ext uri="{FF2B5EF4-FFF2-40B4-BE49-F238E27FC236}">
                <a16:creationId xmlns:a16="http://schemas.microsoft.com/office/drawing/2014/main" id="{1E0F1E1C-CA23-484C-B4BB-7C7FB71D6C86}"/>
              </a:ext>
            </a:extLst>
          </p:cNvPr>
          <p:cNvGrpSpPr/>
          <p:nvPr userDrawn="1"/>
        </p:nvGrpSpPr>
        <p:grpSpPr bwMode="gray">
          <a:xfrm>
            <a:off x="164182" y="165103"/>
            <a:ext cx="5044017" cy="1340924"/>
            <a:chOff x="4846637" y="119557"/>
            <a:chExt cx="3783013" cy="1005693"/>
          </a:xfrm>
        </p:grpSpPr>
        <p:sp>
          <p:nvSpPr>
            <p:cNvPr id="9" name="Freihandform: Form 8">
              <a:extLst>
                <a:ext uri="{FF2B5EF4-FFF2-40B4-BE49-F238E27FC236}">
                  <a16:creationId xmlns:a16="http://schemas.microsoft.com/office/drawing/2014/main" id="{361BEDD0-CC28-449C-8AF8-28ECB9820DCA}"/>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4"/>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Freihandform: Form 10">
              <a:extLst>
                <a:ext uri="{FF2B5EF4-FFF2-40B4-BE49-F238E27FC236}">
                  <a16:creationId xmlns:a16="http://schemas.microsoft.com/office/drawing/2014/main" id="{2AF78ACF-6170-47AC-80E0-F6021AD8B19F}"/>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12" name="Freihandform: Form 11">
              <a:extLst>
                <a:ext uri="{FF2B5EF4-FFF2-40B4-BE49-F238E27FC236}">
                  <a16:creationId xmlns:a16="http://schemas.microsoft.com/office/drawing/2014/main" id="{5BAE5611-256D-4234-B00F-EB779B3EA961}"/>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14" name="Freihandform: Form 13">
              <a:extLst>
                <a:ext uri="{FF2B5EF4-FFF2-40B4-BE49-F238E27FC236}">
                  <a16:creationId xmlns:a16="http://schemas.microsoft.com/office/drawing/2014/main" id="{D32235C7-71CD-4034-844A-03FD0D112CE2}"/>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16" name="Freihandform: Form 15">
              <a:extLst>
                <a:ext uri="{FF2B5EF4-FFF2-40B4-BE49-F238E27FC236}">
                  <a16:creationId xmlns:a16="http://schemas.microsoft.com/office/drawing/2014/main" id="{717CA073-D9FE-4EFD-801F-27AB9308B312}"/>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grpSp>
    </p:spTree>
    <p:extLst>
      <p:ext uri="{BB962C8B-B14F-4D97-AF65-F5344CB8AC3E}">
        <p14:creationId xmlns:p14="http://schemas.microsoft.com/office/powerpoint/2010/main" val="412478192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Organisation Zitat">
    <p:spTree>
      <p:nvGrpSpPr>
        <p:cNvPr id="1" name=""/>
        <p:cNvGrpSpPr/>
        <p:nvPr/>
      </p:nvGrpSpPr>
      <p:grpSpPr>
        <a:xfrm>
          <a:off x="0" y="0"/>
          <a:ext cx="0" cy="0"/>
          <a:chOff x="0" y="0"/>
          <a:chExt cx="0" cy="0"/>
        </a:xfrm>
      </p:grpSpPr>
      <p:pic>
        <p:nvPicPr>
          <p:cNvPr id="3" name="Grafik 4"/>
          <p:cNvPicPr>
            <a:picLocks noChangeAspect="1"/>
          </p:cNvPicPr>
          <p:nvPr userDrawn="1"/>
        </p:nvPicPr>
        <p:blipFill rotWithShape="1">
          <a:blip r:embed="rId2">
            <a:extLst>
              <a:ext uri="{28A0092B-C50C-407E-A947-70E740481C1C}">
                <a14:useLocalDpi xmlns:a14="http://schemas.microsoft.com/office/drawing/2010/main" val="0"/>
              </a:ext>
            </a:extLst>
          </a:blip>
          <a:srcRect l="15749" r="9560"/>
          <a:stretch/>
        </p:blipFill>
        <p:spPr>
          <a:xfrm>
            <a:off x="1" y="1046771"/>
            <a:ext cx="12192000" cy="751685"/>
          </a:xfrm>
          <a:prstGeom prst="rect">
            <a:avLst/>
          </a:prstGeom>
        </p:spPr>
      </p:pic>
      <p:pic>
        <p:nvPicPr>
          <p:cNvPr id="4" name="Grafik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5575" y="191021"/>
            <a:ext cx="2020500" cy="604692"/>
          </a:xfrm>
          <a:prstGeom prst="rect">
            <a:avLst/>
          </a:prstGeom>
        </p:spPr>
      </p:pic>
    </p:spTree>
    <p:extLst>
      <p:ext uri="{BB962C8B-B14F-4D97-AF65-F5344CB8AC3E}">
        <p14:creationId xmlns:p14="http://schemas.microsoft.com/office/powerpoint/2010/main" val="388640814"/>
      </p:ext>
    </p:extLst>
  </p:cSld>
  <p:clrMapOvr>
    <a:masterClrMapping/>
  </p:clrMapOvr>
  <mc:AlternateContent xmlns:mc="http://schemas.openxmlformats.org/markup-compatibility/2006" xmlns:p14="http://schemas.microsoft.com/office/powerpoint/2010/main">
    <mc:Choice Requires="p14">
      <p:transition spd="slow" p14:dur="20000" advClick="0" advTm="20000"/>
    </mc:Choice>
    <mc:Fallback xmlns="">
      <p:transition spd="slow" advClick="0" advTm="2000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Allgemein 1">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4">
            <a:extLst>
              <a:ext uri="{28A0092B-C50C-407E-A947-70E740481C1C}">
                <a14:useLocalDpi xmlns:a14="http://schemas.microsoft.com/office/drawing/2010/main" val="0"/>
              </a:ext>
            </a:extLst>
          </a:blip>
          <a:srcRect l="15749" r="9560"/>
          <a:stretch/>
        </p:blipFill>
        <p:spPr>
          <a:xfrm>
            <a:off x="1" y="1046771"/>
            <a:ext cx="12192000" cy="751685"/>
          </a:xfrm>
          <a:prstGeom prst="rect">
            <a:avLst/>
          </a:prstGeom>
        </p:spPr>
      </p:pic>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853850119"/>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052" name="think-cell Folie" r:id="rId5" imgW="360" imgH="360" progId="">
                  <p:embed/>
                </p:oleObj>
              </mc:Choice>
              <mc:Fallback>
                <p:oleObj name="think-cell Folie" r:id="rId5" imgW="360" imgH="360" progId="">
                  <p:embed/>
                  <p:pic>
                    <p:nvPicPr>
                      <p:cNvPr id="8" name="Objek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Grafik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65575" y="191021"/>
            <a:ext cx="2020500" cy="604692"/>
          </a:xfrm>
          <a:prstGeom prst="rect">
            <a:avLst/>
          </a:prstGeom>
        </p:spPr>
      </p:pic>
      <p:sp>
        <p:nvSpPr>
          <p:cNvPr id="2" name="Titel 1"/>
          <p:cNvSpPr>
            <a:spLocks noGrp="1"/>
          </p:cNvSpPr>
          <p:nvPr>
            <p:ph type="title"/>
          </p:nvPr>
        </p:nvSpPr>
        <p:spPr>
          <a:xfrm>
            <a:off x="958854" y="1199925"/>
            <a:ext cx="9649881" cy="446020"/>
          </a:xfrm>
        </p:spPr>
        <p:txBody>
          <a:bodyPr wrap="square" lIns="0" tIns="0" rIns="0" bIns="0" anchor="b">
            <a:spAutoFit/>
          </a:bodyPr>
          <a:lstStyle>
            <a:lvl1pPr>
              <a:lnSpc>
                <a:spcPts val="3700"/>
              </a:lnSpc>
              <a:defRPr sz="3000">
                <a:solidFill>
                  <a:schemeClr val="accent1"/>
                </a:solidFill>
                <a:latin typeface="Times" pitchFamily="18" charset="0"/>
                <a:cs typeface="Times" pitchFamily="18" charset="0"/>
              </a:defRPr>
            </a:lvl1pPr>
          </a:lstStyle>
          <a:p>
            <a:r>
              <a:rPr lang="de-DE" dirty="0"/>
              <a:t>Titelmasterformat durch Klicken bearbeiten</a:t>
            </a:r>
          </a:p>
        </p:txBody>
      </p:sp>
      <p:sp>
        <p:nvSpPr>
          <p:cNvPr id="4" name="Textplatzhalter 3"/>
          <p:cNvSpPr>
            <a:spLocks noGrp="1"/>
          </p:cNvSpPr>
          <p:nvPr>
            <p:ph type="body" sz="quarter" idx="10"/>
          </p:nvPr>
        </p:nvSpPr>
        <p:spPr>
          <a:xfrm>
            <a:off x="958853" y="2133600"/>
            <a:ext cx="10272183" cy="2620798"/>
          </a:xfrm>
        </p:spPr>
        <p:txBody>
          <a:bodyPr lIns="0" tIns="0" rIns="0" bIns="0">
            <a:noAutofit/>
          </a:bodyPr>
          <a:lstStyle>
            <a:lvl1pPr marL="0" indent="0">
              <a:lnSpc>
                <a:spcPts val="2200"/>
              </a:lnSpc>
              <a:spcBef>
                <a:spcPts val="0"/>
              </a:spcBef>
              <a:spcAft>
                <a:spcPts val="1200"/>
              </a:spcAft>
              <a:buNone/>
              <a:defRPr sz="1800" b="0">
                <a:solidFill>
                  <a:schemeClr val="accent2"/>
                </a:solidFill>
                <a:latin typeface="Arial" pitchFamily="34" charset="0"/>
                <a:cs typeface="Arial" pitchFamily="34" charset="0"/>
              </a:defRPr>
            </a:lvl1pPr>
            <a:lvl2pPr marL="180000" indent="-180000">
              <a:lnSpc>
                <a:spcPts val="2200"/>
              </a:lnSpc>
              <a:spcBef>
                <a:spcPts val="0"/>
              </a:spcBef>
              <a:spcAft>
                <a:spcPts val="1200"/>
              </a:spcAft>
              <a:buClr>
                <a:schemeClr val="accent1"/>
              </a:buClr>
              <a:buFont typeface="Arial" pitchFamily="34" charset="0"/>
              <a:buChar char="•"/>
              <a:defRPr sz="1800">
                <a:solidFill>
                  <a:schemeClr val="accent1"/>
                </a:solidFill>
              </a:defRPr>
            </a:lvl2pPr>
          </a:lstStyle>
          <a:p>
            <a:pPr lvl="0"/>
            <a:r>
              <a:rPr lang="de-DE" dirty="0"/>
              <a:t>Textmasterformat bearbeiten</a:t>
            </a:r>
          </a:p>
          <a:p>
            <a:pPr lvl="1"/>
            <a:r>
              <a:rPr lang="de-DE" dirty="0"/>
              <a:t>…</a:t>
            </a:r>
          </a:p>
        </p:txBody>
      </p:sp>
      <p:sp>
        <p:nvSpPr>
          <p:cNvPr id="6" name="Bildplatzhalter 5"/>
          <p:cNvSpPr>
            <a:spLocks noGrp="1"/>
          </p:cNvSpPr>
          <p:nvPr>
            <p:ph type="pic" sz="quarter" idx="11"/>
          </p:nvPr>
        </p:nvSpPr>
        <p:spPr>
          <a:xfrm>
            <a:off x="958851" y="4845322"/>
            <a:ext cx="3321600" cy="1317600"/>
          </a:xfrm>
        </p:spPr>
        <p:txBody>
          <a:bodyPr lIns="0" tIns="0" rIns="0" bIns="0" anchor="ctr">
            <a:noAutofit/>
          </a:bodyPr>
          <a:lstStyle>
            <a:lvl1pPr marL="0" indent="0" algn="ctr">
              <a:buNone/>
              <a:defRPr/>
            </a:lvl1pPr>
          </a:lstStyle>
          <a:p>
            <a:endParaRPr lang="de-DE" dirty="0"/>
          </a:p>
        </p:txBody>
      </p:sp>
      <p:sp>
        <p:nvSpPr>
          <p:cNvPr id="9" name="Bildplatzhalter 5"/>
          <p:cNvSpPr>
            <a:spLocks noGrp="1"/>
          </p:cNvSpPr>
          <p:nvPr>
            <p:ph type="pic" sz="quarter" idx="12"/>
          </p:nvPr>
        </p:nvSpPr>
        <p:spPr>
          <a:xfrm>
            <a:off x="4435201" y="4845322"/>
            <a:ext cx="3321600" cy="1317600"/>
          </a:xfrm>
        </p:spPr>
        <p:txBody>
          <a:bodyPr lIns="0" tIns="0" rIns="0" bIns="0" anchor="ctr">
            <a:noAutofit/>
          </a:bodyPr>
          <a:lstStyle>
            <a:lvl1pPr marL="0" indent="0" algn="ctr">
              <a:buNone/>
              <a:defRPr/>
            </a:lvl1pPr>
          </a:lstStyle>
          <a:p>
            <a:endParaRPr lang="de-DE" dirty="0"/>
          </a:p>
        </p:txBody>
      </p:sp>
      <p:sp>
        <p:nvSpPr>
          <p:cNvPr id="10" name="Bildplatzhalter 5"/>
          <p:cNvSpPr>
            <a:spLocks noGrp="1"/>
          </p:cNvSpPr>
          <p:nvPr>
            <p:ph type="pic" sz="quarter" idx="13"/>
          </p:nvPr>
        </p:nvSpPr>
        <p:spPr>
          <a:xfrm>
            <a:off x="7911551" y="4845322"/>
            <a:ext cx="3321600" cy="1317600"/>
          </a:xfrm>
        </p:spPr>
        <p:txBody>
          <a:bodyPr lIns="0" tIns="0" rIns="0" bIns="0" anchor="ctr">
            <a:noAutofit/>
          </a:bodyPr>
          <a:lstStyle>
            <a:lvl1pPr marL="0" indent="0" algn="ctr">
              <a:buNone/>
              <a:defRPr/>
            </a:lvl1pPr>
          </a:lstStyle>
          <a:p>
            <a:endParaRPr lang="de-DE" dirty="0"/>
          </a:p>
        </p:txBody>
      </p:sp>
    </p:spTree>
    <p:extLst>
      <p:ext uri="{BB962C8B-B14F-4D97-AF65-F5344CB8AC3E}">
        <p14:creationId xmlns:p14="http://schemas.microsoft.com/office/powerpoint/2010/main" val="745692313"/>
      </p:ext>
    </p:extLst>
  </p:cSld>
  <p:clrMapOvr>
    <a:masterClrMapping/>
  </p:clrMapOvr>
  <mc:AlternateContent xmlns:mc="http://schemas.openxmlformats.org/markup-compatibility/2006" xmlns:p14="http://schemas.microsoft.com/office/powerpoint/2010/main">
    <mc:Choice Requires="p14">
      <p:transition spd="slow" p14:dur="20000" advClick="0" advTm="20000"/>
    </mc:Choice>
    <mc:Fallback xmlns="">
      <p:transition spd="slow" advClick="0" advTm="2000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Allgemein 3">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4">
            <a:extLst>
              <a:ext uri="{28A0092B-C50C-407E-A947-70E740481C1C}">
                <a14:useLocalDpi xmlns:a14="http://schemas.microsoft.com/office/drawing/2010/main" val="0"/>
              </a:ext>
            </a:extLst>
          </a:blip>
          <a:srcRect l="15749" r="9560"/>
          <a:stretch/>
        </p:blipFill>
        <p:spPr>
          <a:xfrm>
            <a:off x="1" y="1046771"/>
            <a:ext cx="12192000" cy="751685"/>
          </a:xfrm>
          <a:prstGeom prst="rect">
            <a:avLst/>
          </a:prstGeom>
        </p:spPr>
      </p:pic>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74768270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076" name="think-cell Folie" r:id="rId5" imgW="360" imgH="360" progId="">
                  <p:embed/>
                </p:oleObj>
              </mc:Choice>
              <mc:Fallback>
                <p:oleObj name="think-cell Folie" r:id="rId5" imgW="360" imgH="360" progId="">
                  <p:embed/>
                  <p:pic>
                    <p:nvPicPr>
                      <p:cNvPr id="8" name="Objek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Grafik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65575" y="191021"/>
            <a:ext cx="2020500" cy="604692"/>
          </a:xfrm>
          <a:prstGeom prst="rect">
            <a:avLst/>
          </a:prstGeom>
        </p:spPr>
      </p:pic>
      <p:sp>
        <p:nvSpPr>
          <p:cNvPr id="2" name="Titel 1"/>
          <p:cNvSpPr>
            <a:spLocks noGrp="1"/>
          </p:cNvSpPr>
          <p:nvPr>
            <p:ph type="title"/>
          </p:nvPr>
        </p:nvSpPr>
        <p:spPr>
          <a:xfrm>
            <a:off x="958853" y="1199448"/>
            <a:ext cx="9649881" cy="446020"/>
          </a:xfrm>
        </p:spPr>
        <p:txBody>
          <a:bodyPr wrap="square" lIns="0" tIns="0" rIns="0" bIns="0" anchor="b">
            <a:spAutoFit/>
          </a:bodyPr>
          <a:lstStyle>
            <a:lvl1pPr>
              <a:lnSpc>
                <a:spcPts val="3700"/>
              </a:lnSpc>
              <a:defRPr sz="3000">
                <a:solidFill>
                  <a:schemeClr val="accent1"/>
                </a:solidFill>
                <a:latin typeface="Times" pitchFamily="18" charset="0"/>
                <a:cs typeface="Times" pitchFamily="18" charset="0"/>
              </a:defRPr>
            </a:lvl1pPr>
          </a:lstStyle>
          <a:p>
            <a:r>
              <a:rPr lang="de-DE" dirty="0"/>
              <a:t>Titelmasterformat durch Klicken bearbeiten</a:t>
            </a:r>
          </a:p>
        </p:txBody>
      </p:sp>
      <p:sp>
        <p:nvSpPr>
          <p:cNvPr id="4" name="Textplatzhalter 3"/>
          <p:cNvSpPr>
            <a:spLocks noGrp="1"/>
          </p:cNvSpPr>
          <p:nvPr>
            <p:ph type="body" sz="quarter" idx="10"/>
          </p:nvPr>
        </p:nvSpPr>
        <p:spPr>
          <a:xfrm>
            <a:off x="958853" y="2133600"/>
            <a:ext cx="10272183" cy="4032250"/>
          </a:xfrm>
        </p:spPr>
        <p:txBody>
          <a:bodyPr lIns="0" tIns="0" rIns="0" bIns="0">
            <a:noAutofit/>
          </a:bodyPr>
          <a:lstStyle>
            <a:lvl1pPr marL="0" indent="0">
              <a:lnSpc>
                <a:spcPts val="2040"/>
              </a:lnSpc>
              <a:spcBef>
                <a:spcPts val="0"/>
              </a:spcBef>
              <a:spcAft>
                <a:spcPts val="1200"/>
              </a:spcAft>
              <a:buNone/>
              <a:defRPr sz="1600" b="1">
                <a:solidFill>
                  <a:schemeClr val="accent2"/>
                </a:solidFill>
                <a:latin typeface="Arial" pitchFamily="34" charset="0"/>
                <a:cs typeface="Arial" pitchFamily="34" charset="0"/>
              </a:defRPr>
            </a:lvl1pPr>
            <a:lvl2pPr marL="180000" indent="-180000">
              <a:lnSpc>
                <a:spcPts val="2200"/>
              </a:lnSpc>
              <a:spcBef>
                <a:spcPts val="0"/>
              </a:spcBef>
              <a:spcAft>
                <a:spcPts val="1200"/>
              </a:spcAft>
              <a:buClr>
                <a:schemeClr val="accent1"/>
              </a:buClr>
              <a:buFont typeface="Arial" pitchFamily="34" charset="0"/>
              <a:buChar char="•"/>
              <a:defRPr sz="1600">
                <a:solidFill>
                  <a:schemeClr val="accent1"/>
                </a:solidFill>
              </a:defRPr>
            </a:lvl2pPr>
            <a:lvl3pPr marL="360000" indent="-180000">
              <a:lnSpc>
                <a:spcPts val="2200"/>
              </a:lnSpc>
              <a:spcBef>
                <a:spcPts val="0"/>
              </a:spcBef>
              <a:spcAft>
                <a:spcPts val="1200"/>
              </a:spcAft>
              <a:buClr>
                <a:schemeClr val="accent2"/>
              </a:buClr>
              <a:defRPr sz="1600">
                <a:solidFill>
                  <a:schemeClr val="accent1"/>
                </a:solidFill>
              </a:defRPr>
            </a:lvl3pPr>
          </a:lstStyle>
          <a:p>
            <a:pPr lvl="0"/>
            <a:r>
              <a:rPr lang="de-DE" dirty="0"/>
              <a:t>Textmasterformat bearbeiten</a:t>
            </a:r>
          </a:p>
          <a:p>
            <a:pPr lvl="1"/>
            <a:r>
              <a:rPr lang="de-DE" dirty="0"/>
              <a:t>…</a:t>
            </a:r>
          </a:p>
          <a:p>
            <a:pPr lvl="2"/>
            <a:r>
              <a:rPr lang="de-DE" dirty="0"/>
              <a:t>…</a:t>
            </a:r>
          </a:p>
        </p:txBody>
      </p:sp>
    </p:spTree>
    <p:extLst>
      <p:ext uri="{BB962C8B-B14F-4D97-AF65-F5344CB8AC3E}">
        <p14:creationId xmlns:p14="http://schemas.microsoft.com/office/powerpoint/2010/main" val="2597633038"/>
      </p:ext>
    </p:extLst>
  </p:cSld>
  <p:clrMapOvr>
    <a:masterClrMapping/>
  </p:clrMapOvr>
  <mc:AlternateContent xmlns:mc="http://schemas.openxmlformats.org/markup-compatibility/2006" xmlns:p14="http://schemas.microsoft.com/office/powerpoint/2010/main">
    <mc:Choice Requires="p14">
      <p:transition spd="slow" p14:dur="20000" advClick="0" advTm="20000"/>
    </mc:Choice>
    <mc:Fallback xmlns="">
      <p:transition spd="slow" advClick="0" advTm="2000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Allgemein 2">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4">
            <a:extLst>
              <a:ext uri="{28A0092B-C50C-407E-A947-70E740481C1C}">
                <a14:useLocalDpi xmlns:a14="http://schemas.microsoft.com/office/drawing/2010/main" val="0"/>
              </a:ext>
            </a:extLst>
          </a:blip>
          <a:srcRect l="15749" r="9560"/>
          <a:stretch/>
        </p:blipFill>
        <p:spPr>
          <a:xfrm>
            <a:off x="1" y="1046771"/>
            <a:ext cx="12192000" cy="751685"/>
          </a:xfrm>
          <a:prstGeom prst="rect">
            <a:avLst/>
          </a:prstGeom>
        </p:spPr>
      </p:pic>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887026929"/>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4100" name="think-cell Folie" r:id="rId5" imgW="360" imgH="360" progId="">
                  <p:embed/>
                </p:oleObj>
              </mc:Choice>
              <mc:Fallback>
                <p:oleObj name="think-cell Folie" r:id="rId5" imgW="360" imgH="360" progId="">
                  <p:embed/>
                  <p:pic>
                    <p:nvPicPr>
                      <p:cNvPr id="8" name="Objek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Grafik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65575" y="191021"/>
            <a:ext cx="2020500" cy="604692"/>
          </a:xfrm>
          <a:prstGeom prst="rect">
            <a:avLst/>
          </a:prstGeom>
        </p:spPr>
      </p:pic>
      <p:sp>
        <p:nvSpPr>
          <p:cNvPr id="2" name="Titel 1"/>
          <p:cNvSpPr>
            <a:spLocks noGrp="1"/>
          </p:cNvSpPr>
          <p:nvPr>
            <p:ph type="title"/>
          </p:nvPr>
        </p:nvSpPr>
        <p:spPr>
          <a:xfrm>
            <a:off x="958852" y="1199448"/>
            <a:ext cx="9649883" cy="446020"/>
          </a:xfrm>
        </p:spPr>
        <p:txBody>
          <a:bodyPr wrap="square" lIns="0" tIns="0" rIns="0" bIns="0" anchor="b">
            <a:spAutoFit/>
          </a:bodyPr>
          <a:lstStyle>
            <a:lvl1pPr>
              <a:lnSpc>
                <a:spcPts val="3700"/>
              </a:lnSpc>
              <a:defRPr sz="3000">
                <a:solidFill>
                  <a:schemeClr val="accent1"/>
                </a:solidFill>
                <a:latin typeface="Times" pitchFamily="18" charset="0"/>
                <a:cs typeface="Times" pitchFamily="18" charset="0"/>
              </a:defRPr>
            </a:lvl1pPr>
          </a:lstStyle>
          <a:p>
            <a:r>
              <a:rPr lang="de-DE" dirty="0"/>
              <a:t>Titelmasterformat durch Klicken bearbeiten</a:t>
            </a:r>
          </a:p>
        </p:txBody>
      </p:sp>
      <p:sp>
        <p:nvSpPr>
          <p:cNvPr id="4" name="Textplatzhalter 3"/>
          <p:cNvSpPr>
            <a:spLocks noGrp="1"/>
          </p:cNvSpPr>
          <p:nvPr>
            <p:ph type="body" sz="quarter" idx="10"/>
          </p:nvPr>
        </p:nvSpPr>
        <p:spPr>
          <a:xfrm>
            <a:off x="4271798" y="2133600"/>
            <a:ext cx="6959236" cy="4023314"/>
          </a:xfrm>
        </p:spPr>
        <p:txBody>
          <a:bodyPr lIns="0" tIns="0" rIns="0" bIns="0">
            <a:noAutofit/>
          </a:bodyPr>
          <a:lstStyle>
            <a:lvl1pPr marL="0" indent="0">
              <a:lnSpc>
                <a:spcPts val="2200"/>
              </a:lnSpc>
              <a:spcBef>
                <a:spcPts val="0"/>
              </a:spcBef>
              <a:spcAft>
                <a:spcPts val="1200"/>
              </a:spcAft>
              <a:buNone/>
              <a:defRPr sz="1600" b="1">
                <a:solidFill>
                  <a:schemeClr val="accent2"/>
                </a:solidFill>
                <a:latin typeface="Arial" pitchFamily="34" charset="0"/>
                <a:cs typeface="Arial" pitchFamily="34" charset="0"/>
              </a:defRPr>
            </a:lvl1pPr>
            <a:lvl2pPr marL="180000" indent="-180000">
              <a:lnSpc>
                <a:spcPts val="2200"/>
              </a:lnSpc>
              <a:spcBef>
                <a:spcPts val="0"/>
              </a:spcBef>
              <a:spcAft>
                <a:spcPts val="1200"/>
              </a:spcAft>
              <a:buClr>
                <a:schemeClr val="accent1"/>
              </a:buClr>
              <a:buFont typeface="Arial" pitchFamily="34" charset="0"/>
              <a:buChar char="•"/>
              <a:defRPr sz="1600">
                <a:solidFill>
                  <a:schemeClr val="accent1"/>
                </a:solidFill>
              </a:defRPr>
            </a:lvl2pPr>
          </a:lstStyle>
          <a:p>
            <a:pPr lvl="0"/>
            <a:r>
              <a:rPr lang="de-DE" dirty="0"/>
              <a:t>Textmasterformat bearbeiten</a:t>
            </a:r>
          </a:p>
          <a:p>
            <a:pPr lvl="1"/>
            <a:r>
              <a:rPr lang="de-DE" dirty="0"/>
              <a:t>…</a:t>
            </a:r>
          </a:p>
        </p:txBody>
      </p:sp>
      <p:sp>
        <p:nvSpPr>
          <p:cNvPr id="6" name="Bildplatzhalter 5"/>
          <p:cNvSpPr>
            <a:spLocks noGrp="1"/>
          </p:cNvSpPr>
          <p:nvPr>
            <p:ph type="pic" sz="quarter" idx="11"/>
          </p:nvPr>
        </p:nvSpPr>
        <p:spPr>
          <a:xfrm>
            <a:off x="958851" y="2133603"/>
            <a:ext cx="2913600" cy="1403389"/>
          </a:xfrm>
        </p:spPr>
        <p:txBody>
          <a:bodyPr lIns="0" tIns="0" rIns="0" bIns="0" anchor="ctr">
            <a:noAutofit/>
          </a:bodyPr>
          <a:lstStyle>
            <a:lvl1pPr marL="0" indent="0" algn="ctr">
              <a:buNone/>
              <a:defRPr/>
            </a:lvl1pPr>
          </a:lstStyle>
          <a:p>
            <a:endParaRPr lang="de-DE" dirty="0"/>
          </a:p>
        </p:txBody>
      </p:sp>
      <p:sp>
        <p:nvSpPr>
          <p:cNvPr id="12" name="Bildplatzhalter 5"/>
          <p:cNvSpPr>
            <a:spLocks noGrp="1"/>
          </p:cNvSpPr>
          <p:nvPr>
            <p:ph type="pic" sz="quarter" idx="12"/>
          </p:nvPr>
        </p:nvSpPr>
        <p:spPr>
          <a:xfrm>
            <a:off x="958851" y="3654718"/>
            <a:ext cx="2913600" cy="2502196"/>
          </a:xfrm>
        </p:spPr>
        <p:txBody>
          <a:bodyPr lIns="0" tIns="0" rIns="0" bIns="0" anchor="ctr">
            <a:noAutofit/>
          </a:bodyPr>
          <a:lstStyle>
            <a:lvl1pPr marL="0" indent="0" algn="ctr">
              <a:buNone/>
              <a:defRPr/>
            </a:lvl1pPr>
          </a:lstStyle>
          <a:p>
            <a:endParaRPr lang="de-DE" dirty="0"/>
          </a:p>
        </p:txBody>
      </p:sp>
    </p:spTree>
    <p:extLst>
      <p:ext uri="{BB962C8B-B14F-4D97-AF65-F5344CB8AC3E}">
        <p14:creationId xmlns:p14="http://schemas.microsoft.com/office/powerpoint/2010/main" val="1680210504"/>
      </p:ext>
    </p:extLst>
  </p:cSld>
  <p:clrMapOvr>
    <a:masterClrMapping/>
  </p:clrMapOvr>
  <mc:AlternateContent xmlns:mc="http://schemas.openxmlformats.org/markup-compatibility/2006" xmlns:p14="http://schemas.microsoft.com/office/powerpoint/2010/main">
    <mc:Choice Requires="p14">
      <p:transition spd="slow" p14:dur="20000" advClick="0" advTm="20000"/>
    </mc:Choice>
    <mc:Fallback xmlns="">
      <p:transition spd="slow" advClick="0" advTm="2000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Organisation mit Icon">
    <p:spTree>
      <p:nvGrpSpPr>
        <p:cNvPr id="1" name=""/>
        <p:cNvGrpSpPr/>
        <p:nvPr/>
      </p:nvGrpSpPr>
      <p:grpSpPr>
        <a:xfrm>
          <a:off x="0" y="0"/>
          <a:ext cx="0" cy="0"/>
          <a:chOff x="0" y="0"/>
          <a:chExt cx="0" cy="0"/>
        </a:xfrm>
      </p:grpSpPr>
      <p:pic>
        <p:nvPicPr>
          <p:cNvPr id="5" name="Grafik 4"/>
          <p:cNvPicPr>
            <a:picLocks noChangeAspect="1"/>
          </p:cNvPicPr>
          <p:nvPr userDrawn="1"/>
        </p:nvPicPr>
        <p:blipFill rotWithShape="1">
          <a:blip r:embed="rId4">
            <a:extLst>
              <a:ext uri="{28A0092B-C50C-407E-A947-70E740481C1C}">
                <a14:useLocalDpi xmlns:a14="http://schemas.microsoft.com/office/drawing/2010/main" val="0"/>
              </a:ext>
            </a:extLst>
          </a:blip>
          <a:srcRect l="15749" r="9560"/>
          <a:stretch/>
        </p:blipFill>
        <p:spPr>
          <a:xfrm>
            <a:off x="1" y="1046771"/>
            <a:ext cx="12192000" cy="751685"/>
          </a:xfrm>
          <a:prstGeom prst="rect">
            <a:avLst/>
          </a:prstGeom>
        </p:spPr>
      </p:pic>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98967846"/>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5124" name="think-cell Folie" r:id="rId5" imgW="360" imgH="360" progId="">
                  <p:embed/>
                </p:oleObj>
              </mc:Choice>
              <mc:Fallback>
                <p:oleObj name="think-cell Folie" r:id="rId5" imgW="360" imgH="360" progId="">
                  <p:embed/>
                  <p:pic>
                    <p:nvPicPr>
                      <p:cNvPr id="8" name="Objek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Grafik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65575" y="191021"/>
            <a:ext cx="2020500" cy="604692"/>
          </a:xfrm>
          <a:prstGeom prst="rect">
            <a:avLst/>
          </a:prstGeom>
        </p:spPr>
      </p:pic>
      <p:sp>
        <p:nvSpPr>
          <p:cNvPr id="2" name="Titel 1"/>
          <p:cNvSpPr>
            <a:spLocks noGrp="1"/>
          </p:cNvSpPr>
          <p:nvPr>
            <p:ph type="title" hasCustomPrompt="1"/>
          </p:nvPr>
        </p:nvSpPr>
        <p:spPr>
          <a:xfrm>
            <a:off x="958852" y="1199447"/>
            <a:ext cx="9302749" cy="446020"/>
          </a:xfrm>
        </p:spPr>
        <p:txBody>
          <a:bodyPr wrap="square" lIns="576000" tIns="0" rIns="0" bIns="0" anchor="b">
            <a:spAutoFit/>
          </a:bodyPr>
          <a:lstStyle>
            <a:lvl1pPr>
              <a:lnSpc>
                <a:spcPts val="3700"/>
              </a:lnSpc>
              <a:defRPr sz="3000">
                <a:solidFill>
                  <a:schemeClr val="accent1"/>
                </a:solidFill>
                <a:latin typeface="Times" pitchFamily="18" charset="0"/>
                <a:cs typeface="Times" pitchFamily="18" charset="0"/>
              </a:defRPr>
            </a:lvl1pPr>
          </a:lstStyle>
          <a:p>
            <a:r>
              <a:rPr lang="de-DE" dirty="0"/>
              <a:t>Titelmasterformat bearbeiten</a:t>
            </a:r>
          </a:p>
        </p:txBody>
      </p:sp>
      <p:sp>
        <p:nvSpPr>
          <p:cNvPr id="4" name="Textplatzhalter 3"/>
          <p:cNvSpPr>
            <a:spLocks noGrp="1"/>
          </p:cNvSpPr>
          <p:nvPr>
            <p:ph type="body" sz="quarter" idx="10"/>
          </p:nvPr>
        </p:nvSpPr>
        <p:spPr>
          <a:xfrm>
            <a:off x="958853" y="2133600"/>
            <a:ext cx="10272183" cy="4032250"/>
          </a:xfrm>
        </p:spPr>
        <p:txBody>
          <a:bodyPr lIns="0" tIns="0" rIns="0" bIns="0">
            <a:noAutofit/>
          </a:bodyPr>
          <a:lstStyle>
            <a:lvl1pPr marL="0" indent="0">
              <a:lnSpc>
                <a:spcPts val="2200"/>
              </a:lnSpc>
              <a:spcBef>
                <a:spcPts val="0"/>
              </a:spcBef>
              <a:spcAft>
                <a:spcPts val="1200"/>
              </a:spcAft>
              <a:buNone/>
              <a:defRPr sz="1500" b="0">
                <a:solidFill>
                  <a:schemeClr val="accent1"/>
                </a:solidFill>
                <a:latin typeface="Arial" pitchFamily="34" charset="0"/>
                <a:cs typeface="Arial" pitchFamily="34" charset="0"/>
              </a:defRPr>
            </a:lvl1pPr>
            <a:lvl2pPr marL="180000" indent="-180000">
              <a:lnSpc>
                <a:spcPts val="2200"/>
              </a:lnSpc>
              <a:spcBef>
                <a:spcPts val="0"/>
              </a:spcBef>
              <a:spcAft>
                <a:spcPts val="1200"/>
              </a:spcAft>
              <a:buClr>
                <a:schemeClr val="accent1"/>
              </a:buClr>
              <a:buFont typeface="Arial" pitchFamily="34" charset="0"/>
              <a:buChar char="•"/>
              <a:defRPr sz="1600">
                <a:solidFill>
                  <a:schemeClr val="accent1"/>
                </a:solidFill>
              </a:defRPr>
            </a:lvl2pPr>
            <a:lvl3pPr marL="468000" indent="-252000">
              <a:lnSpc>
                <a:spcPts val="2200"/>
              </a:lnSpc>
              <a:spcBef>
                <a:spcPts val="0"/>
              </a:spcBef>
              <a:spcAft>
                <a:spcPts val="1200"/>
              </a:spcAft>
              <a:buClr>
                <a:schemeClr val="accent2"/>
              </a:buClr>
              <a:buSzPct val="120000"/>
              <a:buFont typeface="Wingdings 3" charset="2"/>
              <a:buChar char="➔"/>
              <a:defRPr sz="1600">
                <a:solidFill>
                  <a:schemeClr val="accent2"/>
                </a:solidFill>
              </a:defRPr>
            </a:lvl3pPr>
          </a:lstStyle>
          <a:p>
            <a:pPr lvl="0"/>
            <a:r>
              <a:rPr lang="de-DE" dirty="0"/>
              <a:t>Textmasterformat bearbeiten</a:t>
            </a:r>
          </a:p>
          <a:p>
            <a:pPr lvl="1"/>
            <a:r>
              <a:rPr lang="de-DE" dirty="0"/>
              <a:t>…</a:t>
            </a:r>
          </a:p>
          <a:p>
            <a:pPr lvl="2"/>
            <a:r>
              <a:rPr lang="de-DE" dirty="0"/>
              <a:t>…</a:t>
            </a:r>
          </a:p>
        </p:txBody>
      </p:sp>
    </p:spTree>
    <p:extLst>
      <p:ext uri="{BB962C8B-B14F-4D97-AF65-F5344CB8AC3E}">
        <p14:creationId xmlns:p14="http://schemas.microsoft.com/office/powerpoint/2010/main" val="1910511464"/>
      </p:ext>
    </p:extLst>
  </p:cSld>
  <p:clrMapOvr>
    <a:masterClrMapping/>
  </p:clrMapOvr>
  <mc:AlternateContent xmlns:mc="http://schemas.openxmlformats.org/markup-compatibility/2006" xmlns:p14="http://schemas.microsoft.com/office/powerpoint/2010/main">
    <mc:Choice Requires="p14">
      <p:transition spd="slow" p14:dur="20000" advClick="0" advTm="20000"/>
    </mc:Choice>
    <mc:Fallback xmlns="">
      <p:transition spd="slow" advClick="0" advTm="2000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Schlussfoli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16473207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6148" name="think-cell Folie" r:id="rId4" imgW="360" imgH="360" progId="">
                  <p:embed/>
                </p:oleObj>
              </mc:Choice>
              <mc:Fallback>
                <p:oleObj name="think-cell Folie" r:id="rId4" imgW="360" imgH="360" progId="">
                  <p:embed/>
                  <p:pic>
                    <p:nvPicPr>
                      <p:cNvPr id="8" name="Objek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hteck 8"/>
          <p:cNvSpPr/>
          <p:nvPr userDrawn="1"/>
        </p:nvSpPr>
        <p:spPr>
          <a:xfrm>
            <a:off x="240000" y="180000"/>
            <a:ext cx="11760000" cy="117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noProof="0" dirty="0">
              <a:latin typeface="Arial"/>
            </a:endParaRPr>
          </a:p>
        </p:txBody>
      </p:sp>
      <p:pic>
        <p:nvPicPr>
          <p:cNvPr id="10" name="Grafik 9"/>
          <p:cNvPicPr>
            <a:picLocks noChangeAspect="1"/>
          </p:cNvPicPr>
          <p:nvPr userDrawn="1"/>
        </p:nvPicPr>
        <p:blipFill rotWithShape="1">
          <a:blip r:embed="rId6">
            <a:extLst>
              <a:ext uri="{28A0092B-C50C-407E-A947-70E740481C1C}">
                <a14:useLocalDpi xmlns:a14="http://schemas.microsoft.com/office/drawing/2010/main" val="0"/>
              </a:ext>
            </a:extLst>
          </a:blip>
          <a:srcRect l="11239" t="13382" r="11145" b="18159"/>
          <a:stretch/>
        </p:blipFill>
        <p:spPr>
          <a:xfrm>
            <a:off x="431371" y="194113"/>
            <a:ext cx="3718560" cy="723900"/>
          </a:xfrm>
          <a:prstGeom prst="rect">
            <a:avLst/>
          </a:prstGeom>
        </p:spPr>
      </p:pic>
      <p:pic>
        <p:nvPicPr>
          <p:cNvPr id="11" name="Grafik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711957" y="180253"/>
            <a:ext cx="2016224" cy="603413"/>
          </a:xfrm>
          <a:prstGeom prst="rect">
            <a:avLst/>
          </a:prstGeom>
        </p:spPr>
      </p:pic>
      <p:sp>
        <p:nvSpPr>
          <p:cNvPr id="16" name="Titel 15"/>
          <p:cNvSpPr>
            <a:spLocks noGrp="1"/>
          </p:cNvSpPr>
          <p:nvPr>
            <p:ph type="title"/>
          </p:nvPr>
        </p:nvSpPr>
        <p:spPr>
          <a:xfrm>
            <a:off x="960000" y="2711156"/>
            <a:ext cx="10272000" cy="461665"/>
          </a:xfrm>
        </p:spPr>
        <p:txBody>
          <a:bodyPr lIns="0" tIns="0" rIns="0" bIns="0" anchor="b">
            <a:spAutoFit/>
          </a:bodyPr>
          <a:lstStyle>
            <a:lvl1pPr>
              <a:lnSpc>
                <a:spcPts val="3600"/>
              </a:lnSpc>
              <a:defRPr sz="3000" b="1">
                <a:solidFill>
                  <a:schemeClr val="accent1"/>
                </a:solidFill>
              </a:defRPr>
            </a:lvl1pPr>
          </a:lstStyle>
          <a:p>
            <a:r>
              <a:rPr lang="de-DE" noProof="0" dirty="0"/>
              <a:t>Titelmasterformat durch Klicken bearbeiten</a:t>
            </a:r>
          </a:p>
        </p:txBody>
      </p:sp>
      <p:sp>
        <p:nvSpPr>
          <p:cNvPr id="20" name="Bildplatzhalter 19"/>
          <p:cNvSpPr>
            <a:spLocks noGrp="1"/>
          </p:cNvSpPr>
          <p:nvPr>
            <p:ph type="pic" sz="quarter" idx="10" hasCustomPrompt="1"/>
          </p:nvPr>
        </p:nvSpPr>
        <p:spPr>
          <a:xfrm>
            <a:off x="9840001" y="253857"/>
            <a:ext cx="1862667" cy="609600"/>
          </a:xfrm>
          <a:solidFill>
            <a:schemeClr val="accent4">
              <a:lumMod val="20000"/>
              <a:lumOff val="80000"/>
            </a:schemeClr>
          </a:solidFill>
        </p:spPr>
        <p:txBody>
          <a:bodyPr anchor="ctr">
            <a:normAutofit/>
          </a:bodyPr>
          <a:lstStyle>
            <a:lvl1pPr marL="0" indent="0" algn="ctr">
              <a:buNone/>
              <a:defRPr sz="1200"/>
            </a:lvl1pPr>
          </a:lstStyle>
          <a:p>
            <a:r>
              <a:rPr lang="de-DE" noProof="0" dirty="0"/>
              <a:t>Logo</a:t>
            </a:r>
          </a:p>
        </p:txBody>
      </p:sp>
      <p:pic>
        <p:nvPicPr>
          <p:cNvPr id="2" name="Grafik 1"/>
          <p:cNvPicPr>
            <a:picLocks noChangeAspect="1"/>
          </p:cNvPicPr>
          <p:nvPr userDrawn="1"/>
        </p:nvPicPr>
        <p:blipFill rotWithShape="1">
          <a:blip r:embed="rId8">
            <a:extLst>
              <a:ext uri="{28A0092B-C50C-407E-A947-70E740481C1C}">
                <a14:useLocalDpi xmlns:a14="http://schemas.microsoft.com/office/drawing/2010/main" val="0"/>
              </a:ext>
            </a:extLst>
          </a:blip>
          <a:srcRect l="32761" r="5872"/>
          <a:stretch/>
        </p:blipFill>
        <p:spPr>
          <a:xfrm>
            <a:off x="0" y="3457576"/>
            <a:ext cx="12192000" cy="644710"/>
          </a:xfrm>
          <a:prstGeom prst="rect">
            <a:avLst/>
          </a:prstGeom>
        </p:spPr>
      </p:pic>
      <p:sp>
        <p:nvSpPr>
          <p:cNvPr id="13" name="Untertitel 2"/>
          <p:cNvSpPr>
            <a:spLocks noGrp="1"/>
          </p:cNvSpPr>
          <p:nvPr>
            <p:ph type="subTitle" idx="1"/>
          </p:nvPr>
        </p:nvSpPr>
        <p:spPr>
          <a:xfrm>
            <a:off x="958851" y="3211936"/>
            <a:ext cx="10272183" cy="415498"/>
          </a:xfrm>
        </p:spPr>
        <p:txBody>
          <a:bodyPr wrap="square" lIns="0" tIns="0" rIns="0" bIns="0">
            <a:spAutoFit/>
          </a:bodyPr>
          <a:lstStyle>
            <a:lvl1pPr marL="0" indent="0" algn="l">
              <a:buNone/>
              <a:defRPr sz="3000" b="0">
                <a:solidFill>
                  <a:schemeClr val="accent1"/>
                </a:solidFill>
                <a:latin typeface="Time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a:t>Formatvorlage des Untertitelmasters durch Klicken bearbeiten</a:t>
            </a:r>
          </a:p>
        </p:txBody>
      </p:sp>
    </p:spTree>
    <p:extLst>
      <p:ext uri="{BB962C8B-B14F-4D97-AF65-F5344CB8AC3E}">
        <p14:creationId xmlns:p14="http://schemas.microsoft.com/office/powerpoint/2010/main" val="2392315617"/>
      </p:ext>
    </p:extLst>
  </p:cSld>
  <p:clrMapOvr>
    <a:masterClrMapping/>
  </p:clrMapOvr>
  <mc:AlternateContent xmlns:mc="http://schemas.openxmlformats.org/markup-compatibility/2006" xmlns:p14="http://schemas.microsoft.com/office/powerpoint/2010/main">
    <mc:Choice Requires="p14">
      <p:transition spd="slow" p14:dur="20000" advClick="0" advTm="20000"/>
    </mc:Choice>
    <mc:Fallback xmlns="">
      <p:transition spd="slow" advClick="0" advTm="2000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ido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599755" y="320284"/>
            <a:ext cx="11422911" cy="720725"/>
          </a:xfrm>
        </p:spPr>
        <p:txBody>
          <a:bodyPr/>
          <a:lstStyle>
            <a:lvl1pPr>
              <a:defRPr/>
            </a:lvl1pPr>
          </a:lstStyle>
          <a:p>
            <a:r>
              <a:rPr lang="es-ES"/>
              <a:t>Añadir título haciendo clic</a:t>
            </a:r>
            <a:endParaRPr lang="es-ES" dirty="0"/>
          </a:p>
        </p:txBody>
      </p:sp>
      <p:sp>
        <p:nvSpPr>
          <p:cNvPr id="6" name="Textplatzhalter 7">
            <a:extLst>
              <a:ext uri="{FF2B5EF4-FFF2-40B4-BE49-F238E27FC236}">
                <a16:creationId xmlns:a16="http://schemas.microsoft.com/office/drawing/2014/main" id="{F0E6115A-0138-4831-8CBC-F3B86D4660B2}"/>
              </a:ext>
            </a:extLst>
          </p:cNvPr>
          <p:cNvSpPr>
            <a:spLocks noGrp="1"/>
          </p:cNvSpPr>
          <p:nvPr>
            <p:ph type="body" sz="quarter" idx="13" hasCustomPrompt="1"/>
          </p:nvPr>
        </p:nvSpPr>
        <p:spPr bwMode="gray">
          <a:xfrm>
            <a:off x="599757" y="1361295"/>
            <a:ext cx="9563579" cy="4660625"/>
          </a:xfrm>
        </p:spPr>
        <p:txBody>
          <a:bodyPr/>
          <a:lstStyle>
            <a:lvl1pPr marL="304798" marR="0" indent="-304798" algn="l" defTabSz="914392" rtl="0" eaLnBrk="1" fontAlgn="auto" latinLnBrk="0" hangingPunct="1">
              <a:lnSpc>
                <a:spcPct val="90000"/>
              </a:lnSpc>
              <a:spcBef>
                <a:spcPts val="2400"/>
              </a:spcBef>
              <a:spcAft>
                <a:spcPts val="0"/>
              </a:spcAft>
              <a:buClrTx/>
              <a:buSzTx/>
              <a:buFont typeface="+mj-lt"/>
              <a:buAutoNum type="arabicPeriod"/>
              <a:tabLst/>
              <a:defRPr/>
            </a:lvl1pPr>
          </a:lstStyle>
          <a:p>
            <a:pPr marL="304798" marR="0" lvl="0" indent="-304798" algn="l" defTabSz="914392" rtl="0" eaLnBrk="1" fontAlgn="auto" latinLnBrk="0" hangingPunct="1">
              <a:lnSpc>
                <a:spcPct val="90000"/>
              </a:lnSpc>
              <a:spcBef>
                <a:spcPts val="2400"/>
              </a:spcBef>
              <a:spcAft>
                <a:spcPts val="0"/>
              </a:spcAft>
              <a:buClrTx/>
              <a:buSzTx/>
              <a:buFont typeface="+mj-lt"/>
              <a:buAutoNum type="arabicPeriod"/>
              <a:tabLst/>
              <a:defRPr/>
            </a:pPr>
            <a:r>
              <a:rPr lang="es-ES"/>
              <a:t>Añadir texto haciendo clic</a:t>
            </a:r>
            <a:endParaRPr lang="es-ES" dirty="0"/>
          </a:p>
        </p:txBody>
      </p:sp>
      <p:sp>
        <p:nvSpPr>
          <p:cNvPr id="3" name="Datumsplatzhalter 2">
            <a:extLst>
              <a:ext uri="{FF2B5EF4-FFF2-40B4-BE49-F238E27FC236}">
                <a16:creationId xmlns:a16="http://schemas.microsoft.com/office/drawing/2014/main" id="{7AEB42F9-EE39-4194-A5A8-F23E1882469C}"/>
              </a:ext>
            </a:extLst>
          </p:cNvPr>
          <p:cNvSpPr>
            <a:spLocks noGrp="1"/>
          </p:cNvSpPr>
          <p:nvPr>
            <p:ph type="dt" sz="half" idx="14"/>
          </p:nvPr>
        </p:nvSpPr>
        <p:spPr/>
        <p:txBody>
          <a:bodyPr/>
          <a:lstStyle/>
          <a:p>
            <a:r>
              <a:rPr lang="es-ES"/>
              <a:t>14.02.2019</a:t>
            </a:r>
            <a:endParaRPr lang="es-ES" dirty="0"/>
          </a:p>
        </p:txBody>
      </p:sp>
      <p:sp>
        <p:nvSpPr>
          <p:cNvPr id="4" name="Fußzeilenplatzhalter 3">
            <a:extLst>
              <a:ext uri="{FF2B5EF4-FFF2-40B4-BE49-F238E27FC236}">
                <a16:creationId xmlns:a16="http://schemas.microsoft.com/office/drawing/2014/main" id="{A6124796-D25C-4B70-8909-7028ABA56FF8}"/>
              </a:ext>
            </a:extLst>
          </p:cNvPr>
          <p:cNvSpPr>
            <a:spLocks noGrp="1"/>
          </p:cNvSpPr>
          <p:nvPr>
            <p:ph type="ftr" sz="quarter" idx="15"/>
          </p:nvPr>
        </p:nvSpPr>
        <p:spPr/>
        <p:txBody>
          <a:bodyPr/>
          <a:lstStyle/>
          <a:p>
            <a:r>
              <a:rPr lang="es-ES"/>
              <a:t>Título de la presentación</a:t>
            </a:r>
            <a:endParaRPr lang="es-ES" dirty="0"/>
          </a:p>
        </p:txBody>
      </p:sp>
      <p:sp>
        <p:nvSpPr>
          <p:cNvPr id="5" name="Foliennummernplatzhalter 4">
            <a:extLst>
              <a:ext uri="{FF2B5EF4-FFF2-40B4-BE49-F238E27FC236}">
                <a16:creationId xmlns:a16="http://schemas.microsoft.com/office/drawing/2014/main" id="{CD3C66A2-6570-426B-86B9-FC6B53BCCFA4}"/>
              </a:ext>
            </a:extLst>
          </p:cNvPr>
          <p:cNvSpPr>
            <a:spLocks noGrp="1"/>
          </p:cNvSpPr>
          <p:nvPr>
            <p:ph type="sldNum" sz="quarter" idx="16"/>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1116619068"/>
      </p:ext>
    </p:extLst>
  </p:cSld>
  <p:clrMapOvr>
    <a:masterClrMapping/>
  </p:clrMapOvr>
  <p:transition>
    <p:fade/>
  </p:transition>
  <p:extLst>
    <p:ext uri="{DCECCB84-F9BA-43D5-87BE-67443E8EF086}">
      <p15:sldGuideLst xmlns:p15="http://schemas.microsoft.com/office/powerpoint/2012/main">
        <p15:guide id="1" orient="horz" pos="379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idos (alter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599755" y="320284"/>
            <a:ext cx="11422911" cy="720725"/>
          </a:xfrm>
        </p:spPr>
        <p:txBody>
          <a:bodyPr/>
          <a:lstStyle>
            <a:lvl1pPr>
              <a:defRPr/>
            </a:lvl1pPr>
          </a:lstStyle>
          <a:p>
            <a:r>
              <a:rPr lang="es-ES"/>
              <a:t>Añadir título haciendo clic</a:t>
            </a:r>
            <a:endParaRPr lang="es-ES" dirty="0"/>
          </a:p>
        </p:txBody>
      </p:sp>
      <p:grpSp>
        <p:nvGrpSpPr>
          <p:cNvPr id="6" name="Key Visual">
            <a:extLst>
              <a:ext uri="{FF2B5EF4-FFF2-40B4-BE49-F238E27FC236}">
                <a16:creationId xmlns:a16="http://schemas.microsoft.com/office/drawing/2014/main" id="{77156747-85E7-4ED4-B2ED-42ABA70FA613}"/>
              </a:ext>
            </a:extLst>
          </p:cNvPr>
          <p:cNvGrpSpPr/>
          <p:nvPr userDrawn="1"/>
        </p:nvGrpSpPr>
        <p:grpSpPr bwMode="gray">
          <a:xfrm flipV="1">
            <a:off x="164180" y="5311121"/>
            <a:ext cx="3094437" cy="822639"/>
            <a:chOff x="4846637" y="119557"/>
            <a:chExt cx="3783013" cy="1005693"/>
          </a:xfrm>
        </p:grpSpPr>
        <p:sp>
          <p:nvSpPr>
            <p:cNvPr id="7" name="Freihandform: Form 6">
              <a:extLst>
                <a:ext uri="{FF2B5EF4-FFF2-40B4-BE49-F238E27FC236}">
                  <a16:creationId xmlns:a16="http://schemas.microsoft.com/office/drawing/2014/main" id="{2E6C23C4-9083-4866-858D-0C04644D965B}"/>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2"/>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Freihandform: Form 7">
              <a:extLst>
                <a:ext uri="{FF2B5EF4-FFF2-40B4-BE49-F238E27FC236}">
                  <a16:creationId xmlns:a16="http://schemas.microsoft.com/office/drawing/2014/main" id="{FB0BB156-07F2-4B83-B5A7-E91DE0017F5B}"/>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9" name="Freihandform: Form 8">
              <a:extLst>
                <a:ext uri="{FF2B5EF4-FFF2-40B4-BE49-F238E27FC236}">
                  <a16:creationId xmlns:a16="http://schemas.microsoft.com/office/drawing/2014/main" id="{86502DB2-D1D5-44BB-955E-FA20933B0C5A}"/>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10" name="Freihandform: Form 9">
              <a:extLst>
                <a:ext uri="{FF2B5EF4-FFF2-40B4-BE49-F238E27FC236}">
                  <a16:creationId xmlns:a16="http://schemas.microsoft.com/office/drawing/2014/main" id="{A25DFF6E-FE1D-49A8-A873-770951547FF1}"/>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sp>
          <p:nvSpPr>
            <p:cNvPr id="11" name="Freihandform: Form 10">
              <a:extLst>
                <a:ext uri="{FF2B5EF4-FFF2-40B4-BE49-F238E27FC236}">
                  <a16:creationId xmlns:a16="http://schemas.microsoft.com/office/drawing/2014/main" id="{8E38456C-C414-4CEB-A953-0F72775B0C83}"/>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p>
          </p:txBody>
        </p:sp>
      </p:grpSp>
      <p:sp>
        <p:nvSpPr>
          <p:cNvPr id="12" name="Textplatzhalter 7">
            <a:extLst>
              <a:ext uri="{FF2B5EF4-FFF2-40B4-BE49-F238E27FC236}">
                <a16:creationId xmlns:a16="http://schemas.microsoft.com/office/drawing/2014/main" id="{32E1886A-3475-4E66-B3BF-1AD48A2030B2}"/>
              </a:ext>
            </a:extLst>
          </p:cNvPr>
          <p:cNvSpPr>
            <a:spLocks noGrp="1"/>
          </p:cNvSpPr>
          <p:nvPr>
            <p:ph type="body" sz="quarter" idx="13" hasCustomPrompt="1"/>
          </p:nvPr>
        </p:nvSpPr>
        <p:spPr bwMode="gray">
          <a:xfrm>
            <a:off x="599757" y="1361295"/>
            <a:ext cx="9563579" cy="3746844"/>
          </a:xfrm>
        </p:spPr>
        <p:txBody>
          <a:bodyPr/>
          <a:lstStyle>
            <a:lvl1pPr marL="304798" marR="0" indent="-304798" algn="l" defTabSz="914392" rtl="0" eaLnBrk="1" fontAlgn="auto" latinLnBrk="0" hangingPunct="1">
              <a:lnSpc>
                <a:spcPct val="90000"/>
              </a:lnSpc>
              <a:spcBef>
                <a:spcPts val="2400"/>
              </a:spcBef>
              <a:spcAft>
                <a:spcPts val="0"/>
              </a:spcAft>
              <a:buClrTx/>
              <a:buSzTx/>
              <a:buFont typeface="+mj-lt"/>
              <a:buAutoNum type="arabicPeriod"/>
              <a:tabLst/>
              <a:defRPr/>
            </a:lvl1pPr>
          </a:lstStyle>
          <a:p>
            <a:pPr marL="304798" marR="0" lvl="0" indent="-304798" algn="l" defTabSz="914392" rtl="0" eaLnBrk="1" fontAlgn="auto" latinLnBrk="0" hangingPunct="1">
              <a:lnSpc>
                <a:spcPct val="90000"/>
              </a:lnSpc>
              <a:spcBef>
                <a:spcPts val="2400"/>
              </a:spcBef>
              <a:spcAft>
                <a:spcPts val="0"/>
              </a:spcAft>
              <a:buClrTx/>
              <a:buSzTx/>
              <a:buFont typeface="+mj-lt"/>
              <a:buAutoNum type="arabicPeriod"/>
              <a:tabLst/>
              <a:defRPr/>
            </a:pPr>
            <a:r>
              <a:rPr lang="es-ES"/>
              <a:t>Añadir texto haciendo clic</a:t>
            </a:r>
            <a:endParaRPr lang="es-ES" dirty="0"/>
          </a:p>
        </p:txBody>
      </p:sp>
      <p:sp>
        <p:nvSpPr>
          <p:cNvPr id="3" name="Datumsplatzhalter 2">
            <a:extLst>
              <a:ext uri="{FF2B5EF4-FFF2-40B4-BE49-F238E27FC236}">
                <a16:creationId xmlns:a16="http://schemas.microsoft.com/office/drawing/2014/main" id="{62342A86-691A-4326-8252-6427F2E2E82C}"/>
              </a:ext>
            </a:extLst>
          </p:cNvPr>
          <p:cNvSpPr>
            <a:spLocks noGrp="1"/>
          </p:cNvSpPr>
          <p:nvPr>
            <p:ph type="dt" sz="half" idx="14"/>
          </p:nvPr>
        </p:nvSpPr>
        <p:spPr/>
        <p:txBody>
          <a:bodyPr/>
          <a:lstStyle/>
          <a:p>
            <a:r>
              <a:rPr lang="es-ES"/>
              <a:t>14.02.2019</a:t>
            </a:r>
            <a:endParaRPr lang="es-ES" dirty="0"/>
          </a:p>
        </p:txBody>
      </p:sp>
      <p:sp>
        <p:nvSpPr>
          <p:cNvPr id="4" name="Fußzeilenplatzhalter 3">
            <a:extLst>
              <a:ext uri="{FF2B5EF4-FFF2-40B4-BE49-F238E27FC236}">
                <a16:creationId xmlns:a16="http://schemas.microsoft.com/office/drawing/2014/main" id="{F5053B2E-0F43-44B6-8EA5-07E2886E42B5}"/>
              </a:ext>
            </a:extLst>
          </p:cNvPr>
          <p:cNvSpPr>
            <a:spLocks noGrp="1"/>
          </p:cNvSpPr>
          <p:nvPr>
            <p:ph type="ftr" sz="quarter" idx="15"/>
          </p:nvPr>
        </p:nvSpPr>
        <p:spPr/>
        <p:txBody>
          <a:bodyPr/>
          <a:lstStyle/>
          <a:p>
            <a:r>
              <a:rPr lang="es-ES"/>
              <a:t>Título de la presentación</a:t>
            </a:r>
            <a:endParaRPr lang="es-ES" dirty="0"/>
          </a:p>
        </p:txBody>
      </p:sp>
      <p:sp>
        <p:nvSpPr>
          <p:cNvPr id="5" name="Foliennummernplatzhalter 4">
            <a:extLst>
              <a:ext uri="{FF2B5EF4-FFF2-40B4-BE49-F238E27FC236}">
                <a16:creationId xmlns:a16="http://schemas.microsoft.com/office/drawing/2014/main" id="{6388B433-E536-4FD9-8D5D-412BCD853BD4}"/>
              </a:ext>
            </a:extLst>
          </p:cNvPr>
          <p:cNvSpPr>
            <a:spLocks noGrp="1"/>
          </p:cNvSpPr>
          <p:nvPr>
            <p:ph type="sldNum" sz="quarter" idx="16"/>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2287411557"/>
      </p:ext>
    </p:extLst>
  </p:cSld>
  <p:clrMapOvr>
    <a:masterClrMapping/>
  </p:clrMapOvr>
  <p:transition>
    <p:fade/>
  </p:transition>
  <p:extLst>
    <p:ext uri="{DCECCB84-F9BA-43D5-87BE-67443E8EF086}">
      <p15:sldGuideLst xmlns:p15="http://schemas.microsoft.com/office/powerpoint/2012/main">
        <p15:guide id="1" orient="horz" pos="379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cabezado sección b/n">
    <p:spTree>
      <p:nvGrpSpPr>
        <p:cNvPr id="1" name=""/>
        <p:cNvGrpSpPr/>
        <p:nvPr/>
      </p:nvGrpSpPr>
      <p:grpSpPr>
        <a:xfrm>
          <a:off x="0" y="0"/>
          <a:ext cx="0" cy="0"/>
          <a:chOff x="0" y="0"/>
          <a:chExt cx="0" cy="0"/>
        </a:xfrm>
      </p:grpSpPr>
      <p:pic>
        <p:nvPicPr>
          <p:cNvPr id="18" name="Grafik 17">
            <a:extLst>
              <a:ext uri="{FF2B5EF4-FFF2-40B4-BE49-F238E27FC236}">
                <a16:creationId xmlns:a16="http://schemas.microsoft.com/office/drawing/2014/main" id="{DF58C217-C4E2-448E-B6B5-E56CEFB6D358}"/>
              </a:ext>
            </a:extLst>
          </p:cNvPr>
          <p:cNvPicPr>
            <a:picLocks/>
          </p:cNvPicPr>
          <p:nvPr userDrawn="1"/>
        </p:nvPicPr>
        <p:blipFill rotWithShape="1">
          <a:blip r:embed="rId2"/>
          <a:srcRect t="234" b="7466"/>
          <a:stretch/>
        </p:blipFill>
        <p:spPr bwMode="gray">
          <a:xfrm>
            <a:off x="164183" y="165101"/>
            <a:ext cx="11858487" cy="5968659"/>
          </a:xfrm>
          <a:prstGeom prst="rect">
            <a:avLst/>
          </a:prstGeom>
        </p:spPr>
      </p:pic>
      <p:pic>
        <p:nvPicPr>
          <p:cNvPr id="20" name="Grafik 19" descr="Ein Bild, das Säge enthält.&#10;&#10;Automatisch generierte Beschreibung">
            <a:extLst>
              <a:ext uri="{FF2B5EF4-FFF2-40B4-BE49-F238E27FC236}">
                <a16:creationId xmlns:a16="http://schemas.microsoft.com/office/drawing/2014/main" id="{BCF144E3-F322-4496-87EE-8035011D1AB8}"/>
              </a:ext>
            </a:extLst>
          </p:cNvPr>
          <p:cNvPicPr>
            <a:picLocks noChangeAspect="1"/>
          </p:cNvPicPr>
          <p:nvPr userDrawn="1"/>
        </p:nvPicPr>
        <p:blipFill>
          <a:blip r:embed="rId3"/>
          <a:stretch>
            <a:fillRect/>
          </a:stretch>
        </p:blipFill>
        <p:spPr bwMode="gray">
          <a:xfrm>
            <a:off x="164180" y="2093676"/>
            <a:ext cx="11860800" cy="4040085"/>
          </a:xfrm>
          <a:prstGeom prst="rect">
            <a:avLst/>
          </a:prstGeom>
        </p:spPr>
      </p:pic>
      <p:sp>
        <p:nvSpPr>
          <p:cNvPr id="19" name="Subline">
            <a:extLst>
              <a:ext uri="{FF2B5EF4-FFF2-40B4-BE49-F238E27FC236}">
                <a16:creationId xmlns:a16="http://schemas.microsoft.com/office/drawing/2014/main" id="{31A5E120-96AF-40F6-98D7-8A2FD24C3270}"/>
              </a:ext>
            </a:extLst>
          </p:cNvPr>
          <p:cNvSpPr>
            <a:spLocks noGrp="1"/>
          </p:cNvSpPr>
          <p:nvPr>
            <p:ph type="body" sz="quarter" idx="10" hasCustomPrompt="1"/>
          </p:nvPr>
        </p:nvSpPr>
        <p:spPr bwMode="gray">
          <a:xfrm>
            <a:off x="933134" y="4938866"/>
            <a:ext cx="10627783" cy="292388"/>
          </a:xfrm>
        </p:spPr>
        <p:txBody>
          <a:bodyPr>
            <a:spAutoFit/>
          </a:bodyPr>
          <a:lstStyle>
            <a:lvl1pPr marL="0" indent="0">
              <a:lnSpc>
                <a:spcPct val="95000"/>
              </a:lnSpc>
              <a:spcBef>
                <a:spcPts val="1600"/>
              </a:spcBef>
              <a:spcAft>
                <a:spcPts val="0"/>
              </a:spcAft>
              <a:buNone/>
              <a:defRPr sz="2000">
                <a:solidFill>
                  <a:schemeClr val="tx1"/>
                </a:solidFill>
              </a:defRPr>
            </a:lvl1pPr>
          </a:lstStyle>
          <a:p>
            <a:r>
              <a:rPr lang="es-ES" dirty="0"/>
              <a:t>Este es el subtítulo</a:t>
            </a:r>
          </a:p>
        </p:txBody>
      </p:sp>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933131" y="3793153"/>
            <a:ext cx="10628948" cy="960263"/>
          </a:xfrm>
          <a:prstGeom prst="rect">
            <a:avLst/>
          </a:prstGeom>
        </p:spPr>
        <p:txBody>
          <a:bodyPr wrap="square">
            <a:spAutoFit/>
          </a:bodyPr>
          <a:lstStyle>
            <a:lvl1pPr>
              <a:defRPr sz="3467" b="1">
                <a:solidFill>
                  <a:schemeClr val="tx1"/>
                </a:solidFill>
              </a:defRPr>
            </a:lvl1pPr>
          </a:lstStyle>
          <a:p>
            <a:r>
              <a:rPr lang="es-ES" dirty="0"/>
              <a:t>Diapositiva de encabezado de sección</a:t>
            </a:r>
            <a:br>
              <a:rPr lang="es-ES" dirty="0"/>
            </a:br>
            <a:r>
              <a:rPr lang="es-ES" dirty="0"/>
              <a:t>con el </a:t>
            </a:r>
            <a:r>
              <a:rPr lang="es-ES" i="1" dirty="0"/>
              <a:t>key visual</a:t>
            </a:r>
            <a:r>
              <a:rPr lang="es-ES" dirty="0"/>
              <a:t> (diseño base) de la GIZ en b/n</a:t>
            </a:r>
          </a:p>
        </p:txBody>
      </p:sp>
      <p:sp>
        <p:nvSpPr>
          <p:cNvPr id="2" name="Datumsplatzhalter 1">
            <a:extLst>
              <a:ext uri="{FF2B5EF4-FFF2-40B4-BE49-F238E27FC236}">
                <a16:creationId xmlns:a16="http://schemas.microsoft.com/office/drawing/2014/main" id="{9411433D-A53F-4475-BFB1-401487D18F1B}"/>
              </a:ext>
            </a:extLst>
          </p:cNvPr>
          <p:cNvSpPr>
            <a:spLocks noGrp="1"/>
          </p:cNvSpPr>
          <p:nvPr>
            <p:ph type="dt" sz="half" idx="11"/>
          </p:nvPr>
        </p:nvSpPr>
        <p:spPr/>
        <p:txBody>
          <a:bodyPr/>
          <a:lstStyle/>
          <a:p>
            <a:r>
              <a:rPr lang="es-ES"/>
              <a:t>14.02.2019</a:t>
            </a:r>
            <a:endParaRPr lang="es-ES" dirty="0"/>
          </a:p>
        </p:txBody>
      </p:sp>
      <p:sp>
        <p:nvSpPr>
          <p:cNvPr id="3" name="Fußzeilenplatzhalter 2">
            <a:extLst>
              <a:ext uri="{FF2B5EF4-FFF2-40B4-BE49-F238E27FC236}">
                <a16:creationId xmlns:a16="http://schemas.microsoft.com/office/drawing/2014/main" id="{475F49D5-68FF-44AE-9C27-04A9E8C74BAF}"/>
              </a:ext>
            </a:extLst>
          </p:cNvPr>
          <p:cNvSpPr>
            <a:spLocks noGrp="1"/>
          </p:cNvSpPr>
          <p:nvPr>
            <p:ph type="ftr" sz="quarter" idx="12"/>
          </p:nvPr>
        </p:nvSpPr>
        <p:spPr/>
        <p:txBody>
          <a:bodyPr/>
          <a:lstStyle/>
          <a:p>
            <a:r>
              <a:rPr lang="es-ES"/>
              <a:t>Título de la presentación</a:t>
            </a:r>
            <a:endParaRPr lang="es-ES" dirty="0"/>
          </a:p>
        </p:txBody>
      </p:sp>
      <p:sp>
        <p:nvSpPr>
          <p:cNvPr id="4" name="Foliennummernplatzhalter 3">
            <a:extLst>
              <a:ext uri="{FF2B5EF4-FFF2-40B4-BE49-F238E27FC236}">
                <a16:creationId xmlns:a16="http://schemas.microsoft.com/office/drawing/2014/main" id="{6B9B0467-78EE-497C-A9E9-9AC8213B6F97}"/>
              </a:ext>
            </a:extLst>
          </p:cNvPr>
          <p:cNvSpPr>
            <a:spLocks noGrp="1"/>
          </p:cNvSpPr>
          <p:nvPr>
            <p:ph type="sldNum" sz="quarter" idx="13"/>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49377523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cabezado sección foto">
    <p:spTree>
      <p:nvGrpSpPr>
        <p:cNvPr id="1" name=""/>
        <p:cNvGrpSpPr/>
        <p:nvPr/>
      </p:nvGrpSpPr>
      <p:grpSpPr>
        <a:xfrm>
          <a:off x="0" y="0"/>
          <a:ext cx="0" cy="0"/>
          <a:chOff x="0" y="0"/>
          <a:chExt cx="0" cy="0"/>
        </a:xfrm>
      </p:grpSpPr>
      <p:cxnSp>
        <p:nvCxnSpPr>
          <p:cNvPr id="24" name="Gerade Verbindung mit Pfeil 23">
            <a:extLst>
              <a:ext uri="{FF2B5EF4-FFF2-40B4-BE49-F238E27FC236}">
                <a16:creationId xmlns:a16="http://schemas.microsoft.com/office/drawing/2014/main" id="{0E9BAFCB-ED4F-4F6C-A65B-6975965277F8}"/>
              </a:ext>
            </a:extLst>
          </p:cNvPr>
          <p:cNvCxnSpPr/>
          <p:nvPr userDrawn="1"/>
        </p:nvCxnSpPr>
        <p:spPr bwMode="gray">
          <a:xfrm>
            <a:off x="6070600" y="1244600"/>
            <a:ext cx="0" cy="914400"/>
          </a:xfrm>
          <a:prstGeom prst="straightConnector1">
            <a:avLst/>
          </a:prstGeom>
          <a:ln w="12700">
            <a:prstDash val="sysDash"/>
            <a:tailEnd type="triangle" w="lg" len="lg"/>
          </a:ln>
        </p:spPr>
        <p:style>
          <a:lnRef idx="1">
            <a:schemeClr val="accent1"/>
          </a:lnRef>
          <a:fillRef idx="0">
            <a:schemeClr val="accent1"/>
          </a:fillRef>
          <a:effectRef idx="0">
            <a:schemeClr val="accent1"/>
          </a:effectRef>
          <a:fontRef idx="minor">
            <a:schemeClr val="tx1"/>
          </a:fontRef>
        </p:style>
      </p:cxnSp>
      <p:sp>
        <p:nvSpPr>
          <p:cNvPr id="25" name="1.">
            <a:extLst>
              <a:ext uri="{FF2B5EF4-FFF2-40B4-BE49-F238E27FC236}">
                <a16:creationId xmlns:a16="http://schemas.microsoft.com/office/drawing/2014/main" id="{760A7DB4-25D7-4C1B-A458-E30067DD938E}"/>
              </a:ext>
            </a:extLst>
          </p:cNvPr>
          <p:cNvSpPr/>
          <p:nvPr userDrawn="1"/>
        </p:nvSpPr>
        <p:spPr bwMode="gray">
          <a:xfrm>
            <a:off x="5101393" y="170887"/>
            <a:ext cx="1968500" cy="674031"/>
          </a:xfrm>
          <a:prstGeom prst="rect">
            <a:avLst/>
          </a:prstGeom>
        </p:spPr>
        <p:txBody>
          <a:bodyPr wrap="square">
            <a:spAutoFit/>
          </a:bodyPr>
          <a:lstStyle/>
          <a:p>
            <a:pPr marL="0" marR="0" lvl="0" indent="0" algn="l" defTabSz="914392"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s-ES" sz="1400" b="0" i="0" u="none" strike="noStrike" kern="1200" cap="none" spc="0" normalizeH="0" baseline="0" noProof="0" dirty="0">
                <a:ln>
                  <a:noFill/>
                </a:ln>
                <a:solidFill>
                  <a:prstClr val="black"/>
                </a:solidFill>
                <a:effectLst/>
                <a:uLnTx/>
                <a:uFillTx/>
                <a:latin typeface="+mn-lt"/>
              </a:rPr>
              <a:t>1. Haga clic en este símbolo para añadir una nueva fotografía.</a:t>
            </a:r>
          </a:p>
        </p:txBody>
      </p:sp>
      <p:sp>
        <p:nvSpPr>
          <p:cNvPr id="27" name="2.">
            <a:extLst>
              <a:ext uri="{FF2B5EF4-FFF2-40B4-BE49-F238E27FC236}">
                <a16:creationId xmlns:a16="http://schemas.microsoft.com/office/drawing/2014/main" id="{770D25A5-C7BD-4447-8250-053AAA434081}"/>
              </a:ext>
            </a:extLst>
          </p:cNvPr>
          <p:cNvSpPr/>
          <p:nvPr userDrawn="1"/>
        </p:nvSpPr>
        <p:spPr bwMode="gray">
          <a:xfrm>
            <a:off x="7259626" y="170887"/>
            <a:ext cx="1968500" cy="674031"/>
          </a:xfrm>
          <a:prstGeom prst="rect">
            <a:avLst/>
          </a:prstGeom>
        </p:spPr>
        <p:txBody>
          <a:bodyPr wrap="square">
            <a:spAutoFit/>
          </a:bodyPr>
          <a:lstStyle/>
          <a:p>
            <a:pPr marL="0" marR="0" lvl="0" indent="0" algn="l" defTabSz="914392"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s-ES" sz="1400" b="0" i="0" u="none" strike="noStrike" kern="1200" cap="none" spc="0" normalizeH="0" baseline="0" noProof="0" dirty="0">
                <a:ln>
                  <a:noFill/>
                </a:ln>
                <a:solidFill>
                  <a:prstClr val="black"/>
                </a:solidFill>
                <a:effectLst/>
                <a:uLnTx/>
                <a:uFillTx/>
                <a:latin typeface="+mn-lt"/>
              </a:rPr>
              <a:t>2. Para restablecer </a:t>
            </a:r>
            <a:br>
              <a:rPr kumimoji="0" lang="es-ES" sz="1400" b="0" i="0" u="none" strike="noStrike" kern="1200" cap="none" spc="0" normalizeH="0" baseline="0" noProof="0" dirty="0">
                <a:ln>
                  <a:noFill/>
                </a:ln>
                <a:solidFill>
                  <a:prstClr val="black"/>
                </a:solidFill>
                <a:effectLst/>
                <a:uLnTx/>
                <a:uFillTx/>
                <a:latin typeface="+mn-lt"/>
              </a:rPr>
            </a:br>
            <a:r>
              <a:rPr kumimoji="0" lang="es-ES" sz="1400" b="0" i="0" u="none" strike="noStrike" kern="1200" cap="none" spc="0" normalizeH="0" baseline="0" noProof="0" dirty="0">
                <a:ln>
                  <a:noFill/>
                </a:ln>
                <a:solidFill>
                  <a:prstClr val="black"/>
                </a:solidFill>
                <a:effectLst/>
                <a:uLnTx/>
                <a:uFillTx/>
                <a:latin typeface="+mn-lt"/>
              </a:rPr>
              <a:t>el diseño de la diapositiva:</a:t>
            </a:r>
          </a:p>
        </p:txBody>
      </p:sp>
      <p:sp>
        <p:nvSpPr>
          <p:cNvPr id="37" name="3.">
            <a:extLst>
              <a:ext uri="{FF2B5EF4-FFF2-40B4-BE49-F238E27FC236}">
                <a16:creationId xmlns:a16="http://schemas.microsoft.com/office/drawing/2014/main" id="{6FAAD5A9-9B5B-47D2-9503-F26D7E862B2D}"/>
              </a:ext>
            </a:extLst>
          </p:cNvPr>
          <p:cNvSpPr/>
          <p:nvPr userDrawn="1"/>
        </p:nvSpPr>
        <p:spPr bwMode="gray">
          <a:xfrm>
            <a:off x="9618990" y="170887"/>
            <a:ext cx="2695785" cy="867930"/>
          </a:xfrm>
          <a:prstGeom prst="rect">
            <a:avLst/>
          </a:prstGeom>
        </p:spPr>
        <p:txBody>
          <a:bodyPr wrap="square">
            <a:spAutoFit/>
          </a:bodyPr>
          <a:lstStyle/>
          <a:p>
            <a:pPr marL="0" marR="0" lvl="0" indent="0" algn="l" defTabSz="914392"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s-ES" sz="1400" b="0" i="0" u="none" strike="noStrike" kern="1200" cap="none" spc="0" normalizeH="0" baseline="0" noProof="0" dirty="0">
                <a:ln>
                  <a:noFill/>
                </a:ln>
                <a:solidFill>
                  <a:prstClr val="black"/>
                </a:solidFill>
                <a:effectLst/>
                <a:uLnTx/>
                <a:uFillTx/>
                <a:latin typeface="+mn-lt"/>
              </a:rPr>
              <a:t>3. En caso necesario, escoja una parte de la fotografía mediante “Recortar”.</a:t>
            </a:r>
            <a:br>
              <a:rPr lang="es-ES" sz="1400" dirty="0"/>
            </a:br>
            <a:endParaRPr kumimoji="0" lang="es-ES"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38" name="how">
            <a:extLst>
              <a:ext uri="{FF2B5EF4-FFF2-40B4-BE49-F238E27FC236}">
                <a16:creationId xmlns:a16="http://schemas.microsoft.com/office/drawing/2014/main" id="{0F04A1EE-5BB2-4D3B-92B4-1110E57D54C4}"/>
              </a:ext>
            </a:extLst>
          </p:cNvPr>
          <p:cNvSpPr txBox="1"/>
          <p:nvPr userDrawn="1"/>
        </p:nvSpPr>
        <p:spPr bwMode="gray">
          <a:xfrm>
            <a:off x="-6054599" y="237067"/>
            <a:ext cx="5973110" cy="1200329"/>
          </a:xfrm>
          <a:prstGeom prst="rect">
            <a:avLst/>
          </a:prstGeom>
          <a:noFill/>
        </p:spPr>
        <p:txBody>
          <a:bodyPr wrap="none" rtlCol="0">
            <a:spAutoFit/>
          </a:bodyPr>
          <a:lstStyle/>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Haga clic en la imagen que figura sobre la diapositiva.</a:t>
            </a:r>
          </a:p>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Elimine la imagen mediante la tecla “Supr”.</a:t>
            </a:r>
          </a:p>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 Haga clic en el pequeño símbolo situado en el centro de la página.</a:t>
            </a:r>
          </a:p>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Seleccione una fotografía.</a:t>
            </a:r>
          </a:p>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Inicio/Restablecer” para restablecer el diseño de la diapositiva.</a:t>
            </a:r>
          </a:p>
          <a:p>
            <a:pPr marL="171449" marR="0" lvl="0" indent="-171449" algn="r" defTabSz="914392" rtl="0" eaLnBrk="1" fontAlgn="auto" latinLnBrk="0" hangingPunct="1">
              <a:lnSpc>
                <a:spcPct val="100000"/>
              </a:lnSpc>
              <a:spcBef>
                <a:spcPts val="0"/>
              </a:spcBef>
              <a:spcAft>
                <a:spcPts val="0"/>
              </a:spcAft>
              <a:buClrTx/>
              <a:buSzTx/>
              <a:buFontTx/>
              <a:buAutoNum type="arabicPeriod"/>
              <a:tabLst/>
              <a:defRPr/>
            </a:pPr>
            <a:r>
              <a:rPr lang="es-ES" sz="1200" b="0" dirty="0">
                <a:solidFill>
                  <a:schemeClr val="bg1">
                    <a:lumMod val="50000"/>
                  </a:schemeClr>
                </a:solidFill>
              </a:rPr>
              <a:t>En caso necesario, escoja una parte de la fotografía mediante “Formato/Recortar”.</a:t>
            </a:r>
          </a:p>
        </p:txBody>
      </p:sp>
      <p:sp>
        <p:nvSpPr>
          <p:cNvPr id="39" name="Dreieck">
            <a:extLst>
              <a:ext uri="{FF2B5EF4-FFF2-40B4-BE49-F238E27FC236}">
                <a16:creationId xmlns:a16="http://schemas.microsoft.com/office/drawing/2014/main" id="{18FF49F2-454C-4BF3-96B6-8D39982345E6}"/>
              </a:ext>
            </a:extLst>
          </p:cNvPr>
          <p:cNvSpPr/>
          <p:nvPr userDrawn="1"/>
        </p:nvSpPr>
        <p:spPr bwMode="gray">
          <a:xfrm rot="5400000">
            <a:off x="-222461" y="562187"/>
            <a:ext cx="281941" cy="6096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pic>
        <p:nvPicPr>
          <p:cNvPr id="40" name="Grafik 39" descr="Ein Bild, das Screenshot enthält.&#10;&#10;Automatisch generierte Beschreibung">
            <a:extLst>
              <a:ext uri="{FF2B5EF4-FFF2-40B4-BE49-F238E27FC236}">
                <a16:creationId xmlns:a16="http://schemas.microsoft.com/office/drawing/2014/main" id="{19092F0D-A019-4142-AAB5-061579001871}"/>
              </a:ext>
            </a:extLst>
          </p:cNvPr>
          <p:cNvPicPr>
            <a:picLocks noChangeAspect="1"/>
          </p:cNvPicPr>
          <p:nvPr userDrawn="1"/>
        </p:nvPicPr>
        <p:blipFill rotWithShape="1">
          <a:blip r:embed="rId2"/>
          <a:srcRect l="27949" t="24404" r="52761"/>
          <a:stretch/>
        </p:blipFill>
        <p:spPr>
          <a:xfrm>
            <a:off x="9923387" y="1195292"/>
            <a:ext cx="569320" cy="650189"/>
          </a:xfrm>
          <a:prstGeom prst="rect">
            <a:avLst/>
          </a:prstGeom>
        </p:spPr>
      </p:pic>
      <p:pic>
        <p:nvPicPr>
          <p:cNvPr id="41" name="Grafik 40" descr="Ein Bild, das Screenshot enthält.&#10;&#10;Automatisch generierte Beschreibung">
            <a:extLst>
              <a:ext uri="{FF2B5EF4-FFF2-40B4-BE49-F238E27FC236}">
                <a16:creationId xmlns:a16="http://schemas.microsoft.com/office/drawing/2014/main" id="{6269F90E-E860-4B28-A929-46FB34ECA6B1}"/>
              </a:ext>
            </a:extLst>
          </p:cNvPr>
          <p:cNvPicPr>
            <a:picLocks/>
          </p:cNvPicPr>
          <p:nvPr userDrawn="1"/>
        </p:nvPicPr>
        <p:blipFill>
          <a:blip r:embed="rId3"/>
          <a:stretch>
            <a:fillRect/>
          </a:stretch>
        </p:blipFill>
        <p:spPr>
          <a:xfrm>
            <a:off x="7396602" y="1034677"/>
            <a:ext cx="2117468" cy="866995"/>
          </a:xfrm>
          <a:prstGeom prst="rect">
            <a:avLst/>
          </a:prstGeom>
        </p:spPr>
      </p:pic>
      <p:sp>
        <p:nvSpPr>
          <p:cNvPr id="42" name="Rechteck 41">
            <a:extLst>
              <a:ext uri="{FF2B5EF4-FFF2-40B4-BE49-F238E27FC236}">
                <a16:creationId xmlns:a16="http://schemas.microsoft.com/office/drawing/2014/main" id="{DD3DC6FF-D67F-443C-B404-693CEB57FA28}"/>
              </a:ext>
            </a:extLst>
          </p:cNvPr>
          <p:cNvSpPr/>
          <p:nvPr userDrawn="1"/>
        </p:nvSpPr>
        <p:spPr bwMode="gray">
          <a:xfrm>
            <a:off x="8723338" y="1492655"/>
            <a:ext cx="748399" cy="239948"/>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43" name="Rechteck">
            <a:extLst>
              <a:ext uri="{FF2B5EF4-FFF2-40B4-BE49-F238E27FC236}">
                <a16:creationId xmlns:a16="http://schemas.microsoft.com/office/drawing/2014/main" id="{AAB8DB1B-2F75-44AC-8A11-B0D6F355AE31}"/>
              </a:ext>
            </a:extLst>
          </p:cNvPr>
          <p:cNvSpPr/>
          <p:nvPr userDrawn="1"/>
        </p:nvSpPr>
        <p:spPr bwMode="gray">
          <a:xfrm>
            <a:off x="9976556" y="1279681"/>
            <a:ext cx="446293" cy="450849"/>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13" name="Bildplatzhalter">
            <a:extLst>
              <a:ext uri="{FF2B5EF4-FFF2-40B4-BE49-F238E27FC236}">
                <a16:creationId xmlns:a16="http://schemas.microsoft.com/office/drawing/2014/main" id="{670A352A-9075-4383-BC37-7EF209BB4A7F}"/>
              </a:ext>
            </a:extLst>
          </p:cNvPr>
          <p:cNvSpPr>
            <a:spLocks noGrp="1"/>
          </p:cNvSpPr>
          <p:nvPr>
            <p:ph type="pic" sz="quarter" idx="11" hasCustomPrompt="1"/>
          </p:nvPr>
        </p:nvSpPr>
        <p:spPr bwMode="gray">
          <a:xfrm>
            <a:off x="164183" y="165101"/>
            <a:ext cx="11858487" cy="5968659"/>
          </a:xfrm>
          <a:noFill/>
        </p:spPr>
        <p:txBody>
          <a:bodyPr tIns="720000" rIns="0"/>
          <a:lstStyle>
            <a:lvl1pPr marL="0" marR="0" indent="0" algn="ctr" defTabSz="914392" rtl="0" eaLnBrk="1" fontAlgn="auto" latinLnBrk="0" hangingPunct="1">
              <a:lnSpc>
                <a:spcPct val="90000"/>
              </a:lnSpc>
              <a:spcBef>
                <a:spcPts val="0"/>
              </a:spcBef>
              <a:spcAft>
                <a:spcPts val="0"/>
              </a:spcAft>
              <a:buClrTx/>
              <a:buSzTx/>
              <a:buFont typeface="Arial" panose="020B0604020202020204" pitchFamily="34" charset="0"/>
              <a:buNone/>
              <a:tabLst/>
              <a:defRPr sz="667">
                <a:solidFill>
                  <a:schemeClr val="accent1"/>
                </a:solidFill>
              </a:defRPr>
            </a:lvl1pPr>
          </a:lstStyle>
          <a:p>
            <a:r>
              <a:rPr lang="es-ES"/>
              <a:t>.</a:t>
            </a:r>
            <a:endParaRPr lang="es-ES" dirty="0"/>
          </a:p>
        </p:txBody>
      </p:sp>
      <p:sp>
        <p:nvSpPr>
          <p:cNvPr id="15" name="Headline">
            <a:extLst>
              <a:ext uri="{FF2B5EF4-FFF2-40B4-BE49-F238E27FC236}">
                <a16:creationId xmlns:a16="http://schemas.microsoft.com/office/drawing/2014/main" id="{F8646EF2-FE73-41DC-B654-C5012A3720DD}"/>
              </a:ext>
            </a:extLst>
          </p:cNvPr>
          <p:cNvSpPr>
            <a:spLocks noGrp="1"/>
          </p:cNvSpPr>
          <p:nvPr>
            <p:ph type="title" hasCustomPrompt="1"/>
          </p:nvPr>
        </p:nvSpPr>
        <p:spPr bwMode="gray">
          <a:xfrm>
            <a:off x="164183" y="2093676"/>
            <a:ext cx="11858487" cy="4040085"/>
          </a:xfrm>
          <a:prstGeom prst="rect">
            <a:avLst/>
          </a:prstGeom>
          <a:blipFill dpi="0" rotWithShape="1">
            <a:blip r:embed="rId4">
              <a:alphaModFix amt="80000"/>
            </a:blip>
            <a:srcRect/>
            <a:stretch>
              <a:fillRect l="-10" r="-10"/>
            </a:stretch>
          </a:blipFill>
        </p:spPr>
        <p:txBody>
          <a:bodyPr wrap="square" lIns="576000" bIns="1036800" anchor="b">
            <a:noAutofit/>
          </a:bodyPr>
          <a:lstStyle>
            <a:lvl1pPr>
              <a:defRPr sz="3467" b="1">
                <a:solidFill>
                  <a:schemeClr val="tx1"/>
                </a:solidFill>
              </a:defRPr>
            </a:lvl1pPr>
          </a:lstStyle>
          <a:p>
            <a:r>
              <a:rPr lang="es-ES" dirty="0"/>
              <a:t>Diapositiva de encabezado de sección</a:t>
            </a:r>
            <a:br>
              <a:rPr lang="es-ES" dirty="0"/>
            </a:br>
            <a:r>
              <a:rPr lang="es-ES" dirty="0"/>
              <a:t>con fotografía de fondo (sustituible)</a:t>
            </a:r>
          </a:p>
        </p:txBody>
      </p:sp>
      <p:pic>
        <p:nvPicPr>
          <p:cNvPr id="26" name="Beispiel" descr="Ein Bild, das Wand, Gebäude enthält.&#10;&#10;Automatisch generierte Beschreibung">
            <a:extLst>
              <a:ext uri="{FF2B5EF4-FFF2-40B4-BE49-F238E27FC236}">
                <a16:creationId xmlns:a16="http://schemas.microsoft.com/office/drawing/2014/main" id="{317CFD46-37B5-4632-BBA4-3F2278F98B67}"/>
              </a:ext>
            </a:extLst>
          </p:cNvPr>
          <p:cNvPicPr>
            <a:picLocks noChangeAspect="1"/>
          </p:cNvPicPr>
          <p:nvPr userDrawn="1"/>
        </p:nvPicPr>
        <p:blipFill>
          <a:blip r:embed="rId5"/>
          <a:stretch>
            <a:fillRect/>
          </a:stretch>
        </p:blipFill>
        <p:spPr bwMode="gray">
          <a:xfrm>
            <a:off x="9996030" y="1966807"/>
            <a:ext cx="1662545" cy="1147156"/>
          </a:xfrm>
          <a:prstGeom prst="rect">
            <a:avLst/>
          </a:prstGeom>
        </p:spPr>
      </p:pic>
      <p:sp>
        <p:nvSpPr>
          <p:cNvPr id="28" name="Subline">
            <a:extLst>
              <a:ext uri="{FF2B5EF4-FFF2-40B4-BE49-F238E27FC236}">
                <a16:creationId xmlns:a16="http://schemas.microsoft.com/office/drawing/2014/main" id="{6699B1E5-C447-4674-92BB-C2A1F3ADCF99}"/>
              </a:ext>
            </a:extLst>
          </p:cNvPr>
          <p:cNvSpPr>
            <a:spLocks noGrp="1"/>
          </p:cNvSpPr>
          <p:nvPr>
            <p:ph type="body" sz="quarter" idx="10" hasCustomPrompt="1"/>
          </p:nvPr>
        </p:nvSpPr>
        <p:spPr bwMode="gray">
          <a:xfrm>
            <a:off x="933134" y="4938866"/>
            <a:ext cx="10627783" cy="292388"/>
          </a:xfrm>
        </p:spPr>
        <p:txBody>
          <a:bodyPr>
            <a:spAutoFit/>
          </a:bodyPr>
          <a:lstStyle>
            <a:lvl1pPr marL="0" indent="0">
              <a:lnSpc>
                <a:spcPct val="95000"/>
              </a:lnSpc>
              <a:spcBef>
                <a:spcPts val="0"/>
              </a:spcBef>
              <a:spcAft>
                <a:spcPts val="0"/>
              </a:spcAft>
              <a:buNone/>
              <a:defRPr sz="2000">
                <a:solidFill>
                  <a:schemeClr val="tx1"/>
                </a:solidFill>
              </a:defRPr>
            </a:lvl1pPr>
          </a:lstStyle>
          <a:p>
            <a:r>
              <a:rPr lang="es-ES" dirty="0"/>
              <a:t>Este es el subtítulo</a:t>
            </a:r>
          </a:p>
        </p:txBody>
      </p:sp>
      <p:sp>
        <p:nvSpPr>
          <p:cNvPr id="2" name="Datumsplatzhalter 1">
            <a:extLst>
              <a:ext uri="{FF2B5EF4-FFF2-40B4-BE49-F238E27FC236}">
                <a16:creationId xmlns:a16="http://schemas.microsoft.com/office/drawing/2014/main" id="{F805593C-41D2-4E8E-8DD9-845FB667992E}"/>
              </a:ext>
            </a:extLst>
          </p:cNvPr>
          <p:cNvSpPr>
            <a:spLocks noGrp="1"/>
          </p:cNvSpPr>
          <p:nvPr>
            <p:ph type="dt" sz="half" idx="12"/>
          </p:nvPr>
        </p:nvSpPr>
        <p:spPr/>
        <p:txBody>
          <a:bodyPr/>
          <a:lstStyle/>
          <a:p>
            <a:r>
              <a:rPr lang="es-ES"/>
              <a:t>14.02.2019</a:t>
            </a:r>
            <a:endParaRPr lang="es-ES" dirty="0"/>
          </a:p>
        </p:txBody>
      </p:sp>
      <p:sp>
        <p:nvSpPr>
          <p:cNvPr id="3" name="Fußzeilenplatzhalter 2">
            <a:extLst>
              <a:ext uri="{FF2B5EF4-FFF2-40B4-BE49-F238E27FC236}">
                <a16:creationId xmlns:a16="http://schemas.microsoft.com/office/drawing/2014/main" id="{9B451D88-1061-4B67-AF15-273A47D5E3FE}"/>
              </a:ext>
            </a:extLst>
          </p:cNvPr>
          <p:cNvSpPr>
            <a:spLocks noGrp="1"/>
          </p:cNvSpPr>
          <p:nvPr>
            <p:ph type="ftr" sz="quarter" idx="13"/>
          </p:nvPr>
        </p:nvSpPr>
        <p:spPr/>
        <p:txBody>
          <a:bodyPr/>
          <a:lstStyle/>
          <a:p>
            <a:r>
              <a:rPr lang="es-ES"/>
              <a:t>Título de la presentación</a:t>
            </a:r>
            <a:endParaRPr lang="es-ES" dirty="0"/>
          </a:p>
        </p:txBody>
      </p:sp>
      <p:sp>
        <p:nvSpPr>
          <p:cNvPr id="4" name="Foliennummernplatzhalter 3">
            <a:extLst>
              <a:ext uri="{FF2B5EF4-FFF2-40B4-BE49-F238E27FC236}">
                <a16:creationId xmlns:a16="http://schemas.microsoft.com/office/drawing/2014/main" id="{5ACBE19E-C469-40E4-A7E3-E9894C3B7403}"/>
              </a:ext>
            </a:extLst>
          </p:cNvPr>
          <p:cNvSpPr>
            <a:spLocks noGrp="1"/>
          </p:cNvSpPr>
          <p:nvPr>
            <p:ph type="sldNum" sz="quarter" idx="14"/>
          </p:nvPr>
        </p:nvSpPr>
        <p:spPr/>
        <p:txBody>
          <a:bodyPr/>
          <a:lstStyle/>
          <a:p>
            <a:r>
              <a:rPr lang="es-ES"/>
              <a:t>Página </a:t>
            </a:r>
            <a:fld id="{3A8B5DB7-81A8-4ED4-916B-6B23CD603687}" type="slidenum">
              <a:rPr lang="es-ES" smtClean="0"/>
              <a:pPr/>
              <a:t>‹Nº›</a:t>
            </a:fld>
            <a:endParaRPr lang="es-ES" dirty="0"/>
          </a:p>
        </p:txBody>
      </p:sp>
    </p:spTree>
    <p:extLst>
      <p:ext uri="{BB962C8B-B14F-4D97-AF65-F5344CB8AC3E}">
        <p14:creationId xmlns:p14="http://schemas.microsoft.com/office/powerpoint/2010/main" val="262818847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microsoft.com/office/2007/relationships/hdphoto" Target="../media/hdphoto1.wdp"/><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microsoft.com/office/2007/relationships/hdphoto" Target="../media/hdphoto1.wdp"/><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image" Target="../media/image1.png"/><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6" name="Logo">
            <a:extLst>
              <a:ext uri="{FF2B5EF4-FFF2-40B4-BE49-F238E27FC236}">
                <a16:creationId xmlns:a16="http://schemas.microsoft.com/office/drawing/2014/main" id="{9F0F5CEA-886E-4B05-93BC-F96F6B5DF08A}"/>
              </a:ext>
            </a:extLst>
          </p:cNvPr>
          <p:cNvPicPr>
            <a:picLocks noChangeAspect="1"/>
          </p:cNvPicPr>
          <p:nvPr userDrawn="1"/>
        </p:nvPicPr>
        <p:blipFill rotWithShape="1">
          <a:blip r:embed="rId36">
            <a:extLst>
              <a:ext uri="{BEBA8EAE-BF5A-486C-A8C5-ECC9F3942E4B}">
                <a14:imgProps xmlns:a14="http://schemas.microsoft.com/office/drawing/2010/main">
                  <a14:imgLayer r:embed="rId37">
                    <a14:imgEffect>
                      <a14:brightnessContrast bright="-8000"/>
                    </a14:imgEffect>
                  </a14:imgLayer>
                </a14:imgProps>
              </a:ext>
              <a:ext uri="{28A0092B-C50C-407E-A947-70E740481C1C}">
                <a14:useLocalDpi xmlns:a14="http://schemas.microsoft.com/office/drawing/2010/main" val="0"/>
              </a:ext>
            </a:extLst>
          </a:blip>
          <a:srcRect r="64013"/>
          <a:stretch/>
        </p:blipFill>
        <p:spPr bwMode="gray">
          <a:xfrm>
            <a:off x="11589389" y="6371816"/>
            <a:ext cx="413113" cy="316833"/>
          </a:xfrm>
          <a:prstGeom prst="rect">
            <a:avLst/>
          </a:prstGeom>
        </p:spPr>
      </p:pic>
      <p:sp>
        <p:nvSpPr>
          <p:cNvPr id="15" name="bar">
            <a:extLst>
              <a:ext uri="{FF2B5EF4-FFF2-40B4-BE49-F238E27FC236}">
                <a16:creationId xmlns:a16="http://schemas.microsoft.com/office/drawing/2014/main" id="{49D9F131-2158-4CE8-878F-18E76BB55EA7}"/>
              </a:ext>
            </a:extLst>
          </p:cNvPr>
          <p:cNvSpPr/>
          <p:nvPr userDrawn="1"/>
        </p:nvSpPr>
        <p:spPr bwMode="gray">
          <a:xfrm>
            <a:off x="10890252" y="6133761"/>
            <a:ext cx="1132416" cy="69195"/>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eaLnBrk="0" fontAlgn="base" hangingPunct="0">
              <a:spcBef>
                <a:spcPct val="0"/>
              </a:spcBef>
              <a:spcAft>
                <a:spcPct val="0"/>
              </a:spcAft>
            </a:pPr>
            <a:endParaRPr lang="de-DE" sz="2400" dirty="0" err="1">
              <a:solidFill>
                <a:schemeClr val="tx2"/>
              </a:solidFill>
              <a:latin typeface="Arial" charset="0"/>
            </a:endParaRPr>
          </a:p>
        </p:txBody>
      </p:sp>
      <p:sp>
        <p:nvSpPr>
          <p:cNvPr id="9" name="Fußzeile">
            <a:extLst>
              <a:ext uri="{FF2B5EF4-FFF2-40B4-BE49-F238E27FC236}">
                <a16:creationId xmlns:a16="http://schemas.microsoft.com/office/drawing/2014/main" id="{19B70EF4-7BC8-4A19-AF2F-96476732805A}"/>
              </a:ext>
            </a:extLst>
          </p:cNvPr>
          <p:cNvSpPr>
            <a:spLocks noGrp="1"/>
          </p:cNvSpPr>
          <p:nvPr>
            <p:ph type="ftr" sz="quarter" idx="3"/>
          </p:nvPr>
        </p:nvSpPr>
        <p:spPr bwMode="gray">
          <a:xfrm>
            <a:off x="2559401" y="6568514"/>
            <a:ext cx="7603937" cy="123111"/>
          </a:xfrm>
          <a:prstGeom prst="rect">
            <a:avLst/>
          </a:prstGeom>
        </p:spPr>
        <p:txBody>
          <a:bodyPr vert="horz" wrap="square" lIns="0" tIns="0" rIns="0" bIns="0" rtlCol="0" anchor="ctr">
            <a:spAutoFit/>
          </a:bodyPr>
          <a:lstStyle>
            <a:lvl1pPr algn="l">
              <a:defRPr sz="800" spc="51" baseline="0">
                <a:solidFill>
                  <a:schemeClr val="tx1">
                    <a:lumMod val="50000"/>
                    <a:lumOff val="50000"/>
                  </a:schemeClr>
                </a:solidFill>
                <a:latin typeface="Arial" panose="020B0604020202020204" pitchFamily="34" charset="0"/>
                <a:cs typeface="Arial" panose="020B0604020202020204" pitchFamily="34" charset="0"/>
              </a:defRPr>
            </a:lvl1pPr>
          </a:lstStyle>
          <a:p>
            <a:r>
              <a:rPr lang="es-ES"/>
              <a:t>Título de la presentación</a:t>
            </a:r>
            <a:endParaRPr lang="es-ES" dirty="0"/>
          </a:p>
        </p:txBody>
      </p:sp>
      <p:sp>
        <p:nvSpPr>
          <p:cNvPr id="10" name="Datum">
            <a:extLst>
              <a:ext uri="{FF2B5EF4-FFF2-40B4-BE49-F238E27FC236}">
                <a16:creationId xmlns:a16="http://schemas.microsoft.com/office/drawing/2014/main" id="{6ED51528-C082-4A1A-9A13-B0D2B18590A6}"/>
              </a:ext>
            </a:extLst>
          </p:cNvPr>
          <p:cNvSpPr>
            <a:spLocks noGrp="1"/>
          </p:cNvSpPr>
          <p:nvPr>
            <p:ph type="dt" sz="half" idx="2"/>
          </p:nvPr>
        </p:nvSpPr>
        <p:spPr bwMode="gray">
          <a:xfrm>
            <a:off x="1522627" y="6568514"/>
            <a:ext cx="711519" cy="123111"/>
          </a:xfrm>
          <a:prstGeom prst="rect">
            <a:avLst/>
          </a:prstGeom>
        </p:spPr>
        <p:txBody>
          <a:bodyPr vert="horz" wrap="square" lIns="0" tIns="0" rIns="0" bIns="0" rtlCol="0" anchor="ctr">
            <a:spAutoFit/>
          </a:bodyPr>
          <a:lstStyle>
            <a:lvl1pPr>
              <a:defRPr lang="de-DE" sz="800" spc="51" baseline="0" smtClean="0">
                <a:solidFill>
                  <a:schemeClr val="tx1">
                    <a:lumMod val="50000"/>
                    <a:lumOff val="50000"/>
                  </a:schemeClr>
                </a:solidFill>
                <a:latin typeface="Arial" panose="020B0604020202020204" pitchFamily="34" charset="0"/>
                <a:cs typeface="Arial" panose="020B0604020202020204" pitchFamily="34" charset="0"/>
              </a:defRPr>
            </a:lvl1pPr>
          </a:lstStyle>
          <a:p>
            <a:r>
              <a:rPr lang="es-ES"/>
              <a:t>14.02.2019</a:t>
            </a:r>
            <a:endParaRPr lang="es-ES" dirty="0"/>
          </a:p>
        </p:txBody>
      </p:sp>
      <p:sp>
        <p:nvSpPr>
          <p:cNvPr id="5" name="Foliennummernplatzhalter">
            <a:extLst>
              <a:ext uri="{FF2B5EF4-FFF2-40B4-BE49-F238E27FC236}">
                <a16:creationId xmlns:a16="http://schemas.microsoft.com/office/drawing/2014/main" id="{4CDA9225-2A86-4401-A66D-D1B6B89C6007}"/>
              </a:ext>
            </a:extLst>
          </p:cNvPr>
          <p:cNvSpPr>
            <a:spLocks noGrp="1"/>
          </p:cNvSpPr>
          <p:nvPr>
            <p:ph type="sldNum" sz="quarter" idx="4"/>
          </p:nvPr>
        </p:nvSpPr>
        <p:spPr bwMode="gray">
          <a:xfrm>
            <a:off x="599756" y="6568514"/>
            <a:ext cx="742211" cy="123111"/>
          </a:xfrm>
          <a:prstGeom prst="rect">
            <a:avLst/>
          </a:prstGeom>
        </p:spPr>
        <p:txBody>
          <a:bodyPr vert="horz" wrap="square" lIns="0" tIns="0" rIns="0" bIns="0" rtlCol="0" anchor="ctr">
            <a:spAutoFit/>
          </a:bodyPr>
          <a:lstStyle>
            <a:lvl1pPr algn="l">
              <a:defRPr lang="de-DE" sz="800" spc="51" baseline="0" smtClean="0">
                <a:solidFill>
                  <a:schemeClr val="tx2"/>
                </a:solidFill>
                <a:latin typeface="Arial" panose="020B0604020202020204" pitchFamily="34" charset="0"/>
                <a:cs typeface="Arial" panose="020B0604020202020204" pitchFamily="34" charset="0"/>
              </a:defRPr>
            </a:lvl1pPr>
          </a:lstStyle>
          <a:p>
            <a:r>
              <a:rPr lang="es-ES"/>
              <a:t>Página </a:t>
            </a:r>
            <a:fld id="{3A8B5DB7-81A8-4ED4-916B-6B23CD603687}" type="slidenum">
              <a:rPr lang="es-ES" smtClean="0"/>
              <a:pPr/>
              <a:t>‹Nº›</a:t>
            </a:fld>
            <a:endParaRPr lang="es-ES" dirty="0"/>
          </a:p>
        </p:txBody>
      </p:sp>
      <p:cxnSp>
        <p:nvCxnSpPr>
          <p:cNvPr id="14" name="Trennlinie 2">
            <a:extLst>
              <a:ext uri="{FF2B5EF4-FFF2-40B4-BE49-F238E27FC236}">
                <a16:creationId xmlns:a16="http://schemas.microsoft.com/office/drawing/2014/main" id="{BA7763BA-D29F-4859-88A9-E457D7D05001}"/>
              </a:ext>
            </a:extLst>
          </p:cNvPr>
          <p:cNvCxnSpPr>
            <a:cxnSpLocks/>
          </p:cNvCxnSpPr>
          <p:nvPr userDrawn="1"/>
        </p:nvCxnSpPr>
        <p:spPr bwMode="gray">
          <a:xfrm>
            <a:off x="2362197" y="6575619"/>
            <a:ext cx="0" cy="103716"/>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Trennline 1">
            <a:extLst>
              <a:ext uri="{FF2B5EF4-FFF2-40B4-BE49-F238E27FC236}">
                <a16:creationId xmlns:a16="http://schemas.microsoft.com/office/drawing/2014/main" id="{D7B3BF4D-6640-4657-BD72-5F4E0852873A}"/>
              </a:ext>
            </a:extLst>
          </p:cNvPr>
          <p:cNvCxnSpPr>
            <a:cxnSpLocks/>
          </p:cNvCxnSpPr>
          <p:nvPr userDrawn="1"/>
        </p:nvCxnSpPr>
        <p:spPr bwMode="gray">
          <a:xfrm>
            <a:off x="1321127" y="6575619"/>
            <a:ext cx="0" cy="103716"/>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Text"/>
          <p:cNvSpPr>
            <a:spLocks noGrp="1"/>
          </p:cNvSpPr>
          <p:nvPr>
            <p:ph type="body" idx="1"/>
          </p:nvPr>
        </p:nvSpPr>
        <p:spPr bwMode="gray">
          <a:xfrm>
            <a:off x="599757" y="1361293"/>
            <a:ext cx="9563579" cy="4660627"/>
          </a:xfrm>
          <a:prstGeom prst="rect">
            <a:avLst/>
          </a:prstGeom>
        </p:spPr>
        <p:txBody>
          <a:bodyPr vert="horz" lIns="0" tIns="0" rIns="72000" bIns="0" rtlCol="0">
            <a:noAutofit/>
          </a:bodyPr>
          <a:lstStyle/>
          <a:p>
            <a:pPr lvl="0"/>
            <a:r>
              <a:rPr lang="es-ES" noProof="0" dirty="0"/>
              <a:t>Añadir texto haciendo clic</a:t>
            </a:r>
          </a:p>
          <a:p>
            <a:pPr lvl="1">
              <a:buClr>
                <a:schemeClr val="accent1"/>
              </a:buClr>
            </a:pPr>
            <a:r>
              <a:rPr lang="es-ES" dirty="0"/>
              <a:t>Segundo nivel</a:t>
            </a:r>
          </a:p>
          <a:p>
            <a:pPr lvl="2">
              <a:buClr>
                <a:schemeClr val="accent1"/>
              </a:buClr>
            </a:pPr>
            <a:r>
              <a:rPr lang="es-ES" dirty="0"/>
              <a:t>Tercer nivel</a:t>
            </a:r>
          </a:p>
        </p:txBody>
      </p:sp>
      <p:sp>
        <p:nvSpPr>
          <p:cNvPr id="22" name="Headline">
            <a:extLst>
              <a:ext uri="{FF2B5EF4-FFF2-40B4-BE49-F238E27FC236}">
                <a16:creationId xmlns:a16="http://schemas.microsoft.com/office/drawing/2014/main" id="{288DB87F-225C-44F9-8B2F-85DB9A3E0803}"/>
              </a:ext>
            </a:extLst>
          </p:cNvPr>
          <p:cNvSpPr>
            <a:spLocks noGrp="1"/>
          </p:cNvSpPr>
          <p:nvPr>
            <p:ph type="title"/>
          </p:nvPr>
        </p:nvSpPr>
        <p:spPr bwMode="gray">
          <a:xfrm>
            <a:off x="599756" y="320284"/>
            <a:ext cx="9563579" cy="720725"/>
          </a:xfrm>
          <a:prstGeom prst="rect">
            <a:avLst/>
          </a:prstGeom>
        </p:spPr>
        <p:txBody>
          <a:bodyPr vert="horz" lIns="0" tIns="0" rIns="72000" bIns="0" rtlCol="0" anchor="b">
            <a:noAutofit/>
          </a:bodyPr>
          <a:lstStyle/>
          <a:p>
            <a:r>
              <a:rPr lang="es-ES"/>
              <a:t>Añadir texto haciendo clic</a:t>
            </a:r>
            <a:endParaRPr lang="es-ES" dirty="0"/>
          </a:p>
        </p:txBody>
      </p:sp>
    </p:spTree>
    <p:extLst>
      <p:ext uri="{BB962C8B-B14F-4D97-AF65-F5344CB8AC3E}">
        <p14:creationId xmlns:p14="http://schemas.microsoft.com/office/powerpoint/2010/main" val="4039776046"/>
      </p:ext>
    </p:extLst>
  </p:cSld>
  <p:clrMap bg1="lt1" tx1="dk1" bg2="lt2" tx2="dk2" accent1="accent1" accent2="accent2" accent3="accent3" accent4="accent4" accent5="accent5" accent6="accent6" hlink="hlink" folHlink="folHlink"/>
  <p:sldLayoutIdLst>
    <p:sldLayoutId id="2147483674" r:id="rId1"/>
    <p:sldLayoutId id="2147483814" r:id="rId2"/>
    <p:sldLayoutId id="2147483815" r:id="rId3"/>
    <p:sldLayoutId id="2147483818" r:id="rId4"/>
    <p:sldLayoutId id="2147483819" r:id="rId5"/>
    <p:sldLayoutId id="2147483858" r:id="rId6"/>
    <p:sldLayoutId id="2147483859" r:id="rId7"/>
    <p:sldLayoutId id="2147483824" r:id="rId8"/>
    <p:sldLayoutId id="2147483822" r:id="rId9"/>
    <p:sldLayoutId id="2147483823" r:id="rId10"/>
    <p:sldLayoutId id="2147483821" r:id="rId11"/>
    <p:sldLayoutId id="2147483826" r:id="rId12"/>
    <p:sldLayoutId id="2147483827" r:id="rId13"/>
    <p:sldLayoutId id="2147483825" r:id="rId14"/>
    <p:sldLayoutId id="2147483829" r:id="rId15"/>
    <p:sldLayoutId id="2147483838" r:id="rId16"/>
    <p:sldLayoutId id="2147483832" r:id="rId17"/>
    <p:sldLayoutId id="2147483828" r:id="rId18"/>
    <p:sldLayoutId id="2147483830" r:id="rId19"/>
    <p:sldLayoutId id="2147483831" r:id="rId20"/>
    <p:sldLayoutId id="2147483834" r:id="rId21"/>
    <p:sldLayoutId id="2147483835" r:id="rId22"/>
    <p:sldLayoutId id="2147483836" r:id="rId23"/>
    <p:sldLayoutId id="2147483837" r:id="rId24"/>
    <p:sldLayoutId id="2147483839" r:id="rId25"/>
    <p:sldLayoutId id="2147483852" r:id="rId26"/>
    <p:sldLayoutId id="2147483843" r:id="rId27"/>
    <p:sldLayoutId id="2147483847" r:id="rId28"/>
    <p:sldLayoutId id="2147483846" r:id="rId29"/>
    <p:sldLayoutId id="2147483841" r:id="rId30"/>
    <p:sldLayoutId id="2147483842" r:id="rId31"/>
    <p:sldLayoutId id="2147483857" r:id="rId32"/>
    <p:sldLayoutId id="2147483856" r:id="rId33"/>
    <p:sldLayoutId id="2147483840" r:id="rId34"/>
  </p:sldLayoutIdLst>
  <p:transition>
    <p:fade/>
  </p:transition>
  <p:hf hdr="0"/>
  <p:txStyles>
    <p:titleStyle>
      <a:lvl1pPr algn="l" defTabSz="914392" rtl="0" eaLnBrk="1" latinLnBrk="0" hangingPunct="1">
        <a:lnSpc>
          <a:spcPct val="90000"/>
        </a:lnSpc>
        <a:spcBef>
          <a:spcPct val="0"/>
        </a:spcBef>
        <a:buNone/>
        <a:defRPr sz="2400" b="1" kern="1200" cap="none" baseline="0">
          <a:solidFill>
            <a:schemeClr val="tx1"/>
          </a:solidFill>
          <a:latin typeface="+mj-lt"/>
          <a:ea typeface="+mj-ea"/>
          <a:cs typeface="+mj-cs"/>
        </a:defRPr>
      </a:lvl1pPr>
    </p:titleStyle>
    <p:bodyStyle>
      <a:lvl1pPr marL="0" indent="0" algn="l" defTabSz="914392" rtl="0" eaLnBrk="1" latinLnBrk="0" hangingPunct="1">
        <a:lnSpc>
          <a:spcPct val="90000"/>
        </a:lnSpc>
        <a:spcBef>
          <a:spcPts val="800"/>
        </a:spcBef>
        <a:buFont typeface="Arial" panose="020B0604020202020204" pitchFamily="34" charset="0"/>
        <a:buNone/>
        <a:defRPr lang="de-DE" sz="1600" kern="1200" dirty="0" smtClean="0">
          <a:solidFill>
            <a:schemeClr val="tx1"/>
          </a:solidFill>
          <a:latin typeface="+mn-lt"/>
          <a:ea typeface="+mn-ea"/>
          <a:cs typeface="+mn-cs"/>
        </a:defRPr>
      </a:lvl1pPr>
      <a:lvl2pPr marL="241298" indent="-241298" algn="l" defTabSz="914392" rtl="0" eaLnBrk="1" latinLnBrk="0" hangingPunct="1">
        <a:lnSpc>
          <a:spcPct val="90000"/>
        </a:lnSpc>
        <a:spcBef>
          <a:spcPts val="800"/>
        </a:spcBef>
        <a:buClr>
          <a:schemeClr val="accent1"/>
        </a:buClr>
        <a:buFont typeface="Wingdings" panose="05000000000000000000" pitchFamily="2" charset="2"/>
        <a:buChar char="§"/>
        <a:defRPr lang="de-DE" sz="1600" kern="1200" dirty="0" smtClean="0">
          <a:solidFill>
            <a:schemeClr val="tx1"/>
          </a:solidFill>
          <a:latin typeface="+mn-lt"/>
          <a:ea typeface="+mn-ea"/>
          <a:cs typeface="+mn-cs"/>
        </a:defRPr>
      </a:lvl2pPr>
      <a:lvl3pPr marL="476247" indent="-234949" algn="l" defTabSz="914392" rtl="0" eaLnBrk="1" latinLnBrk="0" hangingPunct="1">
        <a:lnSpc>
          <a:spcPct val="90000"/>
        </a:lnSpc>
        <a:spcBef>
          <a:spcPts val="800"/>
        </a:spcBef>
        <a:buClr>
          <a:schemeClr val="accent1"/>
        </a:buClr>
        <a:buFont typeface="Symbol" panose="05050102010706020507" pitchFamily="18" charset="2"/>
        <a:buChar char="-"/>
        <a:defRPr lang="de-DE" sz="1467" kern="1200" dirty="0">
          <a:solidFill>
            <a:schemeClr val="tx1"/>
          </a:solidFill>
          <a:latin typeface="+mn-lt"/>
          <a:ea typeface="+mn-ea"/>
          <a:cs typeface="+mn-cs"/>
        </a:defRPr>
      </a:lvl3pPr>
      <a:lvl4pPr marL="1600187" indent="-228598" algn="l" defTabSz="91439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3" indent="-228598" algn="l" defTabSz="91439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78" indent="-228598" algn="l" defTabSz="91439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75" indent="-228598" algn="l" defTabSz="91439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72" indent="-228598" algn="l" defTabSz="91439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67" indent="-228598" algn="l" defTabSz="91439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92" rtl="0" eaLnBrk="1" latinLnBrk="0" hangingPunct="1">
        <a:defRPr sz="1800" kern="1200">
          <a:solidFill>
            <a:schemeClr val="tx1"/>
          </a:solidFill>
          <a:latin typeface="+mn-lt"/>
          <a:ea typeface="+mn-ea"/>
          <a:cs typeface="+mn-cs"/>
        </a:defRPr>
      </a:lvl1pPr>
      <a:lvl2pPr marL="457197" algn="l" defTabSz="914392" rtl="0" eaLnBrk="1" latinLnBrk="0" hangingPunct="1">
        <a:defRPr sz="1800" kern="1200">
          <a:solidFill>
            <a:schemeClr val="tx1"/>
          </a:solidFill>
          <a:latin typeface="+mn-lt"/>
          <a:ea typeface="+mn-ea"/>
          <a:cs typeface="+mn-cs"/>
        </a:defRPr>
      </a:lvl2pPr>
      <a:lvl3pPr marL="914392" algn="l" defTabSz="914392" rtl="0" eaLnBrk="1" latinLnBrk="0" hangingPunct="1">
        <a:defRPr sz="1800" kern="1200">
          <a:solidFill>
            <a:schemeClr val="tx1"/>
          </a:solidFill>
          <a:latin typeface="+mn-lt"/>
          <a:ea typeface="+mn-ea"/>
          <a:cs typeface="+mn-cs"/>
        </a:defRPr>
      </a:lvl3pPr>
      <a:lvl4pPr marL="1371588" algn="l" defTabSz="914392" rtl="0" eaLnBrk="1" latinLnBrk="0" hangingPunct="1">
        <a:defRPr sz="1800" kern="1200">
          <a:solidFill>
            <a:schemeClr val="tx1"/>
          </a:solidFill>
          <a:latin typeface="+mn-lt"/>
          <a:ea typeface="+mn-ea"/>
          <a:cs typeface="+mn-cs"/>
        </a:defRPr>
      </a:lvl4pPr>
      <a:lvl5pPr marL="1828785" algn="l" defTabSz="914392" rtl="0" eaLnBrk="1" latinLnBrk="0" hangingPunct="1">
        <a:defRPr sz="1800" kern="1200">
          <a:solidFill>
            <a:schemeClr val="tx1"/>
          </a:solidFill>
          <a:latin typeface="+mn-lt"/>
          <a:ea typeface="+mn-ea"/>
          <a:cs typeface="+mn-cs"/>
        </a:defRPr>
      </a:lvl5pPr>
      <a:lvl6pPr marL="2285982" algn="l" defTabSz="914392" rtl="0" eaLnBrk="1" latinLnBrk="0" hangingPunct="1">
        <a:defRPr sz="1800" kern="1200">
          <a:solidFill>
            <a:schemeClr val="tx1"/>
          </a:solidFill>
          <a:latin typeface="+mn-lt"/>
          <a:ea typeface="+mn-ea"/>
          <a:cs typeface="+mn-cs"/>
        </a:defRPr>
      </a:lvl6pPr>
      <a:lvl7pPr marL="2743177" algn="l" defTabSz="914392" rtl="0" eaLnBrk="1" latinLnBrk="0" hangingPunct="1">
        <a:defRPr sz="1800" kern="1200">
          <a:solidFill>
            <a:schemeClr val="tx1"/>
          </a:solidFill>
          <a:latin typeface="+mn-lt"/>
          <a:ea typeface="+mn-ea"/>
          <a:cs typeface="+mn-cs"/>
        </a:defRPr>
      </a:lvl7pPr>
      <a:lvl8pPr marL="3200373" algn="l" defTabSz="914392" rtl="0" eaLnBrk="1" latinLnBrk="0" hangingPunct="1">
        <a:defRPr sz="1800" kern="1200">
          <a:solidFill>
            <a:schemeClr val="tx1"/>
          </a:solidFill>
          <a:latin typeface="+mn-lt"/>
          <a:ea typeface="+mn-ea"/>
          <a:cs typeface="+mn-cs"/>
        </a:defRPr>
      </a:lvl8pPr>
      <a:lvl9pPr marL="3657570" algn="l" defTabSz="91439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04" userDrawn="1">
          <p15:clr>
            <a:srgbClr val="F26B43"/>
          </p15:clr>
        </p15:guide>
        <p15:guide id="5" orient="horz" pos="4216" userDrawn="1">
          <p15:clr>
            <a:srgbClr val="F26B43"/>
          </p15:clr>
        </p15:guide>
        <p15:guide id="7" pos="7573" userDrawn="1">
          <p15:clr>
            <a:srgbClr val="F26B43"/>
          </p15:clr>
        </p15:guide>
        <p15:guide id="8" pos="10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s-ES"/>
              <a:t>14.02.2019</a:t>
            </a:r>
            <a:endParaRPr lang="es-E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s-ES"/>
              <a:t>Título de la presentación</a:t>
            </a:r>
            <a:endParaRPr lang="es-E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s-ES"/>
              <a:t>Página </a:t>
            </a:r>
            <a:fld id="{3A8B5DB7-81A8-4ED4-916B-6B23CD603687}" type="slidenum">
              <a:rPr lang="es-ES" smtClean="0"/>
              <a:pPr/>
              <a:t>‹Nº›</a:t>
            </a:fld>
            <a:endParaRPr lang="es-ES" dirty="0"/>
          </a:p>
        </p:txBody>
      </p:sp>
      <p:pic>
        <p:nvPicPr>
          <p:cNvPr id="7" name="Logo">
            <a:extLst>
              <a:ext uri="{FF2B5EF4-FFF2-40B4-BE49-F238E27FC236}">
                <a16:creationId xmlns:a16="http://schemas.microsoft.com/office/drawing/2014/main" id="{D4301AF8-6FEE-4F31-A560-1E5621557AED}"/>
              </a:ext>
            </a:extLst>
          </p:cNvPr>
          <p:cNvPicPr>
            <a:picLocks noChangeAspect="1"/>
          </p:cNvPicPr>
          <p:nvPr userDrawn="1"/>
        </p:nvPicPr>
        <p:blipFill rotWithShape="1">
          <a:blip r:embed="rId23">
            <a:extLst>
              <a:ext uri="{BEBA8EAE-BF5A-486C-A8C5-ECC9F3942E4B}">
                <a14:imgProps xmlns:a14="http://schemas.microsoft.com/office/drawing/2010/main">
                  <a14:imgLayer r:embed="rId24">
                    <a14:imgEffect>
                      <a14:brightnessContrast bright="-8000"/>
                    </a14:imgEffect>
                  </a14:imgLayer>
                </a14:imgProps>
              </a:ext>
              <a:ext uri="{28A0092B-C50C-407E-A947-70E740481C1C}">
                <a14:useLocalDpi xmlns:a14="http://schemas.microsoft.com/office/drawing/2010/main" val="0"/>
              </a:ext>
            </a:extLst>
          </a:blip>
          <a:srcRect r="64013"/>
          <a:stretch/>
        </p:blipFill>
        <p:spPr bwMode="gray">
          <a:xfrm>
            <a:off x="11589389" y="6371816"/>
            <a:ext cx="413113" cy="316833"/>
          </a:xfrm>
          <a:prstGeom prst="rect">
            <a:avLst/>
          </a:prstGeom>
        </p:spPr>
      </p:pic>
      <p:sp>
        <p:nvSpPr>
          <p:cNvPr id="8" name="bar">
            <a:extLst>
              <a:ext uri="{FF2B5EF4-FFF2-40B4-BE49-F238E27FC236}">
                <a16:creationId xmlns:a16="http://schemas.microsoft.com/office/drawing/2014/main" id="{E3B04F53-011B-4D4E-BC78-8D84BFAA67BC}"/>
              </a:ext>
            </a:extLst>
          </p:cNvPr>
          <p:cNvSpPr/>
          <p:nvPr userDrawn="1"/>
        </p:nvSpPr>
        <p:spPr bwMode="gray">
          <a:xfrm>
            <a:off x="10890252" y="6133761"/>
            <a:ext cx="1132416" cy="69195"/>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eaLnBrk="0" fontAlgn="base" hangingPunct="0">
              <a:spcBef>
                <a:spcPct val="0"/>
              </a:spcBef>
              <a:spcAft>
                <a:spcPct val="0"/>
              </a:spcAft>
            </a:pPr>
            <a:endParaRPr lang="de-DE" sz="2400" dirty="0" err="1">
              <a:solidFill>
                <a:schemeClr val="tx2"/>
              </a:solidFill>
              <a:latin typeface="Arial" charset="0"/>
            </a:endParaRPr>
          </a:p>
        </p:txBody>
      </p:sp>
      <p:cxnSp>
        <p:nvCxnSpPr>
          <p:cNvPr id="9" name="Trennlinie 2">
            <a:extLst>
              <a:ext uri="{FF2B5EF4-FFF2-40B4-BE49-F238E27FC236}">
                <a16:creationId xmlns:a16="http://schemas.microsoft.com/office/drawing/2014/main" id="{9FEFBCBD-4175-403E-94D4-2E612282533E}"/>
              </a:ext>
            </a:extLst>
          </p:cNvPr>
          <p:cNvCxnSpPr>
            <a:cxnSpLocks/>
          </p:cNvCxnSpPr>
          <p:nvPr userDrawn="1"/>
        </p:nvCxnSpPr>
        <p:spPr bwMode="gray">
          <a:xfrm>
            <a:off x="2362197" y="6575619"/>
            <a:ext cx="0" cy="103716"/>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Trennline 1">
            <a:extLst>
              <a:ext uri="{FF2B5EF4-FFF2-40B4-BE49-F238E27FC236}">
                <a16:creationId xmlns:a16="http://schemas.microsoft.com/office/drawing/2014/main" id="{9F3483D4-096F-4A24-8C07-A0CA6E1BE89A}"/>
              </a:ext>
            </a:extLst>
          </p:cNvPr>
          <p:cNvCxnSpPr>
            <a:cxnSpLocks/>
          </p:cNvCxnSpPr>
          <p:nvPr userDrawn="1"/>
        </p:nvCxnSpPr>
        <p:spPr bwMode="gray">
          <a:xfrm>
            <a:off x="1321127" y="6575619"/>
            <a:ext cx="0" cy="103716"/>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1808364"/>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80" r:id="rId13"/>
    <p:sldLayoutId id="2147483881" r:id="rId14"/>
    <p:sldLayoutId id="2147483882" r:id="rId15"/>
    <p:sldLayoutId id="2147483883" r:id="rId16"/>
    <p:sldLayoutId id="2147483884" r:id="rId17"/>
    <p:sldLayoutId id="2147483885" r:id="rId18"/>
    <p:sldLayoutId id="2147483886" r:id="rId19"/>
    <p:sldLayoutId id="2147483887" r:id="rId20"/>
    <p:sldLayoutId id="2147483888" r:id="rId21"/>
  </p:sldLayoutIdLst>
  <p:transition>
    <p:fade/>
  </p:transition>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4" userDrawn="1">
          <p15:clr>
            <a:srgbClr val="F26B43"/>
          </p15:clr>
        </p15:guide>
        <p15:guide id="2" orient="horz" pos="4216" userDrawn="1">
          <p15:clr>
            <a:srgbClr val="F26B43"/>
          </p15:clr>
        </p15:guide>
        <p15:guide id="3" pos="7573" userDrawn="1">
          <p15:clr>
            <a:srgbClr val="F26B43"/>
          </p15:clr>
        </p15:guide>
        <p15:guide id="4" pos="10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46.xml"/></Relationships>
</file>

<file path=ppt/slides/_rels/slide10.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35.png"/><Relationship Id="rId1" Type="http://schemas.openxmlformats.org/officeDocument/2006/relationships/slideLayout" Target="../slideLayouts/slideLayout50.xml"/></Relationships>
</file>

<file path=ppt/slides/_rels/slide1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29.jpg"/><Relationship Id="rId7"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5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41.jpeg"/><Relationship Id="rId7"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53.xml"/><Relationship Id="rId6" Type="http://schemas.openxmlformats.org/officeDocument/2006/relationships/image" Target="../media/image42.png"/><Relationship Id="rId5" Type="http://schemas.openxmlformats.org/officeDocument/2006/relationships/image" Target="../media/image29.jpg"/><Relationship Id="rId10" Type="http://schemas.openxmlformats.org/officeDocument/2006/relationships/image" Target="../media/image46.jpeg"/><Relationship Id="rId4" Type="http://schemas.openxmlformats.org/officeDocument/2006/relationships/hyperlink" Target="https://www.developpp.de/en/projects-and-success-stories-developppde-success-stories/" TargetMode="External"/><Relationship Id="rId9" Type="http://schemas.openxmlformats.org/officeDocument/2006/relationships/image" Target="../media/image45.jpeg"/></Relationships>
</file>

<file path=ppt/slides/_rels/slide14.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1.xml"/><Relationship Id="rId1" Type="http://schemas.openxmlformats.org/officeDocument/2006/relationships/slideLayout" Target="../slideLayouts/slideLayout53.xml"/><Relationship Id="rId5" Type="http://schemas.openxmlformats.org/officeDocument/2006/relationships/image" Target="../media/image48.jpg"/><Relationship Id="rId4" Type="http://schemas.openxmlformats.org/officeDocument/2006/relationships/image" Target="../media/image47.jpg"/></Relationships>
</file>

<file path=ppt/slides/_rels/slide15.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2.xml"/><Relationship Id="rId1" Type="http://schemas.openxmlformats.org/officeDocument/2006/relationships/slideLayout" Target="../slideLayouts/slideLayout53.xml"/><Relationship Id="rId5" Type="http://schemas.openxmlformats.org/officeDocument/2006/relationships/image" Target="../media/image50.jpg"/><Relationship Id="rId4" Type="http://schemas.openxmlformats.org/officeDocument/2006/relationships/image" Target="../media/image49.jpg"/></Relationships>
</file>

<file path=ppt/slides/_rels/slide1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9.jpg"/><Relationship Id="rId7" Type="http://schemas.openxmlformats.org/officeDocument/2006/relationships/diagramColors" Target="../diagrams/colors1.xml"/><Relationship Id="rId2" Type="http://schemas.openxmlformats.org/officeDocument/2006/relationships/notesSlide" Target="../notesSlides/notesSlide13.xml"/><Relationship Id="rId1" Type="http://schemas.openxmlformats.org/officeDocument/2006/relationships/slideLayout" Target="../slideLayouts/slideLayout5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4.xml"/><Relationship Id="rId1" Type="http://schemas.openxmlformats.org/officeDocument/2006/relationships/slideLayout" Target="../slideLayouts/slideLayout54.xml"/><Relationship Id="rId4" Type="http://schemas.openxmlformats.org/officeDocument/2006/relationships/image" Target="../media/image29.jp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xml"/><Relationship Id="rId1" Type="http://schemas.openxmlformats.org/officeDocument/2006/relationships/slideLayout" Target="../slideLayouts/slideLayout47.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2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5.xml"/><Relationship Id="rId1" Type="http://schemas.openxmlformats.org/officeDocument/2006/relationships/slideLayout" Target="../slideLayouts/slideLayout52.xml"/><Relationship Id="rId4" Type="http://schemas.openxmlformats.org/officeDocument/2006/relationships/image" Target="../media/image29.jpg"/></Relationships>
</file>

<file path=ppt/slides/_rels/slide21.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slideLayout" Target="../slideLayouts/slideLayout54.xml"/><Relationship Id="rId1" Type="http://schemas.openxmlformats.org/officeDocument/2006/relationships/tags" Target="../tags/tag7.xml"/><Relationship Id="rId6" Type="http://schemas.openxmlformats.org/officeDocument/2006/relationships/image" Target="../media/image56.svg"/><Relationship Id="rId5" Type="http://schemas.openxmlformats.org/officeDocument/2006/relationships/image" Target="../media/image55.png"/><Relationship Id="rId10" Type="http://schemas.openxmlformats.org/officeDocument/2006/relationships/image" Target="../media/image60.svg"/><Relationship Id="rId4" Type="http://schemas.openxmlformats.org/officeDocument/2006/relationships/image" Target="../media/image54.svg"/><Relationship Id="rId9" Type="http://schemas.openxmlformats.org/officeDocument/2006/relationships/image" Target="../media/image59.png"/></Relationships>
</file>

<file path=ppt/slides/_rels/slide2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6.xml"/><Relationship Id="rId1" Type="http://schemas.openxmlformats.org/officeDocument/2006/relationships/slideLayout" Target="../slideLayouts/slideLayout52.xml"/><Relationship Id="rId6" Type="http://schemas.openxmlformats.org/officeDocument/2006/relationships/image" Target="../media/image29.jpg"/><Relationship Id="rId5" Type="http://schemas.openxmlformats.org/officeDocument/2006/relationships/hyperlink" Target="http://www.developpp.de/en" TargetMode="External"/><Relationship Id="rId4" Type="http://schemas.openxmlformats.org/officeDocument/2006/relationships/hyperlink" Target="mailto:sectorprivadomexico@giz.de"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7.xml"/><Relationship Id="rId1" Type="http://schemas.openxmlformats.org/officeDocument/2006/relationships/slideLayout" Target="../slideLayouts/slideLayout5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3" Type="http://schemas.openxmlformats.org/officeDocument/2006/relationships/hyperlink" Target="http://www.giz.de/en/worldwide/33041.html" TargetMode="External"/><Relationship Id="rId7" Type="http://schemas.openxmlformats.org/officeDocument/2006/relationships/image" Target="../media/image64.png"/><Relationship Id="rId2" Type="http://schemas.openxmlformats.org/officeDocument/2006/relationships/notesSlide" Target="../notesSlides/notesSlide19.xml"/><Relationship Id="rId1" Type="http://schemas.openxmlformats.org/officeDocument/2006/relationships/slideLayout" Target="../slideLayouts/slideLayout4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hyperlink" Target="http://www.iki-alliance.mx/"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7.xml"/></Relationships>
</file>

<file path=ppt/slides/_rels/slide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xml"/><Relationship Id="rId1" Type="http://schemas.openxmlformats.org/officeDocument/2006/relationships/slideLayout" Target="../slideLayouts/slideLayout47.xml"/><Relationship Id="rId4" Type="http://schemas.openxmlformats.org/officeDocument/2006/relationships/image" Target="../media/image24.jpeg"/></Relationships>
</file>

<file path=ppt/slides/_rels/slide6.xml.rels><?xml version="1.0" encoding="UTF-8" standalone="yes"?>
<Relationships xmlns="http://schemas.openxmlformats.org/package/2006/relationships"><Relationship Id="rId3" Type="http://schemas.openxmlformats.org/officeDocument/2006/relationships/image" Target="../media/image25.wmf"/><Relationship Id="rId2" Type="http://schemas.openxmlformats.org/officeDocument/2006/relationships/notesSlide" Target="../notesSlides/notesSlide6.xml"/><Relationship Id="rId1" Type="http://schemas.openxmlformats.org/officeDocument/2006/relationships/slideLayout" Target="../slideLayouts/slideLayout47.xml"/><Relationship Id="rId6" Type="http://schemas.openxmlformats.org/officeDocument/2006/relationships/image" Target="../media/image27.jpeg"/><Relationship Id="rId5" Type="http://schemas.openxmlformats.org/officeDocument/2006/relationships/image" Target="../media/image26.png"/><Relationship Id="rId4" Type="http://schemas.openxmlformats.org/officeDocument/2006/relationships/hyperlink" Target="http://www.iki-alliance.mx/"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49.xml"/><Relationship Id="rId5" Type="http://schemas.openxmlformats.org/officeDocument/2006/relationships/image" Target="../media/image29.jpg"/><Relationship Id="rId4" Type="http://schemas.openxmlformats.org/officeDocument/2006/relationships/image" Target="../media/image28.jpeg"/></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Layout" Target="../slideLayouts/slideLayout50.xml"/><Relationship Id="rId4" Type="http://schemas.openxmlformats.org/officeDocument/2006/relationships/image" Target="../media/image31.svg"/></Relationships>
</file>

<file path=ppt/slides/_rels/slide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8.xml"/><Relationship Id="rId1" Type="http://schemas.openxmlformats.org/officeDocument/2006/relationships/slideLayout" Target="../slideLayouts/slideLayout51.xml"/><Relationship Id="rId6" Type="http://schemas.openxmlformats.org/officeDocument/2006/relationships/image" Target="../media/image29.jpg"/><Relationship Id="rId5" Type="http://schemas.openxmlformats.org/officeDocument/2006/relationships/image" Target="../media/image34.jpeg"/><Relationship Id="rId4" Type="http://schemas.openxmlformats.org/officeDocument/2006/relationships/image" Target="../media/image3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23F92754-EA38-48C6-AAFC-A6F6730D42C8}"/>
              </a:ext>
            </a:extLst>
          </p:cNvPr>
          <p:cNvSpPr>
            <a:spLocks noGrp="1"/>
          </p:cNvSpPr>
          <p:nvPr>
            <p:ph type="body" sz="quarter" idx="10"/>
          </p:nvPr>
        </p:nvSpPr>
        <p:spPr bwMode="gray">
          <a:xfrm>
            <a:off x="731525" y="6439451"/>
            <a:ext cx="10627783" cy="384721"/>
          </a:xfrm>
        </p:spPr>
        <p:txBody>
          <a:bodyPr/>
          <a:lstStyle/>
          <a:p>
            <a:r>
              <a:rPr lang="es-ES" dirty="0"/>
              <a:t>Genero 2020</a:t>
            </a:r>
          </a:p>
        </p:txBody>
      </p:sp>
      <p:sp>
        <p:nvSpPr>
          <p:cNvPr id="5" name="Titel 4">
            <a:extLst>
              <a:ext uri="{FF2B5EF4-FFF2-40B4-BE49-F238E27FC236}">
                <a16:creationId xmlns:a16="http://schemas.microsoft.com/office/drawing/2014/main" id="{2037E891-3841-419B-AA94-6992BF231190}"/>
              </a:ext>
            </a:extLst>
          </p:cNvPr>
          <p:cNvSpPr>
            <a:spLocks noGrp="1"/>
          </p:cNvSpPr>
          <p:nvPr>
            <p:ph type="title"/>
          </p:nvPr>
        </p:nvSpPr>
        <p:spPr bwMode="gray">
          <a:xfrm>
            <a:off x="160774" y="1721812"/>
            <a:ext cx="11863231" cy="2945743"/>
          </a:xfrm>
        </p:spPr>
        <p:txBody>
          <a:bodyPr/>
          <a:lstStyle/>
          <a:p>
            <a:pPr algn="ctr" defTabSz="1219190">
              <a:lnSpc>
                <a:spcPts val="7440"/>
              </a:lnSpc>
              <a:spcBef>
                <a:spcPts val="0"/>
              </a:spcBef>
            </a:pPr>
            <a:r>
              <a:rPr lang="es-ES" sz="5400" dirty="0">
                <a:solidFill>
                  <a:srgbClr val="C00000"/>
                </a:solidFill>
                <a:latin typeface="GIZ Gravur Pro Cond" panose="02010506010101020102" pitchFamily="50" charset="0"/>
                <a:ea typeface="+mn-ea"/>
                <a:cs typeface="+mn-cs"/>
              </a:rPr>
              <a:t>Clúster de Cambio Climático y la Alianza Mexicana-Alemana de Cambio Climático </a:t>
            </a:r>
            <a:br>
              <a:rPr lang="es-ES" sz="7200" dirty="0">
                <a:solidFill>
                  <a:srgbClr val="C00000"/>
                </a:solidFill>
                <a:latin typeface="GIZ Gravur Pro Cond" panose="02010506010101020102" pitchFamily="50" charset="0"/>
                <a:ea typeface="+mn-ea"/>
                <a:cs typeface="+mn-cs"/>
              </a:rPr>
            </a:br>
            <a:r>
              <a:rPr lang="es-ES" sz="7200" dirty="0">
                <a:solidFill>
                  <a:srgbClr val="C00000"/>
                </a:solidFill>
                <a:latin typeface="GIZ Gravur Pro Cond" panose="02010506010101020102" pitchFamily="50" charset="0"/>
                <a:ea typeface="+mn-ea"/>
                <a:cs typeface="+mn-cs"/>
              </a:rPr>
              <a:t>GIZ México</a:t>
            </a:r>
          </a:p>
        </p:txBody>
      </p:sp>
      <p:pic>
        <p:nvPicPr>
          <p:cNvPr id="2" name="Imagen 1">
            <a:extLst>
              <a:ext uri="{FF2B5EF4-FFF2-40B4-BE49-F238E27FC236}">
                <a16:creationId xmlns:a16="http://schemas.microsoft.com/office/drawing/2014/main" id="{E20FFA27-7CCD-4D4A-AB33-BF487281BC39}"/>
              </a:ext>
            </a:extLst>
          </p:cNvPr>
          <p:cNvPicPr>
            <a:picLocks noChangeAspect="1"/>
          </p:cNvPicPr>
          <p:nvPr/>
        </p:nvPicPr>
        <p:blipFill>
          <a:blip r:embed="rId3"/>
          <a:stretch>
            <a:fillRect/>
          </a:stretch>
        </p:blipFill>
        <p:spPr>
          <a:xfrm>
            <a:off x="4023357" y="5337935"/>
            <a:ext cx="8000648" cy="1520068"/>
          </a:xfrm>
          <a:prstGeom prst="rect">
            <a:avLst/>
          </a:prstGeom>
        </p:spPr>
      </p:pic>
      <p:sp>
        <p:nvSpPr>
          <p:cNvPr id="3" name="Rectángulo 2">
            <a:extLst>
              <a:ext uri="{FF2B5EF4-FFF2-40B4-BE49-F238E27FC236}">
                <a16:creationId xmlns:a16="http://schemas.microsoft.com/office/drawing/2014/main" id="{F9E7D322-F45F-453A-AB95-B9BA588E3CD6}"/>
              </a:ext>
            </a:extLst>
          </p:cNvPr>
          <p:cNvSpPr/>
          <p:nvPr/>
        </p:nvSpPr>
        <p:spPr>
          <a:xfrm>
            <a:off x="731520" y="5307995"/>
            <a:ext cx="3291837" cy="11015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s-MX" sz="2400" dirty="0" err="1"/>
          </a:p>
        </p:txBody>
      </p:sp>
      <p:sp>
        <p:nvSpPr>
          <p:cNvPr id="12" name="Rectángulo 11">
            <a:extLst>
              <a:ext uri="{FF2B5EF4-FFF2-40B4-BE49-F238E27FC236}">
                <a16:creationId xmlns:a16="http://schemas.microsoft.com/office/drawing/2014/main" id="{F5F09FA5-798F-4C96-9A0D-170675A21A10}"/>
              </a:ext>
            </a:extLst>
          </p:cNvPr>
          <p:cNvSpPr/>
          <p:nvPr/>
        </p:nvSpPr>
        <p:spPr>
          <a:xfrm>
            <a:off x="7146151" y="4881242"/>
            <a:ext cx="4877854" cy="324000"/>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Tree>
    <p:extLst>
      <p:ext uri="{BB962C8B-B14F-4D97-AF65-F5344CB8AC3E}">
        <p14:creationId xmlns:p14="http://schemas.microsoft.com/office/powerpoint/2010/main" val="242522738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o 2">
            <a:extLst>
              <a:ext uri="{FF2B5EF4-FFF2-40B4-BE49-F238E27FC236}">
                <a16:creationId xmlns:a16="http://schemas.microsoft.com/office/drawing/2014/main" id="{E34A8FE5-7EE8-4C40-A021-9F162EC915E6}"/>
              </a:ext>
            </a:extLst>
          </p:cNvPr>
          <p:cNvGrpSpPr>
            <a:grpSpLocks noChangeAspect="1"/>
          </p:cNvGrpSpPr>
          <p:nvPr/>
        </p:nvGrpSpPr>
        <p:grpSpPr>
          <a:xfrm>
            <a:off x="4635040" y="2125142"/>
            <a:ext cx="5918501" cy="3548581"/>
            <a:chOff x="3131840" y="1962068"/>
            <a:chExt cx="5897698" cy="3536108"/>
          </a:xfrm>
        </p:grpSpPr>
        <p:pic>
          <p:nvPicPr>
            <p:cNvPr id="7" name="Imagen 6">
              <a:extLst>
                <a:ext uri="{FF2B5EF4-FFF2-40B4-BE49-F238E27FC236}">
                  <a16:creationId xmlns:a16="http://schemas.microsoft.com/office/drawing/2014/main" id="{28715D29-4640-4719-8899-E2E046ABC1FC}"/>
                </a:ext>
              </a:extLst>
            </p:cNvPr>
            <p:cNvPicPr>
              <a:picLocks noChangeAspect="1"/>
            </p:cNvPicPr>
            <p:nvPr/>
          </p:nvPicPr>
          <p:blipFill>
            <a:blip r:embed="rId2"/>
            <a:stretch>
              <a:fillRect/>
            </a:stretch>
          </p:blipFill>
          <p:spPr>
            <a:xfrm>
              <a:off x="4701693" y="2772031"/>
              <a:ext cx="2104652" cy="2104652"/>
            </a:xfrm>
            <a:prstGeom prst="rect">
              <a:avLst/>
            </a:prstGeom>
          </p:spPr>
        </p:pic>
        <p:sp>
          <p:nvSpPr>
            <p:cNvPr id="36" name="Freeform 191">
              <a:extLst>
                <a:ext uri="{FF2B5EF4-FFF2-40B4-BE49-F238E27FC236}">
                  <a16:creationId xmlns:a16="http://schemas.microsoft.com/office/drawing/2014/main" id="{E88D94DB-5943-4521-9159-EC1650FFBCF9}"/>
                </a:ext>
              </a:extLst>
            </p:cNvPr>
            <p:cNvSpPr>
              <a:spLocks/>
            </p:cNvSpPr>
            <p:nvPr/>
          </p:nvSpPr>
          <p:spPr bwMode="auto">
            <a:xfrm>
              <a:off x="7139286" y="2150670"/>
              <a:ext cx="1322751" cy="611757"/>
            </a:xfrm>
            <a:custGeom>
              <a:avLst/>
              <a:gdLst>
                <a:gd name="T0" fmla="*/ 4017 w 4210"/>
                <a:gd name="T1" fmla="*/ 53 h 1948"/>
                <a:gd name="T2" fmla="*/ 3974 w 4210"/>
                <a:gd name="T3" fmla="*/ 58 h 1948"/>
                <a:gd name="T4" fmla="*/ 3956 w 4210"/>
                <a:gd name="T5" fmla="*/ 49 h 1948"/>
                <a:gd name="T6" fmla="*/ 3788 w 4210"/>
                <a:gd name="T7" fmla="*/ 27 h 1948"/>
                <a:gd name="T8" fmla="*/ 3503 w 4210"/>
                <a:gd name="T9" fmla="*/ 17 h 1948"/>
                <a:gd name="T10" fmla="*/ 3017 w 4210"/>
                <a:gd name="T11" fmla="*/ 2 h 1948"/>
                <a:gd name="T12" fmla="*/ 2302 w 4210"/>
                <a:gd name="T13" fmla="*/ 6 h 1948"/>
                <a:gd name="T14" fmla="*/ 1829 w 4210"/>
                <a:gd name="T15" fmla="*/ 27 h 1948"/>
                <a:gd name="T16" fmla="*/ 882 w 4210"/>
                <a:gd name="T17" fmla="*/ 104 h 1948"/>
                <a:gd name="T18" fmla="*/ 299 w 4210"/>
                <a:gd name="T19" fmla="*/ 199 h 1948"/>
                <a:gd name="T20" fmla="*/ 174 w 4210"/>
                <a:gd name="T21" fmla="*/ 228 h 1948"/>
                <a:gd name="T22" fmla="*/ 166 w 4210"/>
                <a:gd name="T23" fmla="*/ 264 h 1948"/>
                <a:gd name="T24" fmla="*/ 191 w 4210"/>
                <a:gd name="T25" fmla="*/ 277 h 1948"/>
                <a:gd name="T26" fmla="*/ 1360 w 4210"/>
                <a:gd name="T27" fmla="*/ 153 h 1948"/>
                <a:gd name="T28" fmla="*/ 2064 w 4210"/>
                <a:gd name="T29" fmla="*/ 101 h 1948"/>
                <a:gd name="T30" fmla="*/ 2763 w 4210"/>
                <a:gd name="T31" fmla="*/ 84 h 1948"/>
                <a:gd name="T32" fmla="*/ 3228 w 4210"/>
                <a:gd name="T33" fmla="*/ 91 h 1948"/>
                <a:gd name="T34" fmla="*/ 3578 w 4210"/>
                <a:gd name="T35" fmla="*/ 107 h 1948"/>
                <a:gd name="T36" fmla="*/ 3875 w 4210"/>
                <a:gd name="T37" fmla="*/ 124 h 1948"/>
                <a:gd name="T38" fmla="*/ 3959 w 4210"/>
                <a:gd name="T39" fmla="*/ 220 h 1948"/>
                <a:gd name="T40" fmla="*/ 4002 w 4210"/>
                <a:gd name="T41" fmla="*/ 610 h 1948"/>
                <a:gd name="T42" fmla="*/ 3983 w 4210"/>
                <a:gd name="T43" fmla="*/ 1100 h 1948"/>
                <a:gd name="T44" fmla="*/ 3965 w 4210"/>
                <a:gd name="T45" fmla="*/ 1593 h 1948"/>
                <a:gd name="T46" fmla="*/ 3965 w 4210"/>
                <a:gd name="T47" fmla="*/ 1690 h 1948"/>
                <a:gd name="T48" fmla="*/ 3862 w 4210"/>
                <a:gd name="T49" fmla="*/ 1684 h 1948"/>
                <a:gd name="T50" fmla="*/ 3680 w 4210"/>
                <a:gd name="T51" fmla="*/ 1662 h 1948"/>
                <a:gd name="T52" fmla="*/ 3267 w 4210"/>
                <a:gd name="T53" fmla="*/ 1611 h 1948"/>
                <a:gd name="T54" fmla="*/ 2598 w 4210"/>
                <a:gd name="T55" fmla="*/ 1592 h 1948"/>
                <a:gd name="T56" fmla="*/ 2218 w 4210"/>
                <a:gd name="T57" fmla="*/ 1582 h 1948"/>
                <a:gd name="T58" fmla="*/ 1529 w 4210"/>
                <a:gd name="T59" fmla="*/ 1547 h 1948"/>
                <a:gd name="T60" fmla="*/ 330 w 4210"/>
                <a:gd name="T61" fmla="*/ 1514 h 1948"/>
                <a:gd name="T62" fmla="*/ 89 w 4210"/>
                <a:gd name="T63" fmla="*/ 1441 h 1948"/>
                <a:gd name="T64" fmla="*/ 113 w 4210"/>
                <a:gd name="T65" fmla="*/ 1050 h 1948"/>
                <a:gd name="T66" fmla="*/ 140 w 4210"/>
                <a:gd name="T67" fmla="*/ 722 h 1948"/>
                <a:gd name="T68" fmla="*/ 159 w 4210"/>
                <a:gd name="T69" fmla="*/ 473 h 1948"/>
                <a:gd name="T70" fmla="*/ 160 w 4210"/>
                <a:gd name="T71" fmla="*/ 281 h 1948"/>
                <a:gd name="T72" fmla="*/ 152 w 4210"/>
                <a:gd name="T73" fmla="*/ 238 h 1948"/>
                <a:gd name="T74" fmla="*/ 127 w 4210"/>
                <a:gd name="T75" fmla="*/ 234 h 1948"/>
                <a:gd name="T76" fmla="*/ 108 w 4210"/>
                <a:gd name="T77" fmla="*/ 282 h 1948"/>
                <a:gd name="T78" fmla="*/ 78 w 4210"/>
                <a:gd name="T79" fmla="*/ 490 h 1948"/>
                <a:gd name="T80" fmla="*/ 55 w 4210"/>
                <a:gd name="T81" fmla="*/ 753 h 1948"/>
                <a:gd name="T82" fmla="*/ 25 w 4210"/>
                <a:gd name="T83" fmla="*/ 1108 h 1948"/>
                <a:gd name="T84" fmla="*/ 4 w 4210"/>
                <a:gd name="T85" fmla="*/ 1350 h 1948"/>
                <a:gd name="T86" fmla="*/ 12 w 4210"/>
                <a:gd name="T87" fmla="*/ 1527 h 1948"/>
                <a:gd name="T88" fmla="*/ 24 w 4210"/>
                <a:gd name="T89" fmla="*/ 1569 h 1948"/>
                <a:gd name="T90" fmla="*/ 37 w 4210"/>
                <a:gd name="T91" fmla="*/ 1599 h 1948"/>
                <a:gd name="T92" fmla="*/ 159 w 4210"/>
                <a:gd name="T93" fmla="*/ 1693 h 1948"/>
                <a:gd name="T94" fmla="*/ 353 w 4210"/>
                <a:gd name="T95" fmla="*/ 1757 h 1948"/>
                <a:gd name="T96" fmla="*/ 724 w 4210"/>
                <a:gd name="T97" fmla="*/ 1783 h 1948"/>
                <a:gd name="T98" fmla="*/ 1368 w 4210"/>
                <a:gd name="T99" fmla="*/ 1814 h 1948"/>
                <a:gd name="T100" fmla="*/ 2992 w 4210"/>
                <a:gd name="T101" fmla="*/ 1897 h 1948"/>
                <a:gd name="T102" fmla="*/ 4087 w 4210"/>
                <a:gd name="T103" fmla="*/ 1948 h 1948"/>
                <a:gd name="T104" fmla="*/ 4138 w 4210"/>
                <a:gd name="T105" fmla="*/ 1913 h 1948"/>
                <a:gd name="T106" fmla="*/ 4152 w 4210"/>
                <a:gd name="T107" fmla="*/ 1868 h 1948"/>
                <a:gd name="T108" fmla="*/ 4192 w 4210"/>
                <a:gd name="T109" fmla="*/ 767 h 1948"/>
                <a:gd name="T110" fmla="*/ 4208 w 4210"/>
                <a:gd name="T111" fmla="*/ 531 h 1948"/>
                <a:gd name="T112" fmla="*/ 4203 w 4210"/>
                <a:gd name="T113" fmla="*/ 326 h 1948"/>
                <a:gd name="T114" fmla="*/ 4151 w 4210"/>
                <a:gd name="T115" fmla="*/ 170 h 1948"/>
                <a:gd name="T116" fmla="*/ 4094 w 4210"/>
                <a:gd name="T117" fmla="*/ 100 h 1948"/>
                <a:gd name="T118" fmla="*/ 4033 w 4210"/>
                <a:gd name="T119" fmla="*/ 59 h 1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10" h="1948">
                  <a:moveTo>
                    <a:pt x="4033" y="59"/>
                  </a:moveTo>
                  <a:lnTo>
                    <a:pt x="4017" y="53"/>
                  </a:lnTo>
                  <a:lnTo>
                    <a:pt x="3987" y="53"/>
                  </a:lnTo>
                  <a:lnTo>
                    <a:pt x="3974" y="58"/>
                  </a:lnTo>
                  <a:lnTo>
                    <a:pt x="3968" y="53"/>
                  </a:lnTo>
                  <a:lnTo>
                    <a:pt x="3956" y="49"/>
                  </a:lnTo>
                  <a:lnTo>
                    <a:pt x="3902" y="39"/>
                  </a:lnTo>
                  <a:lnTo>
                    <a:pt x="3788" y="27"/>
                  </a:lnTo>
                  <a:lnTo>
                    <a:pt x="3617" y="21"/>
                  </a:lnTo>
                  <a:lnTo>
                    <a:pt x="3503" y="17"/>
                  </a:lnTo>
                  <a:lnTo>
                    <a:pt x="3260" y="6"/>
                  </a:lnTo>
                  <a:lnTo>
                    <a:pt x="3017" y="2"/>
                  </a:lnTo>
                  <a:lnTo>
                    <a:pt x="2778" y="0"/>
                  </a:lnTo>
                  <a:lnTo>
                    <a:pt x="2302" y="6"/>
                  </a:lnTo>
                  <a:lnTo>
                    <a:pt x="2064" y="15"/>
                  </a:lnTo>
                  <a:lnTo>
                    <a:pt x="1829" y="27"/>
                  </a:lnTo>
                  <a:lnTo>
                    <a:pt x="1355" y="57"/>
                  </a:lnTo>
                  <a:lnTo>
                    <a:pt x="882" y="104"/>
                  </a:lnTo>
                  <a:lnTo>
                    <a:pt x="531" y="155"/>
                  </a:lnTo>
                  <a:lnTo>
                    <a:pt x="299" y="199"/>
                  </a:lnTo>
                  <a:lnTo>
                    <a:pt x="183" y="224"/>
                  </a:lnTo>
                  <a:lnTo>
                    <a:pt x="174" y="228"/>
                  </a:lnTo>
                  <a:lnTo>
                    <a:pt x="165" y="245"/>
                  </a:lnTo>
                  <a:lnTo>
                    <a:pt x="166" y="264"/>
                  </a:lnTo>
                  <a:lnTo>
                    <a:pt x="181" y="277"/>
                  </a:lnTo>
                  <a:lnTo>
                    <a:pt x="191" y="277"/>
                  </a:lnTo>
                  <a:lnTo>
                    <a:pt x="659" y="229"/>
                  </a:lnTo>
                  <a:lnTo>
                    <a:pt x="1360" y="153"/>
                  </a:lnTo>
                  <a:lnTo>
                    <a:pt x="1828" y="113"/>
                  </a:lnTo>
                  <a:lnTo>
                    <a:pt x="2064" y="101"/>
                  </a:lnTo>
                  <a:lnTo>
                    <a:pt x="2297" y="92"/>
                  </a:lnTo>
                  <a:lnTo>
                    <a:pt x="2763" y="84"/>
                  </a:lnTo>
                  <a:lnTo>
                    <a:pt x="2996" y="87"/>
                  </a:lnTo>
                  <a:lnTo>
                    <a:pt x="3228" y="91"/>
                  </a:lnTo>
                  <a:lnTo>
                    <a:pt x="3461" y="100"/>
                  </a:lnTo>
                  <a:lnTo>
                    <a:pt x="3578" y="107"/>
                  </a:lnTo>
                  <a:lnTo>
                    <a:pt x="3757" y="120"/>
                  </a:lnTo>
                  <a:lnTo>
                    <a:pt x="3875" y="124"/>
                  </a:lnTo>
                  <a:lnTo>
                    <a:pt x="3934" y="123"/>
                  </a:lnTo>
                  <a:lnTo>
                    <a:pt x="3959" y="220"/>
                  </a:lnTo>
                  <a:lnTo>
                    <a:pt x="3990" y="415"/>
                  </a:lnTo>
                  <a:lnTo>
                    <a:pt x="4002" y="610"/>
                  </a:lnTo>
                  <a:lnTo>
                    <a:pt x="4000" y="806"/>
                  </a:lnTo>
                  <a:lnTo>
                    <a:pt x="3983" y="1100"/>
                  </a:lnTo>
                  <a:lnTo>
                    <a:pt x="3967" y="1396"/>
                  </a:lnTo>
                  <a:lnTo>
                    <a:pt x="3965" y="1593"/>
                  </a:lnTo>
                  <a:lnTo>
                    <a:pt x="3971" y="1691"/>
                  </a:lnTo>
                  <a:lnTo>
                    <a:pt x="3965" y="1690"/>
                  </a:lnTo>
                  <a:lnTo>
                    <a:pt x="3960" y="1690"/>
                  </a:lnTo>
                  <a:lnTo>
                    <a:pt x="3862" y="1684"/>
                  </a:lnTo>
                  <a:lnTo>
                    <a:pt x="3762" y="1676"/>
                  </a:lnTo>
                  <a:lnTo>
                    <a:pt x="3680" y="1662"/>
                  </a:lnTo>
                  <a:lnTo>
                    <a:pt x="3516" y="1637"/>
                  </a:lnTo>
                  <a:lnTo>
                    <a:pt x="3267" y="1611"/>
                  </a:lnTo>
                  <a:lnTo>
                    <a:pt x="2932" y="1594"/>
                  </a:lnTo>
                  <a:lnTo>
                    <a:pt x="2598" y="1592"/>
                  </a:lnTo>
                  <a:lnTo>
                    <a:pt x="2431" y="1593"/>
                  </a:lnTo>
                  <a:lnTo>
                    <a:pt x="2218" y="1582"/>
                  </a:lnTo>
                  <a:lnTo>
                    <a:pt x="2007" y="1572"/>
                  </a:lnTo>
                  <a:lnTo>
                    <a:pt x="1529" y="1547"/>
                  </a:lnTo>
                  <a:lnTo>
                    <a:pt x="809" y="1519"/>
                  </a:lnTo>
                  <a:lnTo>
                    <a:pt x="330" y="1514"/>
                  </a:lnTo>
                  <a:lnTo>
                    <a:pt x="91" y="1519"/>
                  </a:lnTo>
                  <a:lnTo>
                    <a:pt x="89" y="1441"/>
                  </a:lnTo>
                  <a:lnTo>
                    <a:pt x="94" y="1284"/>
                  </a:lnTo>
                  <a:lnTo>
                    <a:pt x="113" y="1050"/>
                  </a:lnTo>
                  <a:lnTo>
                    <a:pt x="127" y="893"/>
                  </a:lnTo>
                  <a:lnTo>
                    <a:pt x="140" y="722"/>
                  </a:lnTo>
                  <a:lnTo>
                    <a:pt x="152" y="549"/>
                  </a:lnTo>
                  <a:lnTo>
                    <a:pt x="159" y="473"/>
                  </a:lnTo>
                  <a:lnTo>
                    <a:pt x="164" y="358"/>
                  </a:lnTo>
                  <a:lnTo>
                    <a:pt x="160" y="281"/>
                  </a:lnTo>
                  <a:lnTo>
                    <a:pt x="155" y="245"/>
                  </a:lnTo>
                  <a:lnTo>
                    <a:pt x="152" y="238"/>
                  </a:lnTo>
                  <a:lnTo>
                    <a:pt x="143" y="232"/>
                  </a:lnTo>
                  <a:lnTo>
                    <a:pt x="127" y="234"/>
                  </a:lnTo>
                  <a:lnTo>
                    <a:pt x="121" y="245"/>
                  </a:lnTo>
                  <a:lnTo>
                    <a:pt x="108" y="282"/>
                  </a:lnTo>
                  <a:lnTo>
                    <a:pt x="91" y="364"/>
                  </a:lnTo>
                  <a:lnTo>
                    <a:pt x="78" y="490"/>
                  </a:lnTo>
                  <a:lnTo>
                    <a:pt x="72" y="571"/>
                  </a:lnTo>
                  <a:lnTo>
                    <a:pt x="55" y="753"/>
                  </a:lnTo>
                  <a:lnTo>
                    <a:pt x="39" y="936"/>
                  </a:lnTo>
                  <a:lnTo>
                    <a:pt x="25" y="1108"/>
                  </a:lnTo>
                  <a:lnTo>
                    <a:pt x="11" y="1279"/>
                  </a:lnTo>
                  <a:lnTo>
                    <a:pt x="4" y="1350"/>
                  </a:lnTo>
                  <a:lnTo>
                    <a:pt x="0" y="1457"/>
                  </a:lnTo>
                  <a:lnTo>
                    <a:pt x="12" y="1527"/>
                  </a:lnTo>
                  <a:lnTo>
                    <a:pt x="26" y="1559"/>
                  </a:lnTo>
                  <a:lnTo>
                    <a:pt x="24" y="1569"/>
                  </a:lnTo>
                  <a:lnTo>
                    <a:pt x="29" y="1590"/>
                  </a:lnTo>
                  <a:lnTo>
                    <a:pt x="37" y="1599"/>
                  </a:lnTo>
                  <a:lnTo>
                    <a:pt x="73" y="1636"/>
                  </a:lnTo>
                  <a:lnTo>
                    <a:pt x="159" y="1693"/>
                  </a:lnTo>
                  <a:lnTo>
                    <a:pt x="252" y="1732"/>
                  </a:lnTo>
                  <a:lnTo>
                    <a:pt x="353" y="1757"/>
                  </a:lnTo>
                  <a:lnTo>
                    <a:pt x="512" y="1777"/>
                  </a:lnTo>
                  <a:lnTo>
                    <a:pt x="724" y="1783"/>
                  </a:lnTo>
                  <a:lnTo>
                    <a:pt x="824" y="1786"/>
                  </a:lnTo>
                  <a:lnTo>
                    <a:pt x="1368" y="1814"/>
                  </a:lnTo>
                  <a:lnTo>
                    <a:pt x="1912" y="1843"/>
                  </a:lnTo>
                  <a:lnTo>
                    <a:pt x="2992" y="1897"/>
                  </a:lnTo>
                  <a:lnTo>
                    <a:pt x="4070" y="1948"/>
                  </a:lnTo>
                  <a:lnTo>
                    <a:pt x="4087" y="1948"/>
                  </a:lnTo>
                  <a:lnTo>
                    <a:pt x="4116" y="1935"/>
                  </a:lnTo>
                  <a:lnTo>
                    <a:pt x="4138" y="1913"/>
                  </a:lnTo>
                  <a:lnTo>
                    <a:pt x="4151" y="1883"/>
                  </a:lnTo>
                  <a:lnTo>
                    <a:pt x="4152" y="1868"/>
                  </a:lnTo>
                  <a:lnTo>
                    <a:pt x="4171" y="1317"/>
                  </a:lnTo>
                  <a:lnTo>
                    <a:pt x="4192" y="767"/>
                  </a:lnTo>
                  <a:lnTo>
                    <a:pt x="4197" y="680"/>
                  </a:lnTo>
                  <a:lnTo>
                    <a:pt x="4208" y="531"/>
                  </a:lnTo>
                  <a:lnTo>
                    <a:pt x="4210" y="428"/>
                  </a:lnTo>
                  <a:lnTo>
                    <a:pt x="4203" y="326"/>
                  </a:lnTo>
                  <a:lnTo>
                    <a:pt x="4180" y="233"/>
                  </a:lnTo>
                  <a:lnTo>
                    <a:pt x="4151" y="170"/>
                  </a:lnTo>
                  <a:lnTo>
                    <a:pt x="4125" y="132"/>
                  </a:lnTo>
                  <a:lnTo>
                    <a:pt x="4094" y="100"/>
                  </a:lnTo>
                  <a:lnTo>
                    <a:pt x="4055" y="71"/>
                  </a:lnTo>
                  <a:lnTo>
                    <a:pt x="4033" y="59"/>
                  </a:lnTo>
                  <a:close/>
                </a:path>
              </a:pathLst>
            </a:custGeom>
            <a:solidFill>
              <a:srgbClr val="F7931F"/>
            </a:solidFill>
            <a:ln w="9525">
              <a:noFill/>
              <a:round/>
              <a:headEnd/>
              <a:tailEnd/>
            </a:ln>
          </p:spPr>
          <p:txBody>
            <a:bodyPr vert="horz" wrap="square" lIns="68580" tIns="34290" rIns="68580" bIns="34290" numCol="1" anchor="t" anchorCtr="0" compatLnSpc="1">
              <a:prstTxWarp prst="textNoShape">
                <a:avLst/>
              </a:prstTxWarp>
            </a:bodyPr>
            <a:lstStyle/>
            <a:p>
              <a:pPr>
                <a:defRPr/>
              </a:pPr>
              <a:endParaRPr lang="es-MX" sz="1050" kern="0">
                <a:solidFill>
                  <a:prstClr val="black"/>
                </a:solidFill>
                <a:latin typeface="Calibri" panose="020F0502020204030204"/>
              </a:endParaRPr>
            </a:p>
          </p:txBody>
        </p:sp>
        <p:sp>
          <p:nvSpPr>
            <p:cNvPr id="37" name="Freeform 180">
              <a:extLst>
                <a:ext uri="{FF2B5EF4-FFF2-40B4-BE49-F238E27FC236}">
                  <a16:creationId xmlns:a16="http://schemas.microsoft.com/office/drawing/2014/main" id="{62801ADE-A075-4CF9-97AB-69254C41094C}"/>
                </a:ext>
              </a:extLst>
            </p:cNvPr>
            <p:cNvSpPr>
              <a:spLocks/>
            </p:cNvSpPr>
            <p:nvPr/>
          </p:nvSpPr>
          <p:spPr bwMode="auto">
            <a:xfrm>
              <a:off x="7119262" y="3741394"/>
              <a:ext cx="999495" cy="565049"/>
            </a:xfrm>
            <a:custGeom>
              <a:avLst/>
              <a:gdLst>
                <a:gd name="T0" fmla="*/ 2539 w 2659"/>
                <a:gd name="T1" fmla="*/ 120 h 1873"/>
                <a:gd name="T2" fmla="*/ 2497 w 2659"/>
                <a:gd name="T3" fmla="*/ 97 h 1873"/>
                <a:gd name="T4" fmla="*/ 2469 w 2659"/>
                <a:gd name="T5" fmla="*/ 90 h 1873"/>
                <a:gd name="T6" fmla="*/ 2442 w 2659"/>
                <a:gd name="T7" fmla="*/ 79 h 1873"/>
                <a:gd name="T8" fmla="*/ 2437 w 2659"/>
                <a:gd name="T9" fmla="*/ 46 h 1873"/>
                <a:gd name="T10" fmla="*/ 2416 w 2659"/>
                <a:gd name="T11" fmla="*/ 36 h 1873"/>
                <a:gd name="T12" fmla="*/ 2192 w 2659"/>
                <a:gd name="T13" fmla="*/ 11 h 1873"/>
                <a:gd name="T14" fmla="*/ 1815 w 2659"/>
                <a:gd name="T15" fmla="*/ 5 h 1873"/>
                <a:gd name="T16" fmla="*/ 1223 w 2659"/>
                <a:gd name="T17" fmla="*/ 0 h 1873"/>
                <a:gd name="T18" fmla="*/ 631 w 2659"/>
                <a:gd name="T19" fmla="*/ 14 h 1873"/>
                <a:gd name="T20" fmla="*/ 256 w 2659"/>
                <a:gd name="T21" fmla="*/ 30 h 1873"/>
                <a:gd name="T22" fmla="*/ 35 w 2659"/>
                <a:gd name="T23" fmla="*/ 65 h 1873"/>
                <a:gd name="T24" fmla="*/ 22 w 2659"/>
                <a:gd name="T25" fmla="*/ 77 h 1873"/>
                <a:gd name="T26" fmla="*/ 33 w 2659"/>
                <a:gd name="T27" fmla="*/ 97 h 1873"/>
                <a:gd name="T28" fmla="*/ 112 w 2659"/>
                <a:gd name="T29" fmla="*/ 106 h 1873"/>
                <a:gd name="T30" fmla="*/ 484 w 2659"/>
                <a:gd name="T31" fmla="*/ 97 h 1873"/>
                <a:gd name="T32" fmla="*/ 927 w 2659"/>
                <a:gd name="T33" fmla="*/ 84 h 1873"/>
                <a:gd name="T34" fmla="*/ 1519 w 2659"/>
                <a:gd name="T35" fmla="*/ 84 h 1873"/>
                <a:gd name="T36" fmla="*/ 1961 w 2659"/>
                <a:gd name="T37" fmla="*/ 97 h 1873"/>
                <a:gd name="T38" fmla="*/ 2333 w 2659"/>
                <a:gd name="T39" fmla="*/ 115 h 1873"/>
                <a:gd name="T40" fmla="*/ 2407 w 2659"/>
                <a:gd name="T41" fmla="*/ 111 h 1873"/>
                <a:gd name="T42" fmla="*/ 2397 w 2659"/>
                <a:gd name="T43" fmla="*/ 199 h 1873"/>
                <a:gd name="T44" fmla="*/ 2392 w 2659"/>
                <a:gd name="T45" fmla="*/ 654 h 1873"/>
                <a:gd name="T46" fmla="*/ 2388 w 2659"/>
                <a:gd name="T47" fmla="*/ 932 h 1873"/>
                <a:gd name="T48" fmla="*/ 2349 w 2659"/>
                <a:gd name="T49" fmla="*/ 1317 h 1873"/>
                <a:gd name="T50" fmla="*/ 2287 w 2659"/>
                <a:gd name="T51" fmla="*/ 1600 h 1873"/>
                <a:gd name="T52" fmla="*/ 2285 w 2659"/>
                <a:gd name="T53" fmla="*/ 1607 h 1873"/>
                <a:gd name="T54" fmla="*/ 2263 w 2659"/>
                <a:gd name="T55" fmla="*/ 1590 h 1873"/>
                <a:gd name="T56" fmla="*/ 1982 w 2659"/>
                <a:gd name="T57" fmla="*/ 1572 h 1873"/>
                <a:gd name="T58" fmla="*/ 1165 w 2659"/>
                <a:gd name="T59" fmla="*/ 1540 h 1873"/>
                <a:gd name="T60" fmla="*/ 633 w 2659"/>
                <a:gd name="T61" fmla="*/ 1493 h 1873"/>
                <a:gd name="T62" fmla="*/ 306 w 2659"/>
                <a:gd name="T63" fmla="*/ 1450 h 1873"/>
                <a:gd name="T64" fmla="*/ 110 w 2659"/>
                <a:gd name="T65" fmla="*/ 1440 h 1873"/>
                <a:gd name="T66" fmla="*/ 104 w 2659"/>
                <a:gd name="T67" fmla="*/ 1433 h 1873"/>
                <a:gd name="T68" fmla="*/ 99 w 2659"/>
                <a:gd name="T69" fmla="*/ 1427 h 1873"/>
                <a:gd name="T70" fmla="*/ 83 w 2659"/>
                <a:gd name="T71" fmla="*/ 606 h 1873"/>
                <a:gd name="T72" fmla="*/ 52 w 2659"/>
                <a:gd name="T73" fmla="*/ 116 h 1873"/>
                <a:gd name="T74" fmla="*/ 39 w 2659"/>
                <a:gd name="T75" fmla="*/ 98 h 1873"/>
                <a:gd name="T76" fmla="*/ 13 w 2659"/>
                <a:gd name="T77" fmla="*/ 107 h 1873"/>
                <a:gd name="T78" fmla="*/ 5 w 2659"/>
                <a:gd name="T79" fmla="*/ 281 h 1873"/>
                <a:gd name="T80" fmla="*/ 8 w 2659"/>
                <a:gd name="T81" fmla="*/ 1109 h 1873"/>
                <a:gd name="T82" fmla="*/ 22 w 2659"/>
                <a:gd name="T83" fmla="*/ 1449 h 1873"/>
                <a:gd name="T84" fmla="*/ 37 w 2659"/>
                <a:gd name="T85" fmla="*/ 1468 h 1873"/>
                <a:gd name="T86" fmla="*/ 40 w 2659"/>
                <a:gd name="T87" fmla="*/ 1482 h 1873"/>
                <a:gd name="T88" fmla="*/ 91 w 2659"/>
                <a:gd name="T89" fmla="*/ 1551 h 1873"/>
                <a:gd name="T90" fmla="*/ 175 w 2659"/>
                <a:gd name="T91" fmla="*/ 1621 h 1873"/>
                <a:gd name="T92" fmla="*/ 358 w 2659"/>
                <a:gd name="T93" fmla="*/ 1696 h 1873"/>
                <a:gd name="T94" fmla="*/ 593 w 2659"/>
                <a:gd name="T95" fmla="*/ 1730 h 1873"/>
                <a:gd name="T96" fmla="*/ 875 w 2659"/>
                <a:gd name="T97" fmla="*/ 1747 h 1873"/>
                <a:gd name="T98" fmla="*/ 2126 w 2659"/>
                <a:gd name="T99" fmla="*/ 1861 h 1873"/>
                <a:gd name="T100" fmla="*/ 2284 w 2659"/>
                <a:gd name="T101" fmla="*/ 1873 h 1873"/>
                <a:gd name="T102" fmla="*/ 2392 w 2659"/>
                <a:gd name="T103" fmla="*/ 1843 h 1873"/>
                <a:gd name="T104" fmla="*/ 2453 w 2659"/>
                <a:gd name="T105" fmla="*/ 1766 h 1873"/>
                <a:gd name="T106" fmla="*/ 2508 w 2659"/>
                <a:gd name="T107" fmla="*/ 1600 h 1873"/>
                <a:gd name="T108" fmla="*/ 2609 w 2659"/>
                <a:gd name="T109" fmla="*/ 1179 h 1873"/>
                <a:gd name="T110" fmla="*/ 2642 w 2659"/>
                <a:gd name="T111" fmla="*/ 980 h 1873"/>
                <a:gd name="T112" fmla="*/ 2659 w 2659"/>
                <a:gd name="T113" fmla="*/ 714 h 1873"/>
                <a:gd name="T114" fmla="*/ 2638 w 2659"/>
                <a:gd name="T115" fmla="*/ 451 h 1873"/>
                <a:gd name="T116" fmla="*/ 2570 w 2659"/>
                <a:gd name="T117" fmla="*/ 194 h 1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59" h="1873">
                  <a:moveTo>
                    <a:pt x="2545" y="131"/>
                  </a:moveTo>
                  <a:lnTo>
                    <a:pt x="2539" y="120"/>
                  </a:lnTo>
                  <a:lnTo>
                    <a:pt x="2525" y="106"/>
                  </a:lnTo>
                  <a:lnTo>
                    <a:pt x="2497" y="97"/>
                  </a:lnTo>
                  <a:lnTo>
                    <a:pt x="2476" y="100"/>
                  </a:lnTo>
                  <a:lnTo>
                    <a:pt x="2469" y="90"/>
                  </a:lnTo>
                  <a:lnTo>
                    <a:pt x="2453" y="80"/>
                  </a:lnTo>
                  <a:lnTo>
                    <a:pt x="2442" y="79"/>
                  </a:lnTo>
                  <a:lnTo>
                    <a:pt x="2445" y="65"/>
                  </a:lnTo>
                  <a:lnTo>
                    <a:pt x="2437" y="46"/>
                  </a:lnTo>
                  <a:lnTo>
                    <a:pt x="2425" y="37"/>
                  </a:lnTo>
                  <a:lnTo>
                    <a:pt x="2416" y="36"/>
                  </a:lnTo>
                  <a:lnTo>
                    <a:pt x="2344" y="24"/>
                  </a:lnTo>
                  <a:lnTo>
                    <a:pt x="2192" y="11"/>
                  </a:lnTo>
                  <a:lnTo>
                    <a:pt x="1964" y="7"/>
                  </a:lnTo>
                  <a:lnTo>
                    <a:pt x="1815" y="5"/>
                  </a:lnTo>
                  <a:lnTo>
                    <a:pt x="1519" y="0"/>
                  </a:lnTo>
                  <a:lnTo>
                    <a:pt x="1223" y="0"/>
                  </a:lnTo>
                  <a:lnTo>
                    <a:pt x="927" y="4"/>
                  </a:lnTo>
                  <a:lnTo>
                    <a:pt x="631" y="14"/>
                  </a:lnTo>
                  <a:lnTo>
                    <a:pt x="482" y="18"/>
                  </a:lnTo>
                  <a:lnTo>
                    <a:pt x="256" y="30"/>
                  </a:lnTo>
                  <a:lnTo>
                    <a:pt x="107" y="49"/>
                  </a:lnTo>
                  <a:lnTo>
                    <a:pt x="35" y="65"/>
                  </a:lnTo>
                  <a:lnTo>
                    <a:pt x="27" y="67"/>
                  </a:lnTo>
                  <a:lnTo>
                    <a:pt x="22" y="77"/>
                  </a:lnTo>
                  <a:lnTo>
                    <a:pt x="25" y="89"/>
                  </a:lnTo>
                  <a:lnTo>
                    <a:pt x="33" y="97"/>
                  </a:lnTo>
                  <a:lnTo>
                    <a:pt x="39" y="98"/>
                  </a:lnTo>
                  <a:lnTo>
                    <a:pt x="112" y="106"/>
                  </a:lnTo>
                  <a:lnTo>
                    <a:pt x="261" y="107"/>
                  </a:lnTo>
                  <a:lnTo>
                    <a:pt x="484" y="97"/>
                  </a:lnTo>
                  <a:lnTo>
                    <a:pt x="631" y="92"/>
                  </a:lnTo>
                  <a:lnTo>
                    <a:pt x="927" y="84"/>
                  </a:lnTo>
                  <a:lnTo>
                    <a:pt x="1223" y="83"/>
                  </a:lnTo>
                  <a:lnTo>
                    <a:pt x="1519" y="84"/>
                  </a:lnTo>
                  <a:lnTo>
                    <a:pt x="1815" y="90"/>
                  </a:lnTo>
                  <a:lnTo>
                    <a:pt x="1961" y="97"/>
                  </a:lnTo>
                  <a:lnTo>
                    <a:pt x="2186" y="112"/>
                  </a:lnTo>
                  <a:lnTo>
                    <a:pt x="2333" y="115"/>
                  </a:lnTo>
                  <a:lnTo>
                    <a:pt x="2406" y="111"/>
                  </a:lnTo>
                  <a:lnTo>
                    <a:pt x="2407" y="111"/>
                  </a:lnTo>
                  <a:lnTo>
                    <a:pt x="2408" y="111"/>
                  </a:lnTo>
                  <a:lnTo>
                    <a:pt x="2397" y="199"/>
                  </a:lnTo>
                  <a:lnTo>
                    <a:pt x="2389" y="381"/>
                  </a:lnTo>
                  <a:lnTo>
                    <a:pt x="2392" y="654"/>
                  </a:lnTo>
                  <a:lnTo>
                    <a:pt x="2390" y="834"/>
                  </a:lnTo>
                  <a:lnTo>
                    <a:pt x="2388" y="932"/>
                  </a:lnTo>
                  <a:lnTo>
                    <a:pt x="2373" y="1125"/>
                  </a:lnTo>
                  <a:lnTo>
                    <a:pt x="2349" y="1317"/>
                  </a:lnTo>
                  <a:lnTo>
                    <a:pt x="2311" y="1506"/>
                  </a:lnTo>
                  <a:lnTo>
                    <a:pt x="2287" y="1600"/>
                  </a:lnTo>
                  <a:lnTo>
                    <a:pt x="2285" y="1603"/>
                  </a:lnTo>
                  <a:lnTo>
                    <a:pt x="2285" y="1607"/>
                  </a:lnTo>
                  <a:lnTo>
                    <a:pt x="2280" y="1599"/>
                  </a:lnTo>
                  <a:lnTo>
                    <a:pt x="2263" y="1590"/>
                  </a:lnTo>
                  <a:lnTo>
                    <a:pt x="2253" y="1589"/>
                  </a:lnTo>
                  <a:lnTo>
                    <a:pt x="1982" y="1572"/>
                  </a:lnTo>
                  <a:lnTo>
                    <a:pt x="1436" y="1556"/>
                  </a:lnTo>
                  <a:lnTo>
                    <a:pt x="1165" y="1540"/>
                  </a:lnTo>
                  <a:lnTo>
                    <a:pt x="898" y="1519"/>
                  </a:lnTo>
                  <a:lnTo>
                    <a:pt x="633" y="1493"/>
                  </a:lnTo>
                  <a:lnTo>
                    <a:pt x="504" y="1477"/>
                  </a:lnTo>
                  <a:lnTo>
                    <a:pt x="306" y="1450"/>
                  </a:lnTo>
                  <a:lnTo>
                    <a:pt x="175" y="1440"/>
                  </a:lnTo>
                  <a:lnTo>
                    <a:pt x="110" y="1440"/>
                  </a:lnTo>
                  <a:lnTo>
                    <a:pt x="108" y="1437"/>
                  </a:lnTo>
                  <a:lnTo>
                    <a:pt x="104" y="1433"/>
                  </a:lnTo>
                  <a:lnTo>
                    <a:pt x="101" y="1429"/>
                  </a:lnTo>
                  <a:lnTo>
                    <a:pt x="99" y="1427"/>
                  </a:lnTo>
                  <a:lnTo>
                    <a:pt x="96" y="1100"/>
                  </a:lnTo>
                  <a:lnTo>
                    <a:pt x="83" y="606"/>
                  </a:lnTo>
                  <a:lnTo>
                    <a:pt x="65" y="280"/>
                  </a:lnTo>
                  <a:lnTo>
                    <a:pt x="52" y="116"/>
                  </a:lnTo>
                  <a:lnTo>
                    <a:pt x="50" y="109"/>
                  </a:lnTo>
                  <a:lnTo>
                    <a:pt x="39" y="98"/>
                  </a:lnTo>
                  <a:lnTo>
                    <a:pt x="24" y="98"/>
                  </a:lnTo>
                  <a:lnTo>
                    <a:pt x="13" y="107"/>
                  </a:lnTo>
                  <a:lnTo>
                    <a:pt x="12" y="116"/>
                  </a:lnTo>
                  <a:lnTo>
                    <a:pt x="5" y="281"/>
                  </a:lnTo>
                  <a:lnTo>
                    <a:pt x="0" y="611"/>
                  </a:lnTo>
                  <a:lnTo>
                    <a:pt x="8" y="1109"/>
                  </a:lnTo>
                  <a:lnTo>
                    <a:pt x="21" y="1438"/>
                  </a:lnTo>
                  <a:lnTo>
                    <a:pt x="22" y="1449"/>
                  </a:lnTo>
                  <a:lnTo>
                    <a:pt x="30" y="1463"/>
                  </a:lnTo>
                  <a:lnTo>
                    <a:pt x="37" y="1468"/>
                  </a:lnTo>
                  <a:lnTo>
                    <a:pt x="38" y="1475"/>
                  </a:lnTo>
                  <a:lnTo>
                    <a:pt x="40" y="1482"/>
                  </a:lnTo>
                  <a:lnTo>
                    <a:pt x="56" y="1507"/>
                  </a:lnTo>
                  <a:lnTo>
                    <a:pt x="91" y="1551"/>
                  </a:lnTo>
                  <a:lnTo>
                    <a:pt x="131" y="1590"/>
                  </a:lnTo>
                  <a:lnTo>
                    <a:pt x="175" y="1621"/>
                  </a:lnTo>
                  <a:lnTo>
                    <a:pt x="249" y="1660"/>
                  </a:lnTo>
                  <a:lnTo>
                    <a:pt x="358" y="1696"/>
                  </a:lnTo>
                  <a:lnTo>
                    <a:pt x="473" y="1718"/>
                  </a:lnTo>
                  <a:lnTo>
                    <a:pt x="593" y="1730"/>
                  </a:lnTo>
                  <a:lnTo>
                    <a:pt x="769" y="1739"/>
                  </a:lnTo>
                  <a:lnTo>
                    <a:pt x="875" y="1747"/>
                  </a:lnTo>
                  <a:lnTo>
                    <a:pt x="1500" y="1805"/>
                  </a:lnTo>
                  <a:lnTo>
                    <a:pt x="2126" y="1861"/>
                  </a:lnTo>
                  <a:lnTo>
                    <a:pt x="2182" y="1866"/>
                  </a:lnTo>
                  <a:lnTo>
                    <a:pt x="2284" y="1873"/>
                  </a:lnTo>
                  <a:lnTo>
                    <a:pt x="2351" y="1861"/>
                  </a:lnTo>
                  <a:lnTo>
                    <a:pt x="2392" y="1843"/>
                  </a:lnTo>
                  <a:lnTo>
                    <a:pt x="2425" y="1812"/>
                  </a:lnTo>
                  <a:lnTo>
                    <a:pt x="2453" y="1766"/>
                  </a:lnTo>
                  <a:lnTo>
                    <a:pt x="2464" y="1738"/>
                  </a:lnTo>
                  <a:lnTo>
                    <a:pt x="2508" y="1600"/>
                  </a:lnTo>
                  <a:lnTo>
                    <a:pt x="2581" y="1319"/>
                  </a:lnTo>
                  <a:lnTo>
                    <a:pt x="2609" y="1179"/>
                  </a:lnTo>
                  <a:lnTo>
                    <a:pt x="2622" y="1113"/>
                  </a:lnTo>
                  <a:lnTo>
                    <a:pt x="2642" y="980"/>
                  </a:lnTo>
                  <a:lnTo>
                    <a:pt x="2655" y="847"/>
                  </a:lnTo>
                  <a:lnTo>
                    <a:pt x="2659" y="714"/>
                  </a:lnTo>
                  <a:lnTo>
                    <a:pt x="2653" y="582"/>
                  </a:lnTo>
                  <a:lnTo>
                    <a:pt x="2638" y="451"/>
                  </a:lnTo>
                  <a:lnTo>
                    <a:pt x="2611" y="321"/>
                  </a:lnTo>
                  <a:lnTo>
                    <a:pt x="2570" y="194"/>
                  </a:lnTo>
                  <a:lnTo>
                    <a:pt x="2545" y="131"/>
                  </a:lnTo>
                  <a:close/>
                </a:path>
              </a:pathLst>
            </a:custGeom>
            <a:solidFill>
              <a:srgbClr val="063951">
                <a:lumMod val="50000"/>
              </a:srgbClr>
            </a:solidFill>
            <a:ln w="9525">
              <a:noFill/>
              <a:round/>
              <a:headEnd/>
              <a:tailEnd/>
            </a:ln>
          </p:spPr>
          <p:txBody>
            <a:bodyPr vert="horz" wrap="square" lIns="68580" tIns="34290" rIns="68580" bIns="34290" numCol="1" anchor="t" anchorCtr="0" compatLnSpc="1">
              <a:prstTxWarp prst="textNoShape">
                <a:avLst/>
              </a:prstTxWarp>
            </a:bodyPr>
            <a:lstStyle/>
            <a:p>
              <a:pPr>
                <a:defRPr/>
              </a:pPr>
              <a:endParaRPr lang="es-MX" sz="1050" kern="0">
                <a:solidFill>
                  <a:prstClr val="black"/>
                </a:solidFill>
                <a:latin typeface="Calibri" panose="020F0502020204030204"/>
              </a:endParaRPr>
            </a:p>
          </p:txBody>
        </p:sp>
        <p:sp>
          <p:nvSpPr>
            <p:cNvPr id="39" name="Freeform: Shape 47">
              <a:extLst>
                <a:ext uri="{FF2B5EF4-FFF2-40B4-BE49-F238E27FC236}">
                  <a16:creationId xmlns:a16="http://schemas.microsoft.com/office/drawing/2014/main" id="{C093AC5D-592F-4477-A32E-B293BA2BBF75}"/>
                </a:ext>
              </a:extLst>
            </p:cNvPr>
            <p:cNvSpPr>
              <a:spLocks/>
            </p:cNvSpPr>
            <p:nvPr/>
          </p:nvSpPr>
          <p:spPr bwMode="auto">
            <a:xfrm>
              <a:off x="3378862" y="3516026"/>
              <a:ext cx="933333" cy="507893"/>
            </a:xfrm>
            <a:custGeom>
              <a:avLst/>
              <a:gdLst>
                <a:gd name="connsiteX0" fmla="*/ 500856 w 1065213"/>
                <a:gd name="connsiteY0" fmla="*/ 33338 h 658813"/>
                <a:gd name="connsiteX1" fmla="*/ 383778 w 1065213"/>
                <a:gd name="connsiteY1" fmla="*/ 34528 h 658813"/>
                <a:gd name="connsiteX2" fmla="*/ 150018 w 1065213"/>
                <a:gd name="connsiteY2" fmla="*/ 38097 h 658813"/>
                <a:gd name="connsiteX3" fmla="*/ 32940 w 1065213"/>
                <a:gd name="connsiteY3" fmla="*/ 36907 h 658813"/>
                <a:gd name="connsiteX4" fmla="*/ 32147 w 1065213"/>
                <a:gd name="connsiteY4" fmla="*/ 40080 h 658813"/>
                <a:gd name="connsiteX5" fmla="*/ 26987 w 1065213"/>
                <a:gd name="connsiteY5" fmla="*/ 43649 h 658813"/>
                <a:gd name="connsiteX6" fmla="*/ 23812 w 1065213"/>
                <a:gd name="connsiteY6" fmla="*/ 43253 h 658813"/>
                <a:gd name="connsiteX7" fmla="*/ 25400 w 1065213"/>
                <a:gd name="connsiteY7" fmla="*/ 44046 h 658813"/>
                <a:gd name="connsiteX8" fmla="*/ 27384 w 1065213"/>
                <a:gd name="connsiteY8" fmla="*/ 53960 h 658813"/>
                <a:gd name="connsiteX9" fmla="*/ 29368 w 1065213"/>
                <a:gd name="connsiteY9" fmla="*/ 78548 h 658813"/>
                <a:gd name="connsiteX10" fmla="*/ 30559 w 1065213"/>
                <a:gd name="connsiteY10" fmla="*/ 141604 h 658813"/>
                <a:gd name="connsiteX11" fmla="*/ 30559 w 1065213"/>
                <a:gd name="connsiteY11" fmla="*/ 163020 h 658813"/>
                <a:gd name="connsiteX12" fmla="*/ 32940 w 1065213"/>
                <a:gd name="connsiteY12" fmla="*/ 222507 h 658813"/>
                <a:gd name="connsiteX13" fmla="*/ 36115 w 1065213"/>
                <a:gd name="connsiteY13" fmla="*/ 281597 h 658813"/>
                <a:gd name="connsiteX14" fmla="*/ 40481 w 1065213"/>
                <a:gd name="connsiteY14" fmla="*/ 337515 h 658813"/>
                <a:gd name="connsiteX15" fmla="*/ 48418 w 1065213"/>
                <a:gd name="connsiteY15" fmla="*/ 423969 h 658813"/>
                <a:gd name="connsiteX16" fmla="*/ 51593 w 1065213"/>
                <a:gd name="connsiteY16" fmla="*/ 481077 h 658813"/>
                <a:gd name="connsiteX17" fmla="*/ 51197 w 1065213"/>
                <a:gd name="connsiteY17" fmla="*/ 509234 h 658813"/>
                <a:gd name="connsiteX18" fmla="*/ 57150 w 1065213"/>
                <a:gd name="connsiteY18" fmla="*/ 510027 h 658813"/>
                <a:gd name="connsiteX19" fmla="*/ 63897 w 1065213"/>
                <a:gd name="connsiteY19" fmla="*/ 515579 h 658813"/>
                <a:gd name="connsiteX20" fmla="*/ 65881 w 1065213"/>
                <a:gd name="connsiteY20" fmla="*/ 521528 h 658813"/>
                <a:gd name="connsiteX21" fmla="*/ 65087 w 1065213"/>
                <a:gd name="connsiteY21" fmla="*/ 525097 h 658813"/>
                <a:gd name="connsiteX22" fmla="*/ 63103 w 1065213"/>
                <a:gd name="connsiteY22" fmla="*/ 535012 h 658813"/>
                <a:gd name="connsiteX23" fmla="*/ 62309 w 1065213"/>
                <a:gd name="connsiteY23" fmla="*/ 554444 h 658813"/>
                <a:gd name="connsiteX24" fmla="*/ 64690 w 1065213"/>
                <a:gd name="connsiteY24" fmla="*/ 564359 h 658813"/>
                <a:gd name="connsiteX25" fmla="*/ 65087 w 1065213"/>
                <a:gd name="connsiteY25" fmla="*/ 564755 h 658813"/>
                <a:gd name="connsiteX26" fmla="*/ 65484 w 1065213"/>
                <a:gd name="connsiteY26" fmla="*/ 564755 h 658813"/>
                <a:gd name="connsiteX27" fmla="*/ 177006 w 1065213"/>
                <a:gd name="connsiteY27" fmla="*/ 566738 h 658813"/>
                <a:gd name="connsiteX28" fmla="*/ 399256 w 1065213"/>
                <a:gd name="connsiteY28" fmla="*/ 564755 h 658813"/>
                <a:gd name="connsiteX29" fmla="*/ 622300 w 1065213"/>
                <a:gd name="connsiteY29" fmla="*/ 555634 h 658813"/>
                <a:gd name="connsiteX30" fmla="*/ 844153 w 1065213"/>
                <a:gd name="connsiteY30" fmla="*/ 540167 h 658813"/>
                <a:gd name="connsiteX31" fmla="*/ 954881 w 1065213"/>
                <a:gd name="connsiteY31" fmla="*/ 528667 h 658813"/>
                <a:gd name="connsiteX32" fmla="*/ 961628 w 1065213"/>
                <a:gd name="connsiteY32" fmla="*/ 471162 h 658813"/>
                <a:gd name="connsiteX33" fmla="*/ 970360 w 1065213"/>
                <a:gd name="connsiteY33" fmla="*/ 354965 h 658813"/>
                <a:gd name="connsiteX34" fmla="*/ 979091 w 1065213"/>
                <a:gd name="connsiteY34" fmla="*/ 180866 h 658813"/>
                <a:gd name="connsiteX35" fmla="*/ 984250 w 1065213"/>
                <a:gd name="connsiteY35" fmla="*/ 64668 h 658813"/>
                <a:gd name="connsiteX36" fmla="*/ 981075 w 1065213"/>
                <a:gd name="connsiteY36" fmla="*/ 53564 h 658813"/>
                <a:gd name="connsiteX37" fmla="*/ 977503 w 1065213"/>
                <a:gd name="connsiteY37" fmla="*/ 42459 h 658813"/>
                <a:gd name="connsiteX38" fmla="*/ 858044 w 1065213"/>
                <a:gd name="connsiteY38" fmla="*/ 38494 h 658813"/>
                <a:gd name="connsiteX39" fmla="*/ 619919 w 1065213"/>
                <a:gd name="connsiteY39" fmla="*/ 33735 h 658813"/>
                <a:gd name="connsiteX40" fmla="*/ 439108 w 1065213"/>
                <a:gd name="connsiteY40" fmla="*/ 0 h 658813"/>
                <a:gd name="connsiteX41" fmla="*/ 620150 w 1065213"/>
                <a:gd name="connsiteY41" fmla="*/ 792 h 658813"/>
                <a:gd name="connsiteX42" fmla="*/ 861143 w 1065213"/>
                <a:gd name="connsiteY42" fmla="*/ 7923 h 658813"/>
                <a:gd name="connsiteX43" fmla="*/ 981044 w 1065213"/>
                <a:gd name="connsiteY43" fmla="*/ 11885 h 658813"/>
                <a:gd name="connsiteX44" fmla="*/ 983029 w 1065213"/>
                <a:gd name="connsiteY44" fmla="*/ 12677 h 658813"/>
                <a:gd name="connsiteX45" fmla="*/ 985014 w 1065213"/>
                <a:gd name="connsiteY45" fmla="*/ 13073 h 658813"/>
                <a:gd name="connsiteX46" fmla="*/ 990573 w 1065213"/>
                <a:gd name="connsiteY46" fmla="*/ 8716 h 658813"/>
                <a:gd name="connsiteX47" fmla="*/ 1004072 w 1065213"/>
                <a:gd name="connsiteY47" fmla="*/ 4358 h 658813"/>
                <a:gd name="connsiteX48" fmla="*/ 1017570 w 1065213"/>
                <a:gd name="connsiteY48" fmla="*/ 5150 h 658813"/>
                <a:gd name="connsiteX49" fmla="*/ 1028687 w 1065213"/>
                <a:gd name="connsiteY49" fmla="*/ 12677 h 658813"/>
                <a:gd name="connsiteX50" fmla="*/ 1032657 w 1065213"/>
                <a:gd name="connsiteY50" fmla="*/ 19808 h 658813"/>
                <a:gd name="connsiteX51" fmla="*/ 1039407 w 1065213"/>
                <a:gd name="connsiteY51" fmla="*/ 35654 h 658813"/>
                <a:gd name="connsiteX52" fmla="*/ 1049729 w 1065213"/>
                <a:gd name="connsiteY52" fmla="*/ 68140 h 658813"/>
                <a:gd name="connsiteX53" fmla="*/ 1060449 w 1065213"/>
                <a:gd name="connsiteY53" fmla="*/ 116867 h 658813"/>
                <a:gd name="connsiteX54" fmla="*/ 1065213 w 1065213"/>
                <a:gd name="connsiteY54" fmla="*/ 182630 h 658813"/>
                <a:gd name="connsiteX55" fmla="*/ 1064022 w 1065213"/>
                <a:gd name="connsiteY55" fmla="*/ 249581 h 658813"/>
                <a:gd name="connsiteX56" fmla="*/ 1062831 w 1065213"/>
                <a:gd name="connsiteY56" fmla="*/ 284046 h 658813"/>
                <a:gd name="connsiteX57" fmla="*/ 1054494 w 1065213"/>
                <a:gd name="connsiteY57" fmla="*/ 439737 h 658813"/>
                <a:gd name="connsiteX58" fmla="*/ 1045362 w 1065213"/>
                <a:gd name="connsiteY58" fmla="*/ 595428 h 658813"/>
                <a:gd name="connsiteX59" fmla="*/ 1044568 w 1065213"/>
                <a:gd name="connsiteY59" fmla="*/ 602559 h 658813"/>
                <a:gd name="connsiteX60" fmla="*/ 1039010 w 1065213"/>
                <a:gd name="connsiteY60" fmla="*/ 614840 h 658813"/>
                <a:gd name="connsiteX61" fmla="*/ 1029878 w 1065213"/>
                <a:gd name="connsiteY61" fmla="*/ 623951 h 658813"/>
                <a:gd name="connsiteX62" fmla="*/ 1017570 w 1065213"/>
                <a:gd name="connsiteY62" fmla="*/ 629101 h 658813"/>
                <a:gd name="connsiteX63" fmla="*/ 1010027 w 1065213"/>
                <a:gd name="connsiteY63" fmla="*/ 630290 h 658813"/>
                <a:gd name="connsiteX64" fmla="*/ 874245 w 1065213"/>
                <a:gd name="connsiteY64" fmla="*/ 639401 h 658813"/>
                <a:gd name="connsiteX65" fmla="*/ 602681 w 1065213"/>
                <a:gd name="connsiteY65" fmla="*/ 651682 h 658813"/>
                <a:gd name="connsiteX66" fmla="*/ 466899 w 1065213"/>
                <a:gd name="connsiteY66" fmla="*/ 655248 h 658813"/>
                <a:gd name="connsiteX67" fmla="*/ 400993 w 1065213"/>
                <a:gd name="connsiteY67" fmla="*/ 656832 h 658813"/>
                <a:gd name="connsiteX68" fmla="*/ 268785 w 1065213"/>
                <a:gd name="connsiteY68" fmla="*/ 658813 h 658813"/>
                <a:gd name="connsiteX69" fmla="*/ 203276 w 1065213"/>
                <a:gd name="connsiteY69" fmla="*/ 656832 h 658813"/>
                <a:gd name="connsiteX70" fmla="*/ 180249 w 1065213"/>
                <a:gd name="connsiteY70" fmla="*/ 656040 h 658813"/>
                <a:gd name="connsiteX71" fmla="*/ 135782 w 1065213"/>
                <a:gd name="connsiteY71" fmla="*/ 648513 h 658813"/>
                <a:gd name="connsiteX72" fmla="*/ 104417 w 1065213"/>
                <a:gd name="connsiteY72" fmla="*/ 638609 h 658813"/>
                <a:gd name="connsiteX73" fmla="*/ 84963 w 1065213"/>
                <a:gd name="connsiteY73" fmla="*/ 629101 h 658813"/>
                <a:gd name="connsiteX74" fmla="*/ 66303 w 1065213"/>
                <a:gd name="connsiteY74" fmla="*/ 617216 h 658813"/>
                <a:gd name="connsiteX75" fmla="*/ 48834 w 1065213"/>
                <a:gd name="connsiteY75" fmla="*/ 602559 h 658813"/>
                <a:gd name="connsiteX76" fmla="*/ 41291 w 1065213"/>
                <a:gd name="connsiteY76" fmla="*/ 593843 h 658813"/>
                <a:gd name="connsiteX77" fmla="*/ 38114 w 1065213"/>
                <a:gd name="connsiteY77" fmla="*/ 589485 h 658813"/>
                <a:gd name="connsiteX78" fmla="*/ 36923 w 1065213"/>
                <a:gd name="connsiteY78" fmla="*/ 585524 h 658813"/>
                <a:gd name="connsiteX79" fmla="*/ 36526 w 1065213"/>
                <a:gd name="connsiteY79" fmla="*/ 585128 h 658813"/>
                <a:gd name="connsiteX80" fmla="*/ 33350 w 1065213"/>
                <a:gd name="connsiteY80" fmla="*/ 572847 h 658813"/>
                <a:gd name="connsiteX81" fmla="*/ 31762 w 1065213"/>
                <a:gd name="connsiteY81" fmla="*/ 550662 h 658813"/>
                <a:gd name="connsiteX82" fmla="*/ 33350 w 1065213"/>
                <a:gd name="connsiteY82" fmla="*/ 539965 h 658813"/>
                <a:gd name="connsiteX83" fmla="*/ 30571 w 1065213"/>
                <a:gd name="connsiteY83" fmla="*/ 539173 h 658813"/>
                <a:gd name="connsiteX84" fmla="*/ 25807 w 1065213"/>
                <a:gd name="connsiteY84" fmla="*/ 534815 h 658813"/>
                <a:gd name="connsiteX85" fmla="*/ 24616 w 1065213"/>
                <a:gd name="connsiteY85" fmla="*/ 531250 h 658813"/>
                <a:gd name="connsiteX86" fmla="*/ 18660 w 1065213"/>
                <a:gd name="connsiteY86" fmla="*/ 502330 h 658813"/>
                <a:gd name="connsiteX87" fmla="*/ 11514 w 1065213"/>
                <a:gd name="connsiteY87" fmla="*/ 442114 h 658813"/>
                <a:gd name="connsiteX88" fmla="*/ 7941 w 1065213"/>
                <a:gd name="connsiteY88" fmla="*/ 350205 h 658813"/>
                <a:gd name="connsiteX89" fmla="*/ 5558 w 1065213"/>
                <a:gd name="connsiteY89" fmla="*/ 290781 h 658813"/>
                <a:gd name="connsiteX90" fmla="*/ 2779 w 1065213"/>
                <a:gd name="connsiteY90" fmla="*/ 226999 h 658813"/>
                <a:gd name="connsiteX91" fmla="*/ 0 w 1065213"/>
                <a:gd name="connsiteY91" fmla="*/ 131525 h 658813"/>
                <a:gd name="connsiteX92" fmla="*/ 397 w 1065213"/>
                <a:gd name="connsiteY92" fmla="*/ 68140 h 658813"/>
                <a:gd name="connsiteX93" fmla="*/ 1985 w 1065213"/>
                <a:gd name="connsiteY93" fmla="*/ 36051 h 658813"/>
                <a:gd name="connsiteX94" fmla="*/ 2779 w 1065213"/>
                <a:gd name="connsiteY94" fmla="*/ 32881 h 658813"/>
                <a:gd name="connsiteX95" fmla="*/ 6352 w 1065213"/>
                <a:gd name="connsiteY95" fmla="*/ 27335 h 658813"/>
                <a:gd name="connsiteX96" fmla="*/ 9132 w 1065213"/>
                <a:gd name="connsiteY96" fmla="*/ 26543 h 658813"/>
                <a:gd name="connsiteX97" fmla="*/ 10720 w 1065213"/>
                <a:gd name="connsiteY97" fmla="*/ 25750 h 658813"/>
                <a:gd name="connsiteX98" fmla="*/ 12308 w 1065213"/>
                <a:gd name="connsiteY98" fmla="*/ 25750 h 658813"/>
                <a:gd name="connsiteX99" fmla="*/ 14293 w 1065213"/>
                <a:gd name="connsiteY99" fmla="*/ 22185 h 658813"/>
                <a:gd name="connsiteX100" fmla="*/ 19057 w 1065213"/>
                <a:gd name="connsiteY100" fmla="*/ 21393 h 658813"/>
                <a:gd name="connsiteX101" fmla="*/ 78611 w 1065213"/>
                <a:gd name="connsiteY101" fmla="*/ 15054 h 658813"/>
                <a:gd name="connsiteX102" fmla="*/ 198512 w 1065213"/>
                <a:gd name="connsiteY102" fmla="*/ 6735 h 658813"/>
                <a:gd name="connsiteX103" fmla="*/ 318413 w 1065213"/>
                <a:gd name="connsiteY103" fmla="*/ 2377 h 658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5213" h="658813">
                  <a:moveTo>
                    <a:pt x="500856" y="33338"/>
                  </a:moveTo>
                  <a:lnTo>
                    <a:pt x="383778" y="34528"/>
                  </a:lnTo>
                  <a:lnTo>
                    <a:pt x="150018" y="38097"/>
                  </a:lnTo>
                  <a:lnTo>
                    <a:pt x="32940" y="36907"/>
                  </a:lnTo>
                  <a:lnTo>
                    <a:pt x="32147" y="40080"/>
                  </a:lnTo>
                  <a:lnTo>
                    <a:pt x="26987" y="43649"/>
                  </a:lnTo>
                  <a:lnTo>
                    <a:pt x="23812" y="43253"/>
                  </a:lnTo>
                  <a:lnTo>
                    <a:pt x="25400" y="44046"/>
                  </a:lnTo>
                  <a:lnTo>
                    <a:pt x="27384" y="53960"/>
                  </a:lnTo>
                  <a:lnTo>
                    <a:pt x="29368" y="78548"/>
                  </a:lnTo>
                  <a:lnTo>
                    <a:pt x="30559" y="141604"/>
                  </a:lnTo>
                  <a:lnTo>
                    <a:pt x="30559" y="163020"/>
                  </a:lnTo>
                  <a:lnTo>
                    <a:pt x="32940" y="222507"/>
                  </a:lnTo>
                  <a:lnTo>
                    <a:pt x="36115" y="281597"/>
                  </a:lnTo>
                  <a:lnTo>
                    <a:pt x="40481" y="337515"/>
                  </a:lnTo>
                  <a:lnTo>
                    <a:pt x="48418" y="423969"/>
                  </a:lnTo>
                  <a:lnTo>
                    <a:pt x="51593" y="481077"/>
                  </a:lnTo>
                  <a:lnTo>
                    <a:pt x="51197" y="509234"/>
                  </a:lnTo>
                  <a:lnTo>
                    <a:pt x="57150" y="510027"/>
                  </a:lnTo>
                  <a:lnTo>
                    <a:pt x="63897" y="515579"/>
                  </a:lnTo>
                  <a:lnTo>
                    <a:pt x="65881" y="521528"/>
                  </a:lnTo>
                  <a:lnTo>
                    <a:pt x="65087" y="525097"/>
                  </a:lnTo>
                  <a:lnTo>
                    <a:pt x="63103" y="535012"/>
                  </a:lnTo>
                  <a:lnTo>
                    <a:pt x="62309" y="554444"/>
                  </a:lnTo>
                  <a:lnTo>
                    <a:pt x="64690" y="564359"/>
                  </a:lnTo>
                  <a:lnTo>
                    <a:pt x="65087" y="564755"/>
                  </a:lnTo>
                  <a:lnTo>
                    <a:pt x="65484" y="564755"/>
                  </a:lnTo>
                  <a:lnTo>
                    <a:pt x="177006" y="566738"/>
                  </a:lnTo>
                  <a:lnTo>
                    <a:pt x="399256" y="564755"/>
                  </a:lnTo>
                  <a:lnTo>
                    <a:pt x="622300" y="555634"/>
                  </a:lnTo>
                  <a:lnTo>
                    <a:pt x="844153" y="540167"/>
                  </a:lnTo>
                  <a:lnTo>
                    <a:pt x="954881" y="528667"/>
                  </a:lnTo>
                  <a:lnTo>
                    <a:pt x="961628" y="471162"/>
                  </a:lnTo>
                  <a:lnTo>
                    <a:pt x="970360" y="354965"/>
                  </a:lnTo>
                  <a:lnTo>
                    <a:pt x="979091" y="180866"/>
                  </a:lnTo>
                  <a:lnTo>
                    <a:pt x="984250" y="64668"/>
                  </a:lnTo>
                  <a:lnTo>
                    <a:pt x="981075" y="53564"/>
                  </a:lnTo>
                  <a:lnTo>
                    <a:pt x="977503" y="42459"/>
                  </a:lnTo>
                  <a:lnTo>
                    <a:pt x="858044" y="38494"/>
                  </a:lnTo>
                  <a:lnTo>
                    <a:pt x="619919" y="33735"/>
                  </a:lnTo>
                  <a:close/>
                  <a:moveTo>
                    <a:pt x="439108" y="0"/>
                  </a:moveTo>
                  <a:lnTo>
                    <a:pt x="620150" y="792"/>
                  </a:lnTo>
                  <a:lnTo>
                    <a:pt x="861143" y="7923"/>
                  </a:lnTo>
                  <a:lnTo>
                    <a:pt x="981044" y="11885"/>
                  </a:lnTo>
                  <a:lnTo>
                    <a:pt x="983029" y="12677"/>
                  </a:lnTo>
                  <a:lnTo>
                    <a:pt x="985014" y="13073"/>
                  </a:lnTo>
                  <a:lnTo>
                    <a:pt x="990573" y="8716"/>
                  </a:lnTo>
                  <a:lnTo>
                    <a:pt x="1004072" y="4358"/>
                  </a:lnTo>
                  <a:lnTo>
                    <a:pt x="1017570" y="5150"/>
                  </a:lnTo>
                  <a:lnTo>
                    <a:pt x="1028687" y="12677"/>
                  </a:lnTo>
                  <a:lnTo>
                    <a:pt x="1032657" y="19808"/>
                  </a:lnTo>
                  <a:lnTo>
                    <a:pt x="1039407" y="35654"/>
                  </a:lnTo>
                  <a:lnTo>
                    <a:pt x="1049729" y="68140"/>
                  </a:lnTo>
                  <a:lnTo>
                    <a:pt x="1060449" y="116867"/>
                  </a:lnTo>
                  <a:lnTo>
                    <a:pt x="1065213" y="182630"/>
                  </a:lnTo>
                  <a:lnTo>
                    <a:pt x="1064022" y="249581"/>
                  </a:lnTo>
                  <a:lnTo>
                    <a:pt x="1062831" y="284046"/>
                  </a:lnTo>
                  <a:lnTo>
                    <a:pt x="1054494" y="439737"/>
                  </a:lnTo>
                  <a:lnTo>
                    <a:pt x="1045362" y="595428"/>
                  </a:lnTo>
                  <a:lnTo>
                    <a:pt x="1044568" y="602559"/>
                  </a:lnTo>
                  <a:lnTo>
                    <a:pt x="1039010" y="614840"/>
                  </a:lnTo>
                  <a:lnTo>
                    <a:pt x="1029878" y="623951"/>
                  </a:lnTo>
                  <a:lnTo>
                    <a:pt x="1017570" y="629101"/>
                  </a:lnTo>
                  <a:lnTo>
                    <a:pt x="1010027" y="630290"/>
                  </a:lnTo>
                  <a:lnTo>
                    <a:pt x="874245" y="639401"/>
                  </a:lnTo>
                  <a:lnTo>
                    <a:pt x="602681" y="651682"/>
                  </a:lnTo>
                  <a:lnTo>
                    <a:pt x="466899" y="655248"/>
                  </a:lnTo>
                  <a:lnTo>
                    <a:pt x="400993" y="656832"/>
                  </a:lnTo>
                  <a:lnTo>
                    <a:pt x="268785" y="658813"/>
                  </a:lnTo>
                  <a:lnTo>
                    <a:pt x="203276" y="656832"/>
                  </a:lnTo>
                  <a:lnTo>
                    <a:pt x="180249" y="656040"/>
                  </a:lnTo>
                  <a:lnTo>
                    <a:pt x="135782" y="648513"/>
                  </a:lnTo>
                  <a:lnTo>
                    <a:pt x="104417" y="638609"/>
                  </a:lnTo>
                  <a:lnTo>
                    <a:pt x="84963" y="629101"/>
                  </a:lnTo>
                  <a:lnTo>
                    <a:pt x="66303" y="617216"/>
                  </a:lnTo>
                  <a:lnTo>
                    <a:pt x="48834" y="602559"/>
                  </a:lnTo>
                  <a:lnTo>
                    <a:pt x="41291" y="593843"/>
                  </a:lnTo>
                  <a:lnTo>
                    <a:pt x="38114" y="589485"/>
                  </a:lnTo>
                  <a:lnTo>
                    <a:pt x="36923" y="585524"/>
                  </a:lnTo>
                  <a:lnTo>
                    <a:pt x="36526" y="585128"/>
                  </a:lnTo>
                  <a:lnTo>
                    <a:pt x="33350" y="572847"/>
                  </a:lnTo>
                  <a:lnTo>
                    <a:pt x="31762" y="550662"/>
                  </a:lnTo>
                  <a:lnTo>
                    <a:pt x="33350" y="539965"/>
                  </a:lnTo>
                  <a:lnTo>
                    <a:pt x="30571" y="539173"/>
                  </a:lnTo>
                  <a:lnTo>
                    <a:pt x="25807" y="534815"/>
                  </a:lnTo>
                  <a:lnTo>
                    <a:pt x="24616" y="531250"/>
                  </a:lnTo>
                  <a:lnTo>
                    <a:pt x="18660" y="502330"/>
                  </a:lnTo>
                  <a:lnTo>
                    <a:pt x="11514" y="442114"/>
                  </a:lnTo>
                  <a:lnTo>
                    <a:pt x="7941" y="350205"/>
                  </a:lnTo>
                  <a:lnTo>
                    <a:pt x="5558" y="290781"/>
                  </a:lnTo>
                  <a:lnTo>
                    <a:pt x="2779" y="226999"/>
                  </a:lnTo>
                  <a:lnTo>
                    <a:pt x="0" y="131525"/>
                  </a:lnTo>
                  <a:lnTo>
                    <a:pt x="397" y="68140"/>
                  </a:lnTo>
                  <a:lnTo>
                    <a:pt x="1985" y="36051"/>
                  </a:lnTo>
                  <a:lnTo>
                    <a:pt x="2779" y="32881"/>
                  </a:lnTo>
                  <a:lnTo>
                    <a:pt x="6352" y="27335"/>
                  </a:lnTo>
                  <a:lnTo>
                    <a:pt x="9132" y="26543"/>
                  </a:lnTo>
                  <a:lnTo>
                    <a:pt x="10720" y="25750"/>
                  </a:lnTo>
                  <a:lnTo>
                    <a:pt x="12308" y="25750"/>
                  </a:lnTo>
                  <a:lnTo>
                    <a:pt x="14293" y="22185"/>
                  </a:lnTo>
                  <a:lnTo>
                    <a:pt x="19057" y="21393"/>
                  </a:lnTo>
                  <a:lnTo>
                    <a:pt x="78611" y="15054"/>
                  </a:lnTo>
                  <a:lnTo>
                    <a:pt x="198512" y="6735"/>
                  </a:lnTo>
                  <a:lnTo>
                    <a:pt x="318413" y="2377"/>
                  </a:lnTo>
                  <a:close/>
                </a:path>
              </a:pathLst>
            </a:custGeom>
            <a:solidFill>
              <a:srgbClr val="F7931F"/>
            </a:solidFill>
            <a:ln w="9525">
              <a:noFill/>
              <a:round/>
              <a:headEnd/>
              <a:tailEnd/>
            </a:ln>
          </p:spPr>
          <p:txBody>
            <a:bodyPr vert="horz" wrap="square" lIns="68580" tIns="34290" rIns="68580" bIns="34290" numCol="1" anchor="t" anchorCtr="0" compatLnSpc="1">
              <a:prstTxWarp prst="textNoShape">
                <a:avLst/>
              </a:prstTxWarp>
              <a:noAutofit/>
            </a:bodyPr>
            <a:lstStyle/>
            <a:p>
              <a:pPr>
                <a:defRPr/>
              </a:pPr>
              <a:endParaRPr lang="es-MX" sz="1050" kern="0">
                <a:solidFill>
                  <a:prstClr val="black"/>
                </a:solidFill>
                <a:latin typeface="Calibri" panose="020F0502020204030204"/>
              </a:endParaRPr>
            </a:p>
          </p:txBody>
        </p:sp>
        <p:sp>
          <p:nvSpPr>
            <p:cNvPr id="40" name="Freeform: Shape 48">
              <a:extLst>
                <a:ext uri="{FF2B5EF4-FFF2-40B4-BE49-F238E27FC236}">
                  <a16:creationId xmlns:a16="http://schemas.microsoft.com/office/drawing/2014/main" id="{88316C3D-3C6F-4694-868F-193B260CEB0A}"/>
                </a:ext>
              </a:extLst>
            </p:cNvPr>
            <p:cNvSpPr>
              <a:spLocks/>
            </p:cNvSpPr>
            <p:nvPr/>
          </p:nvSpPr>
          <p:spPr bwMode="auto">
            <a:xfrm>
              <a:off x="5715950" y="2064331"/>
              <a:ext cx="1221288" cy="649438"/>
            </a:xfrm>
            <a:custGeom>
              <a:avLst/>
              <a:gdLst>
                <a:gd name="connsiteX0" fmla="*/ 40085 w 665163"/>
                <a:gd name="connsiteY0" fmla="*/ 28575 h 619125"/>
                <a:gd name="connsiteX1" fmla="*/ 41672 w 665163"/>
                <a:gd name="connsiteY1" fmla="*/ 55145 h 619125"/>
                <a:gd name="connsiteX2" fmla="*/ 38100 w 665163"/>
                <a:gd name="connsiteY2" fmla="*/ 108682 h 619125"/>
                <a:gd name="connsiteX3" fmla="*/ 36116 w 665163"/>
                <a:gd name="connsiteY3" fmla="*/ 134855 h 619125"/>
                <a:gd name="connsiteX4" fmla="*/ 32941 w 665163"/>
                <a:gd name="connsiteY4" fmla="*/ 197117 h 619125"/>
                <a:gd name="connsiteX5" fmla="*/ 30560 w 665163"/>
                <a:gd name="connsiteY5" fmla="*/ 259378 h 619125"/>
                <a:gd name="connsiteX6" fmla="*/ 28178 w 665163"/>
                <a:gd name="connsiteY6" fmla="*/ 321243 h 619125"/>
                <a:gd name="connsiteX7" fmla="*/ 25797 w 665163"/>
                <a:gd name="connsiteY7" fmla="*/ 445765 h 619125"/>
                <a:gd name="connsiteX8" fmla="*/ 22225 w 665163"/>
                <a:gd name="connsiteY8" fmla="*/ 508026 h 619125"/>
                <a:gd name="connsiteX9" fmla="*/ 24606 w 665163"/>
                <a:gd name="connsiteY9" fmla="*/ 508820 h 619125"/>
                <a:gd name="connsiteX10" fmla="*/ 28178 w 665163"/>
                <a:gd name="connsiteY10" fmla="*/ 512785 h 619125"/>
                <a:gd name="connsiteX11" fmla="*/ 28972 w 665163"/>
                <a:gd name="connsiteY11" fmla="*/ 516354 h 619125"/>
                <a:gd name="connsiteX12" fmla="*/ 30560 w 665163"/>
                <a:gd name="connsiteY12" fmla="*/ 521510 h 619125"/>
                <a:gd name="connsiteX13" fmla="*/ 32147 w 665163"/>
                <a:gd name="connsiteY13" fmla="*/ 526665 h 619125"/>
                <a:gd name="connsiteX14" fmla="*/ 98822 w 665163"/>
                <a:gd name="connsiteY14" fmla="*/ 533010 h 619125"/>
                <a:gd name="connsiteX15" fmla="*/ 232172 w 665163"/>
                <a:gd name="connsiteY15" fmla="*/ 541338 h 619125"/>
                <a:gd name="connsiteX16" fmla="*/ 298847 w 665163"/>
                <a:gd name="connsiteY16" fmla="*/ 541338 h 619125"/>
                <a:gd name="connsiteX17" fmla="*/ 371872 w 665163"/>
                <a:gd name="connsiteY17" fmla="*/ 539752 h 619125"/>
                <a:gd name="connsiteX18" fmla="*/ 444897 w 665163"/>
                <a:gd name="connsiteY18" fmla="*/ 535390 h 619125"/>
                <a:gd name="connsiteX19" fmla="*/ 477838 w 665163"/>
                <a:gd name="connsiteY19" fmla="*/ 531424 h 619125"/>
                <a:gd name="connsiteX20" fmla="*/ 529035 w 665163"/>
                <a:gd name="connsiteY20" fmla="*/ 525475 h 619125"/>
                <a:gd name="connsiteX21" fmla="*/ 562372 w 665163"/>
                <a:gd name="connsiteY21" fmla="*/ 523889 h 619125"/>
                <a:gd name="connsiteX22" fmla="*/ 578247 w 665163"/>
                <a:gd name="connsiteY22" fmla="*/ 525079 h 619125"/>
                <a:gd name="connsiteX23" fmla="*/ 577056 w 665163"/>
                <a:gd name="connsiteY23" fmla="*/ 361296 h 619125"/>
                <a:gd name="connsiteX24" fmla="*/ 578644 w 665163"/>
                <a:gd name="connsiteY24" fmla="*/ 197910 h 619125"/>
                <a:gd name="connsiteX25" fmla="*/ 577850 w 665163"/>
                <a:gd name="connsiteY25" fmla="*/ 160632 h 619125"/>
                <a:gd name="connsiteX26" fmla="*/ 576263 w 665163"/>
                <a:gd name="connsiteY26" fmla="*/ 100751 h 619125"/>
                <a:gd name="connsiteX27" fmla="*/ 578247 w 665163"/>
                <a:gd name="connsiteY27" fmla="*/ 62283 h 619125"/>
                <a:gd name="connsiteX28" fmla="*/ 581025 w 665163"/>
                <a:gd name="connsiteY28" fmla="*/ 43645 h 619125"/>
                <a:gd name="connsiteX29" fmla="*/ 579835 w 665163"/>
                <a:gd name="connsiteY29" fmla="*/ 39679 h 619125"/>
                <a:gd name="connsiteX30" fmla="*/ 579835 w 665163"/>
                <a:gd name="connsiteY30" fmla="*/ 35713 h 619125"/>
                <a:gd name="connsiteX31" fmla="*/ 512366 w 665163"/>
                <a:gd name="connsiteY31" fmla="*/ 35713 h 619125"/>
                <a:gd name="connsiteX32" fmla="*/ 377825 w 665163"/>
                <a:gd name="connsiteY32" fmla="*/ 30558 h 619125"/>
                <a:gd name="connsiteX33" fmla="*/ 310356 w 665163"/>
                <a:gd name="connsiteY33" fmla="*/ 29368 h 619125"/>
                <a:gd name="connsiteX34" fmla="*/ 175022 w 665163"/>
                <a:gd name="connsiteY34" fmla="*/ 29368 h 619125"/>
                <a:gd name="connsiteX35" fmla="*/ 239713 w 665163"/>
                <a:gd name="connsiteY35" fmla="*/ 0 h 619125"/>
                <a:gd name="connsiteX36" fmla="*/ 311150 w 665163"/>
                <a:gd name="connsiteY36" fmla="*/ 0 h 619125"/>
                <a:gd name="connsiteX37" fmla="*/ 381397 w 665163"/>
                <a:gd name="connsiteY37" fmla="*/ 0 h 619125"/>
                <a:gd name="connsiteX38" fmla="*/ 488951 w 665163"/>
                <a:gd name="connsiteY38" fmla="*/ 1192 h 619125"/>
                <a:gd name="connsiteX39" fmla="*/ 559991 w 665163"/>
                <a:gd name="connsiteY39" fmla="*/ 4371 h 619125"/>
                <a:gd name="connsiteX40" fmla="*/ 595710 w 665163"/>
                <a:gd name="connsiteY40" fmla="*/ 7948 h 619125"/>
                <a:gd name="connsiteX41" fmla="*/ 599282 w 665163"/>
                <a:gd name="connsiteY41" fmla="*/ 8743 h 619125"/>
                <a:gd name="connsiteX42" fmla="*/ 602060 w 665163"/>
                <a:gd name="connsiteY42" fmla="*/ 10332 h 619125"/>
                <a:gd name="connsiteX43" fmla="*/ 608013 w 665163"/>
                <a:gd name="connsiteY43" fmla="*/ 9537 h 619125"/>
                <a:gd name="connsiteX44" fmla="*/ 618729 w 665163"/>
                <a:gd name="connsiteY44" fmla="*/ 13114 h 619125"/>
                <a:gd name="connsiteX45" fmla="*/ 623491 w 665163"/>
                <a:gd name="connsiteY45" fmla="*/ 18280 h 619125"/>
                <a:gd name="connsiteX46" fmla="*/ 633016 w 665163"/>
                <a:gd name="connsiteY46" fmla="*/ 30996 h 619125"/>
                <a:gd name="connsiteX47" fmla="*/ 646907 w 665163"/>
                <a:gd name="connsiteY47" fmla="*/ 57621 h 619125"/>
                <a:gd name="connsiteX48" fmla="*/ 656829 w 665163"/>
                <a:gd name="connsiteY48" fmla="*/ 87027 h 619125"/>
                <a:gd name="connsiteX49" fmla="*/ 661988 w 665163"/>
                <a:gd name="connsiteY49" fmla="*/ 117228 h 619125"/>
                <a:gd name="connsiteX50" fmla="*/ 665163 w 665163"/>
                <a:gd name="connsiteY50" fmla="*/ 163722 h 619125"/>
                <a:gd name="connsiteX51" fmla="*/ 662782 w 665163"/>
                <a:gd name="connsiteY51" fmla="*/ 226907 h 619125"/>
                <a:gd name="connsiteX52" fmla="*/ 661194 w 665163"/>
                <a:gd name="connsiteY52" fmla="*/ 257108 h 619125"/>
                <a:gd name="connsiteX53" fmla="*/ 656829 w 665163"/>
                <a:gd name="connsiteY53" fmla="*/ 417254 h 619125"/>
                <a:gd name="connsiteX54" fmla="*/ 651273 w 665163"/>
                <a:gd name="connsiteY54" fmla="*/ 578195 h 619125"/>
                <a:gd name="connsiteX55" fmla="*/ 650479 w 665163"/>
                <a:gd name="connsiteY55" fmla="*/ 583758 h 619125"/>
                <a:gd name="connsiteX56" fmla="*/ 646113 w 665163"/>
                <a:gd name="connsiteY56" fmla="*/ 594090 h 619125"/>
                <a:gd name="connsiteX57" fmla="*/ 638176 w 665163"/>
                <a:gd name="connsiteY57" fmla="*/ 602038 h 619125"/>
                <a:gd name="connsiteX58" fmla="*/ 627460 w 665163"/>
                <a:gd name="connsiteY58" fmla="*/ 606806 h 619125"/>
                <a:gd name="connsiteX59" fmla="*/ 621904 w 665163"/>
                <a:gd name="connsiteY59" fmla="*/ 607204 h 619125"/>
                <a:gd name="connsiteX60" fmla="*/ 424260 w 665163"/>
                <a:gd name="connsiteY60" fmla="*/ 612370 h 619125"/>
                <a:gd name="connsiteX61" fmla="*/ 226616 w 665163"/>
                <a:gd name="connsiteY61" fmla="*/ 617138 h 619125"/>
                <a:gd name="connsiteX62" fmla="*/ 198835 w 665163"/>
                <a:gd name="connsiteY62" fmla="*/ 618330 h 619125"/>
                <a:gd name="connsiteX63" fmla="*/ 148035 w 665163"/>
                <a:gd name="connsiteY63" fmla="*/ 619125 h 619125"/>
                <a:gd name="connsiteX64" fmla="*/ 113110 w 665163"/>
                <a:gd name="connsiteY64" fmla="*/ 617138 h 619125"/>
                <a:gd name="connsiteX65" fmla="*/ 79772 w 665163"/>
                <a:gd name="connsiteY65" fmla="*/ 611972 h 619125"/>
                <a:gd name="connsiteX66" fmla="*/ 49610 w 665163"/>
                <a:gd name="connsiteY66" fmla="*/ 601640 h 619125"/>
                <a:gd name="connsiteX67" fmla="*/ 31353 w 665163"/>
                <a:gd name="connsiteY67" fmla="*/ 589321 h 619125"/>
                <a:gd name="connsiteX68" fmla="*/ 21432 w 665163"/>
                <a:gd name="connsiteY68" fmla="*/ 579387 h 619125"/>
                <a:gd name="connsiteX69" fmla="*/ 13891 w 665163"/>
                <a:gd name="connsiteY69" fmla="*/ 567068 h 619125"/>
                <a:gd name="connsiteX70" fmla="*/ 7938 w 665163"/>
                <a:gd name="connsiteY70" fmla="*/ 552762 h 619125"/>
                <a:gd name="connsiteX71" fmla="*/ 6350 w 665163"/>
                <a:gd name="connsiteY71" fmla="*/ 544417 h 619125"/>
                <a:gd name="connsiteX72" fmla="*/ 3572 w 665163"/>
                <a:gd name="connsiteY72" fmla="*/ 542827 h 619125"/>
                <a:gd name="connsiteX73" fmla="*/ 397 w 665163"/>
                <a:gd name="connsiteY73" fmla="*/ 537661 h 619125"/>
                <a:gd name="connsiteX74" fmla="*/ 0 w 665163"/>
                <a:gd name="connsiteY74" fmla="*/ 531701 h 619125"/>
                <a:gd name="connsiteX75" fmla="*/ 2778 w 665163"/>
                <a:gd name="connsiteY75" fmla="*/ 526535 h 619125"/>
                <a:gd name="connsiteX76" fmla="*/ 5557 w 665163"/>
                <a:gd name="connsiteY76" fmla="*/ 525342 h 619125"/>
                <a:gd name="connsiteX77" fmla="*/ 5557 w 665163"/>
                <a:gd name="connsiteY77" fmla="*/ 522958 h 619125"/>
                <a:gd name="connsiteX78" fmla="*/ 5953 w 665163"/>
                <a:gd name="connsiteY78" fmla="*/ 520176 h 619125"/>
                <a:gd name="connsiteX79" fmla="*/ 5953 w 665163"/>
                <a:gd name="connsiteY79" fmla="*/ 518587 h 619125"/>
                <a:gd name="connsiteX80" fmla="*/ 6350 w 665163"/>
                <a:gd name="connsiteY80" fmla="*/ 517395 h 619125"/>
                <a:gd name="connsiteX81" fmla="*/ 6350 w 665163"/>
                <a:gd name="connsiteY81" fmla="*/ 516600 h 619125"/>
                <a:gd name="connsiteX82" fmla="*/ 3969 w 665163"/>
                <a:gd name="connsiteY82" fmla="*/ 484809 h 619125"/>
                <a:gd name="connsiteX83" fmla="*/ 1588 w 665163"/>
                <a:gd name="connsiteY83" fmla="*/ 420433 h 619125"/>
                <a:gd name="connsiteX84" fmla="*/ 1985 w 665163"/>
                <a:gd name="connsiteY84" fmla="*/ 323471 h 619125"/>
                <a:gd name="connsiteX85" fmla="*/ 3969 w 665163"/>
                <a:gd name="connsiteY85" fmla="*/ 259890 h 619125"/>
                <a:gd name="connsiteX86" fmla="*/ 5953 w 665163"/>
                <a:gd name="connsiteY86" fmla="*/ 197500 h 619125"/>
                <a:gd name="connsiteX87" fmla="*/ 9128 w 665163"/>
                <a:gd name="connsiteY87" fmla="*/ 135111 h 619125"/>
                <a:gd name="connsiteX88" fmla="*/ 10319 w 665163"/>
                <a:gd name="connsiteY88" fmla="*/ 107691 h 619125"/>
                <a:gd name="connsiteX89" fmla="*/ 12700 w 665163"/>
                <a:gd name="connsiteY89" fmla="*/ 65966 h 619125"/>
                <a:gd name="connsiteX90" fmla="*/ 16272 w 665163"/>
                <a:gd name="connsiteY90" fmla="*/ 38546 h 619125"/>
                <a:gd name="connsiteX91" fmla="*/ 19844 w 665163"/>
                <a:gd name="connsiteY91" fmla="*/ 25830 h 619125"/>
                <a:gd name="connsiteX92" fmla="*/ 18257 w 665163"/>
                <a:gd name="connsiteY92" fmla="*/ 23843 h 619125"/>
                <a:gd name="connsiteX93" fmla="*/ 17463 w 665163"/>
                <a:gd name="connsiteY93" fmla="*/ 18677 h 619125"/>
                <a:gd name="connsiteX94" fmla="*/ 19050 w 665163"/>
                <a:gd name="connsiteY94" fmla="*/ 13511 h 619125"/>
                <a:gd name="connsiteX95" fmla="*/ 23019 w 665163"/>
                <a:gd name="connsiteY95" fmla="*/ 10332 h 619125"/>
                <a:gd name="connsiteX96" fmla="*/ 26194 w 665163"/>
                <a:gd name="connsiteY96" fmla="*/ 9935 h 619125"/>
                <a:gd name="connsiteX97" fmla="*/ 97235 w 665163"/>
                <a:gd name="connsiteY97" fmla="*/ 4371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665163" h="619125">
                  <a:moveTo>
                    <a:pt x="40085" y="28575"/>
                  </a:moveTo>
                  <a:lnTo>
                    <a:pt x="41672" y="55145"/>
                  </a:lnTo>
                  <a:lnTo>
                    <a:pt x="38100" y="108682"/>
                  </a:lnTo>
                  <a:lnTo>
                    <a:pt x="36116" y="134855"/>
                  </a:lnTo>
                  <a:lnTo>
                    <a:pt x="32941" y="197117"/>
                  </a:lnTo>
                  <a:lnTo>
                    <a:pt x="30560" y="259378"/>
                  </a:lnTo>
                  <a:lnTo>
                    <a:pt x="28178" y="321243"/>
                  </a:lnTo>
                  <a:lnTo>
                    <a:pt x="25797" y="445765"/>
                  </a:lnTo>
                  <a:lnTo>
                    <a:pt x="22225" y="508026"/>
                  </a:lnTo>
                  <a:lnTo>
                    <a:pt x="24606" y="508820"/>
                  </a:lnTo>
                  <a:lnTo>
                    <a:pt x="28178" y="512785"/>
                  </a:lnTo>
                  <a:lnTo>
                    <a:pt x="28972" y="516354"/>
                  </a:lnTo>
                  <a:lnTo>
                    <a:pt x="30560" y="521510"/>
                  </a:lnTo>
                  <a:lnTo>
                    <a:pt x="32147" y="526665"/>
                  </a:lnTo>
                  <a:lnTo>
                    <a:pt x="98822" y="533010"/>
                  </a:lnTo>
                  <a:lnTo>
                    <a:pt x="232172" y="541338"/>
                  </a:lnTo>
                  <a:lnTo>
                    <a:pt x="298847" y="541338"/>
                  </a:lnTo>
                  <a:lnTo>
                    <a:pt x="371872" y="539752"/>
                  </a:lnTo>
                  <a:lnTo>
                    <a:pt x="444897" y="535390"/>
                  </a:lnTo>
                  <a:lnTo>
                    <a:pt x="477838" y="531424"/>
                  </a:lnTo>
                  <a:lnTo>
                    <a:pt x="529035" y="525475"/>
                  </a:lnTo>
                  <a:lnTo>
                    <a:pt x="562372" y="523889"/>
                  </a:lnTo>
                  <a:lnTo>
                    <a:pt x="578247" y="525079"/>
                  </a:lnTo>
                  <a:lnTo>
                    <a:pt x="577056" y="361296"/>
                  </a:lnTo>
                  <a:lnTo>
                    <a:pt x="578644" y="197910"/>
                  </a:lnTo>
                  <a:lnTo>
                    <a:pt x="577850" y="160632"/>
                  </a:lnTo>
                  <a:lnTo>
                    <a:pt x="576263" y="100751"/>
                  </a:lnTo>
                  <a:lnTo>
                    <a:pt x="578247" y="62283"/>
                  </a:lnTo>
                  <a:lnTo>
                    <a:pt x="581025" y="43645"/>
                  </a:lnTo>
                  <a:lnTo>
                    <a:pt x="579835" y="39679"/>
                  </a:lnTo>
                  <a:lnTo>
                    <a:pt x="579835" y="35713"/>
                  </a:lnTo>
                  <a:lnTo>
                    <a:pt x="512366" y="35713"/>
                  </a:lnTo>
                  <a:lnTo>
                    <a:pt x="377825" y="30558"/>
                  </a:lnTo>
                  <a:lnTo>
                    <a:pt x="310356" y="29368"/>
                  </a:lnTo>
                  <a:lnTo>
                    <a:pt x="175022" y="29368"/>
                  </a:lnTo>
                  <a:close/>
                  <a:moveTo>
                    <a:pt x="239713" y="0"/>
                  </a:moveTo>
                  <a:lnTo>
                    <a:pt x="311150" y="0"/>
                  </a:lnTo>
                  <a:lnTo>
                    <a:pt x="381397" y="0"/>
                  </a:lnTo>
                  <a:lnTo>
                    <a:pt x="488951" y="1192"/>
                  </a:lnTo>
                  <a:lnTo>
                    <a:pt x="559991" y="4371"/>
                  </a:lnTo>
                  <a:lnTo>
                    <a:pt x="595710" y="7948"/>
                  </a:lnTo>
                  <a:lnTo>
                    <a:pt x="599282" y="8743"/>
                  </a:lnTo>
                  <a:lnTo>
                    <a:pt x="602060" y="10332"/>
                  </a:lnTo>
                  <a:lnTo>
                    <a:pt x="608013" y="9537"/>
                  </a:lnTo>
                  <a:lnTo>
                    <a:pt x="618729" y="13114"/>
                  </a:lnTo>
                  <a:lnTo>
                    <a:pt x="623491" y="18280"/>
                  </a:lnTo>
                  <a:lnTo>
                    <a:pt x="633016" y="30996"/>
                  </a:lnTo>
                  <a:lnTo>
                    <a:pt x="646907" y="57621"/>
                  </a:lnTo>
                  <a:lnTo>
                    <a:pt x="656829" y="87027"/>
                  </a:lnTo>
                  <a:lnTo>
                    <a:pt x="661988" y="117228"/>
                  </a:lnTo>
                  <a:lnTo>
                    <a:pt x="665163" y="163722"/>
                  </a:lnTo>
                  <a:lnTo>
                    <a:pt x="662782" y="226907"/>
                  </a:lnTo>
                  <a:lnTo>
                    <a:pt x="661194" y="257108"/>
                  </a:lnTo>
                  <a:lnTo>
                    <a:pt x="656829" y="417254"/>
                  </a:lnTo>
                  <a:lnTo>
                    <a:pt x="651273" y="578195"/>
                  </a:lnTo>
                  <a:lnTo>
                    <a:pt x="650479" y="583758"/>
                  </a:lnTo>
                  <a:lnTo>
                    <a:pt x="646113" y="594090"/>
                  </a:lnTo>
                  <a:lnTo>
                    <a:pt x="638176" y="602038"/>
                  </a:lnTo>
                  <a:lnTo>
                    <a:pt x="627460" y="606806"/>
                  </a:lnTo>
                  <a:lnTo>
                    <a:pt x="621904" y="607204"/>
                  </a:lnTo>
                  <a:lnTo>
                    <a:pt x="424260" y="612370"/>
                  </a:lnTo>
                  <a:lnTo>
                    <a:pt x="226616" y="617138"/>
                  </a:lnTo>
                  <a:lnTo>
                    <a:pt x="198835" y="618330"/>
                  </a:lnTo>
                  <a:lnTo>
                    <a:pt x="148035" y="619125"/>
                  </a:lnTo>
                  <a:lnTo>
                    <a:pt x="113110" y="617138"/>
                  </a:lnTo>
                  <a:lnTo>
                    <a:pt x="79772" y="611972"/>
                  </a:lnTo>
                  <a:lnTo>
                    <a:pt x="49610" y="601640"/>
                  </a:lnTo>
                  <a:lnTo>
                    <a:pt x="31353" y="589321"/>
                  </a:lnTo>
                  <a:lnTo>
                    <a:pt x="21432" y="579387"/>
                  </a:lnTo>
                  <a:lnTo>
                    <a:pt x="13891" y="567068"/>
                  </a:lnTo>
                  <a:lnTo>
                    <a:pt x="7938" y="552762"/>
                  </a:lnTo>
                  <a:lnTo>
                    <a:pt x="6350" y="544417"/>
                  </a:lnTo>
                  <a:lnTo>
                    <a:pt x="3572" y="542827"/>
                  </a:lnTo>
                  <a:lnTo>
                    <a:pt x="397" y="537661"/>
                  </a:lnTo>
                  <a:lnTo>
                    <a:pt x="0" y="531701"/>
                  </a:lnTo>
                  <a:lnTo>
                    <a:pt x="2778" y="526535"/>
                  </a:lnTo>
                  <a:lnTo>
                    <a:pt x="5557" y="525342"/>
                  </a:lnTo>
                  <a:lnTo>
                    <a:pt x="5557" y="522958"/>
                  </a:lnTo>
                  <a:lnTo>
                    <a:pt x="5953" y="520176"/>
                  </a:lnTo>
                  <a:lnTo>
                    <a:pt x="5953" y="518587"/>
                  </a:lnTo>
                  <a:lnTo>
                    <a:pt x="6350" y="517395"/>
                  </a:lnTo>
                  <a:lnTo>
                    <a:pt x="6350" y="516600"/>
                  </a:lnTo>
                  <a:lnTo>
                    <a:pt x="3969" y="484809"/>
                  </a:lnTo>
                  <a:lnTo>
                    <a:pt x="1588" y="420433"/>
                  </a:lnTo>
                  <a:lnTo>
                    <a:pt x="1985" y="323471"/>
                  </a:lnTo>
                  <a:lnTo>
                    <a:pt x="3969" y="259890"/>
                  </a:lnTo>
                  <a:lnTo>
                    <a:pt x="5953" y="197500"/>
                  </a:lnTo>
                  <a:lnTo>
                    <a:pt x="9128" y="135111"/>
                  </a:lnTo>
                  <a:lnTo>
                    <a:pt x="10319" y="107691"/>
                  </a:lnTo>
                  <a:lnTo>
                    <a:pt x="12700" y="65966"/>
                  </a:lnTo>
                  <a:lnTo>
                    <a:pt x="16272" y="38546"/>
                  </a:lnTo>
                  <a:lnTo>
                    <a:pt x="19844" y="25830"/>
                  </a:lnTo>
                  <a:lnTo>
                    <a:pt x="18257" y="23843"/>
                  </a:lnTo>
                  <a:lnTo>
                    <a:pt x="17463" y="18677"/>
                  </a:lnTo>
                  <a:lnTo>
                    <a:pt x="19050" y="13511"/>
                  </a:lnTo>
                  <a:lnTo>
                    <a:pt x="23019" y="10332"/>
                  </a:lnTo>
                  <a:lnTo>
                    <a:pt x="26194" y="9935"/>
                  </a:lnTo>
                  <a:lnTo>
                    <a:pt x="97235" y="4371"/>
                  </a:lnTo>
                  <a:close/>
                </a:path>
              </a:pathLst>
            </a:custGeom>
            <a:solidFill>
              <a:srgbClr val="3A5C84"/>
            </a:solidFill>
            <a:ln w="9525">
              <a:noFill/>
              <a:round/>
              <a:headEnd/>
              <a:tailEnd/>
            </a:ln>
          </p:spPr>
          <p:txBody>
            <a:bodyPr vert="horz" wrap="square" lIns="68580" tIns="34290" rIns="68580" bIns="34290" numCol="1" anchor="t" anchorCtr="0" compatLnSpc="1">
              <a:prstTxWarp prst="textNoShape">
                <a:avLst/>
              </a:prstTxWarp>
              <a:noAutofit/>
            </a:bodyPr>
            <a:lstStyle/>
            <a:p>
              <a:pPr>
                <a:defRPr/>
              </a:pPr>
              <a:endParaRPr lang="es-MX" sz="1050" kern="0">
                <a:solidFill>
                  <a:prstClr val="black"/>
                </a:solidFill>
                <a:latin typeface="Calibri" panose="020F0502020204030204"/>
              </a:endParaRPr>
            </a:p>
          </p:txBody>
        </p:sp>
        <p:sp>
          <p:nvSpPr>
            <p:cNvPr id="41" name="Freeform: Shape 49">
              <a:extLst>
                <a:ext uri="{FF2B5EF4-FFF2-40B4-BE49-F238E27FC236}">
                  <a16:creationId xmlns:a16="http://schemas.microsoft.com/office/drawing/2014/main" id="{6B1BC1E7-F8CB-4139-B35C-5ACBA54DF816}"/>
                </a:ext>
              </a:extLst>
            </p:cNvPr>
            <p:cNvSpPr>
              <a:spLocks/>
            </p:cNvSpPr>
            <p:nvPr/>
          </p:nvSpPr>
          <p:spPr bwMode="auto">
            <a:xfrm>
              <a:off x="3131840" y="4239536"/>
              <a:ext cx="1084202" cy="629624"/>
            </a:xfrm>
            <a:custGeom>
              <a:avLst/>
              <a:gdLst>
                <a:gd name="connsiteX0" fmla="*/ 74633 w 1268413"/>
                <a:gd name="connsiteY0" fmla="*/ 33338 h 736600"/>
                <a:gd name="connsiteX1" fmla="*/ 72251 w 1268413"/>
                <a:gd name="connsiteY1" fmla="*/ 110282 h 736600"/>
                <a:gd name="connsiteX2" fmla="*/ 64311 w 1268413"/>
                <a:gd name="connsiteY2" fmla="*/ 264964 h 736600"/>
                <a:gd name="connsiteX3" fmla="*/ 51606 w 1268413"/>
                <a:gd name="connsiteY3" fmla="*/ 419646 h 736600"/>
                <a:gd name="connsiteX4" fmla="*/ 31359 w 1268413"/>
                <a:gd name="connsiteY4" fmla="*/ 572741 h 736600"/>
                <a:gd name="connsiteX5" fmla="*/ 17463 w 1268413"/>
                <a:gd name="connsiteY5" fmla="*/ 648495 h 736600"/>
                <a:gd name="connsiteX6" fmla="*/ 20242 w 1268413"/>
                <a:gd name="connsiteY6" fmla="*/ 648892 h 736600"/>
                <a:gd name="connsiteX7" fmla="*/ 22624 w 1268413"/>
                <a:gd name="connsiteY7" fmla="*/ 649288 h 736600"/>
                <a:gd name="connsiteX8" fmla="*/ 37314 w 1268413"/>
                <a:gd name="connsiteY8" fmla="*/ 645719 h 736600"/>
                <a:gd name="connsiteX9" fmla="*/ 67487 w 1268413"/>
                <a:gd name="connsiteY9" fmla="*/ 643339 h 736600"/>
                <a:gd name="connsiteX10" fmla="*/ 113937 w 1268413"/>
                <a:gd name="connsiteY10" fmla="*/ 642546 h 736600"/>
                <a:gd name="connsiteX11" fmla="*/ 142522 w 1268413"/>
                <a:gd name="connsiteY11" fmla="*/ 642546 h 736600"/>
                <a:gd name="connsiteX12" fmla="*/ 219145 w 1268413"/>
                <a:gd name="connsiteY12" fmla="*/ 640563 h 736600"/>
                <a:gd name="connsiteX13" fmla="*/ 295372 w 1268413"/>
                <a:gd name="connsiteY13" fmla="*/ 638976 h 736600"/>
                <a:gd name="connsiteX14" fmla="*/ 439884 w 1268413"/>
                <a:gd name="connsiteY14" fmla="*/ 636993 h 736600"/>
                <a:gd name="connsiteX15" fmla="*/ 584000 w 1268413"/>
                <a:gd name="connsiteY15" fmla="*/ 636596 h 736600"/>
                <a:gd name="connsiteX16" fmla="*/ 732880 w 1268413"/>
                <a:gd name="connsiteY16" fmla="*/ 636596 h 736600"/>
                <a:gd name="connsiteX17" fmla="*/ 881362 w 1268413"/>
                <a:gd name="connsiteY17" fmla="*/ 637390 h 736600"/>
                <a:gd name="connsiteX18" fmla="*/ 951633 w 1268413"/>
                <a:gd name="connsiteY18" fmla="*/ 636993 h 736600"/>
                <a:gd name="connsiteX19" fmla="*/ 1059224 w 1268413"/>
                <a:gd name="connsiteY19" fmla="*/ 635803 h 736600"/>
                <a:gd name="connsiteX20" fmla="*/ 1129892 w 1268413"/>
                <a:gd name="connsiteY20" fmla="*/ 638579 h 736600"/>
                <a:gd name="connsiteX21" fmla="*/ 1165226 w 1268413"/>
                <a:gd name="connsiteY21" fmla="*/ 642149 h 736600"/>
                <a:gd name="connsiteX22" fmla="*/ 1162844 w 1268413"/>
                <a:gd name="connsiteY22" fmla="*/ 493020 h 736600"/>
                <a:gd name="connsiteX23" fmla="*/ 1155301 w 1268413"/>
                <a:gd name="connsiteY23" fmla="*/ 270517 h 736600"/>
                <a:gd name="connsiteX24" fmla="*/ 1147758 w 1268413"/>
                <a:gd name="connsiteY24" fmla="*/ 121784 h 736600"/>
                <a:gd name="connsiteX25" fmla="*/ 1142596 w 1268413"/>
                <a:gd name="connsiteY25" fmla="*/ 47220 h 736600"/>
                <a:gd name="connsiteX26" fmla="*/ 1082251 w 1268413"/>
                <a:gd name="connsiteY26" fmla="*/ 46823 h 736600"/>
                <a:gd name="connsiteX27" fmla="*/ 1021905 w 1268413"/>
                <a:gd name="connsiteY27" fmla="*/ 42857 h 736600"/>
                <a:gd name="connsiteX28" fmla="*/ 954016 w 1268413"/>
                <a:gd name="connsiteY28" fmla="*/ 40874 h 736600"/>
                <a:gd name="connsiteX29" fmla="*/ 885729 w 1268413"/>
                <a:gd name="connsiteY29" fmla="*/ 38494 h 736600"/>
                <a:gd name="connsiteX30" fmla="*/ 748760 w 1268413"/>
                <a:gd name="connsiteY30" fmla="*/ 36115 h 736600"/>
                <a:gd name="connsiteX31" fmla="*/ 611791 w 1268413"/>
                <a:gd name="connsiteY31" fmla="*/ 34528 h 736600"/>
                <a:gd name="connsiteX32" fmla="*/ 343410 w 1268413"/>
                <a:gd name="connsiteY32" fmla="*/ 34925 h 736600"/>
                <a:gd name="connsiteX33" fmla="*/ 479425 w 1268413"/>
                <a:gd name="connsiteY33" fmla="*/ 0 h 736600"/>
                <a:gd name="connsiteX34" fmla="*/ 620316 w 1268413"/>
                <a:gd name="connsiteY34" fmla="*/ 0 h 736600"/>
                <a:gd name="connsiteX35" fmla="*/ 761207 w 1268413"/>
                <a:gd name="connsiteY35" fmla="*/ 1588 h 736600"/>
                <a:gd name="connsiteX36" fmla="*/ 902494 w 1268413"/>
                <a:gd name="connsiteY36" fmla="*/ 4366 h 736600"/>
                <a:gd name="connsiteX37" fmla="*/ 974726 w 1268413"/>
                <a:gd name="connsiteY37" fmla="*/ 6747 h 736600"/>
                <a:gd name="connsiteX38" fmla="*/ 1047354 w 1268413"/>
                <a:gd name="connsiteY38" fmla="*/ 8731 h 736600"/>
                <a:gd name="connsiteX39" fmla="*/ 1078310 w 1268413"/>
                <a:gd name="connsiteY39" fmla="*/ 9525 h 736600"/>
                <a:gd name="connsiteX40" fmla="*/ 1125141 w 1268413"/>
                <a:gd name="connsiteY40" fmla="*/ 10716 h 736600"/>
                <a:gd name="connsiteX41" fmla="*/ 1155304 w 1268413"/>
                <a:gd name="connsiteY41" fmla="*/ 13891 h 736600"/>
                <a:gd name="connsiteX42" fmla="*/ 1170782 w 1268413"/>
                <a:gd name="connsiteY42" fmla="*/ 17066 h 736600"/>
                <a:gd name="connsiteX43" fmla="*/ 1175544 w 1268413"/>
                <a:gd name="connsiteY43" fmla="*/ 18256 h 736600"/>
                <a:gd name="connsiteX44" fmla="*/ 1177926 w 1268413"/>
                <a:gd name="connsiteY44" fmla="*/ 21035 h 736600"/>
                <a:gd name="connsiteX45" fmla="*/ 1181498 w 1268413"/>
                <a:gd name="connsiteY45" fmla="*/ 21431 h 736600"/>
                <a:gd name="connsiteX46" fmla="*/ 1187848 w 1268413"/>
                <a:gd name="connsiteY46" fmla="*/ 24606 h 736600"/>
                <a:gd name="connsiteX47" fmla="*/ 1190229 w 1268413"/>
                <a:gd name="connsiteY47" fmla="*/ 27781 h 736600"/>
                <a:gd name="connsiteX48" fmla="*/ 1214438 w 1268413"/>
                <a:gd name="connsiteY48" fmla="*/ 56356 h 736600"/>
                <a:gd name="connsiteX49" fmla="*/ 1245394 w 1268413"/>
                <a:gd name="connsiteY49" fmla="*/ 99616 h 736600"/>
                <a:gd name="connsiteX50" fmla="*/ 1260476 w 1268413"/>
                <a:gd name="connsiteY50" fmla="*/ 132160 h 736600"/>
                <a:gd name="connsiteX51" fmla="*/ 1264444 w 1268413"/>
                <a:gd name="connsiteY51" fmla="*/ 151210 h 736600"/>
                <a:gd name="connsiteX52" fmla="*/ 1267619 w 1268413"/>
                <a:gd name="connsiteY52" fmla="*/ 172244 h 736600"/>
                <a:gd name="connsiteX53" fmla="*/ 1268413 w 1268413"/>
                <a:gd name="connsiteY53" fmla="*/ 214313 h 736600"/>
                <a:gd name="connsiteX54" fmla="*/ 1264841 w 1268413"/>
                <a:gd name="connsiteY54" fmla="*/ 278210 h 736600"/>
                <a:gd name="connsiteX55" fmla="*/ 1262460 w 1268413"/>
                <a:gd name="connsiteY55" fmla="*/ 319881 h 736600"/>
                <a:gd name="connsiteX56" fmla="*/ 1256904 w 1268413"/>
                <a:gd name="connsiteY56" fmla="*/ 436563 h 736600"/>
                <a:gd name="connsiteX57" fmla="*/ 1250554 w 1268413"/>
                <a:gd name="connsiteY57" fmla="*/ 554038 h 736600"/>
                <a:gd name="connsiteX58" fmla="*/ 1250951 w 1268413"/>
                <a:gd name="connsiteY58" fmla="*/ 559594 h 736600"/>
                <a:gd name="connsiteX59" fmla="*/ 1251744 w 1268413"/>
                <a:gd name="connsiteY59" fmla="*/ 565150 h 736600"/>
                <a:gd name="connsiteX60" fmla="*/ 1252141 w 1268413"/>
                <a:gd name="connsiteY60" fmla="*/ 586978 h 736600"/>
                <a:gd name="connsiteX61" fmla="*/ 1250157 w 1268413"/>
                <a:gd name="connsiteY61" fmla="*/ 617538 h 736600"/>
                <a:gd name="connsiteX62" fmla="*/ 1245791 w 1268413"/>
                <a:gd name="connsiteY62" fmla="*/ 637778 h 736600"/>
                <a:gd name="connsiteX63" fmla="*/ 1243013 w 1268413"/>
                <a:gd name="connsiteY63" fmla="*/ 647700 h 736600"/>
                <a:gd name="connsiteX64" fmla="*/ 1239838 w 1268413"/>
                <a:gd name="connsiteY64" fmla="*/ 675481 h 736600"/>
                <a:gd name="connsiteX65" fmla="*/ 1236266 w 1268413"/>
                <a:gd name="connsiteY65" fmla="*/ 702469 h 736600"/>
                <a:gd name="connsiteX66" fmla="*/ 1237060 w 1268413"/>
                <a:gd name="connsiteY66" fmla="*/ 707231 h 736600"/>
                <a:gd name="connsiteX67" fmla="*/ 1235473 w 1268413"/>
                <a:gd name="connsiteY67" fmla="*/ 717153 h 736600"/>
                <a:gd name="connsiteX68" fmla="*/ 1233488 w 1268413"/>
                <a:gd name="connsiteY68" fmla="*/ 721519 h 736600"/>
                <a:gd name="connsiteX69" fmla="*/ 1231504 w 1268413"/>
                <a:gd name="connsiteY69" fmla="*/ 727869 h 736600"/>
                <a:gd name="connsiteX70" fmla="*/ 1223963 w 1268413"/>
                <a:gd name="connsiteY70" fmla="*/ 734616 h 736600"/>
                <a:gd name="connsiteX71" fmla="*/ 1218010 w 1268413"/>
                <a:gd name="connsiteY71" fmla="*/ 735013 h 736600"/>
                <a:gd name="connsiteX72" fmla="*/ 1212454 w 1268413"/>
                <a:gd name="connsiteY72" fmla="*/ 736600 h 736600"/>
                <a:gd name="connsiteX73" fmla="*/ 1205310 w 1268413"/>
                <a:gd name="connsiteY73" fmla="*/ 735410 h 736600"/>
                <a:gd name="connsiteX74" fmla="*/ 1171179 w 1268413"/>
                <a:gd name="connsiteY74" fmla="*/ 729456 h 736600"/>
                <a:gd name="connsiteX75" fmla="*/ 1102519 w 1268413"/>
                <a:gd name="connsiteY75" fmla="*/ 719931 h 736600"/>
                <a:gd name="connsiteX76" fmla="*/ 998935 w 1268413"/>
                <a:gd name="connsiteY76" fmla="*/ 711200 h 736600"/>
                <a:gd name="connsiteX77" fmla="*/ 860029 w 1268413"/>
                <a:gd name="connsiteY77" fmla="*/ 708819 h 736600"/>
                <a:gd name="connsiteX78" fmla="*/ 721916 w 1268413"/>
                <a:gd name="connsiteY78" fmla="*/ 712391 h 736600"/>
                <a:gd name="connsiteX79" fmla="*/ 652463 w 1268413"/>
                <a:gd name="connsiteY79" fmla="*/ 714772 h 736600"/>
                <a:gd name="connsiteX80" fmla="*/ 514350 w 1268413"/>
                <a:gd name="connsiteY80" fmla="*/ 720725 h 736600"/>
                <a:gd name="connsiteX81" fmla="*/ 307578 w 1268413"/>
                <a:gd name="connsiteY81" fmla="*/ 727075 h 736600"/>
                <a:gd name="connsiteX82" fmla="*/ 169863 w 1268413"/>
                <a:gd name="connsiteY82" fmla="*/ 728266 h 736600"/>
                <a:gd name="connsiteX83" fmla="*/ 100806 w 1268413"/>
                <a:gd name="connsiteY83" fmla="*/ 726678 h 736600"/>
                <a:gd name="connsiteX84" fmla="*/ 97235 w 1268413"/>
                <a:gd name="connsiteY84" fmla="*/ 726678 h 736600"/>
                <a:gd name="connsiteX85" fmla="*/ 92075 w 1268413"/>
                <a:gd name="connsiteY85" fmla="*/ 723503 h 736600"/>
                <a:gd name="connsiteX86" fmla="*/ 90091 w 1268413"/>
                <a:gd name="connsiteY86" fmla="*/ 721519 h 736600"/>
                <a:gd name="connsiteX87" fmla="*/ 73025 w 1268413"/>
                <a:gd name="connsiteY87" fmla="*/ 709613 h 736600"/>
                <a:gd name="connsiteX88" fmla="*/ 56753 w 1268413"/>
                <a:gd name="connsiteY88" fmla="*/ 696913 h 736600"/>
                <a:gd name="connsiteX89" fmla="*/ 32147 w 1268413"/>
                <a:gd name="connsiteY89" fmla="*/ 683022 h 736600"/>
                <a:gd name="connsiteX90" fmla="*/ 7938 w 1268413"/>
                <a:gd name="connsiteY90" fmla="*/ 669131 h 736600"/>
                <a:gd name="connsiteX91" fmla="*/ 3572 w 1268413"/>
                <a:gd name="connsiteY91" fmla="*/ 665163 h 736600"/>
                <a:gd name="connsiteX92" fmla="*/ 1985 w 1268413"/>
                <a:gd name="connsiteY92" fmla="*/ 660400 h 736600"/>
                <a:gd name="connsiteX93" fmla="*/ 1985 w 1268413"/>
                <a:gd name="connsiteY93" fmla="*/ 659210 h 736600"/>
                <a:gd name="connsiteX94" fmla="*/ 1985 w 1268413"/>
                <a:gd name="connsiteY94" fmla="*/ 658416 h 736600"/>
                <a:gd name="connsiteX95" fmla="*/ 2778 w 1268413"/>
                <a:gd name="connsiteY95" fmla="*/ 655241 h 736600"/>
                <a:gd name="connsiteX96" fmla="*/ 4366 w 1268413"/>
                <a:gd name="connsiteY96" fmla="*/ 652860 h 736600"/>
                <a:gd name="connsiteX97" fmla="*/ 1985 w 1268413"/>
                <a:gd name="connsiteY97" fmla="*/ 651272 h 736600"/>
                <a:gd name="connsiteX98" fmla="*/ 0 w 1268413"/>
                <a:gd name="connsiteY98" fmla="*/ 647700 h 736600"/>
                <a:gd name="connsiteX99" fmla="*/ 0 w 1268413"/>
                <a:gd name="connsiteY99" fmla="*/ 644922 h 736600"/>
                <a:gd name="connsiteX100" fmla="*/ 9922 w 1268413"/>
                <a:gd name="connsiteY100" fmla="*/ 491728 h 736600"/>
                <a:gd name="connsiteX101" fmla="*/ 29369 w 1268413"/>
                <a:gd name="connsiteY101" fmla="*/ 262335 h 736600"/>
                <a:gd name="connsiteX102" fmla="*/ 40085 w 1268413"/>
                <a:gd name="connsiteY102" fmla="*/ 109141 h 736600"/>
                <a:gd name="connsiteX103" fmla="*/ 43656 w 1268413"/>
                <a:gd name="connsiteY103" fmla="*/ 32147 h 736600"/>
                <a:gd name="connsiteX104" fmla="*/ 44450 w 1268413"/>
                <a:gd name="connsiteY104" fmla="*/ 28178 h 736600"/>
                <a:gd name="connsiteX105" fmla="*/ 48022 w 1268413"/>
                <a:gd name="connsiteY105" fmla="*/ 21828 h 736600"/>
                <a:gd name="connsiteX106" fmla="*/ 50403 w 1268413"/>
                <a:gd name="connsiteY106" fmla="*/ 19844 h 736600"/>
                <a:gd name="connsiteX107" fmla="*/ 52388 w 1268413"/>
                <a:gd name="connsiteY107" fmla="*/ 17463 h 736600"/>
                <a:gd name="connsiteX108" fmla="*/ 56753 w 1268413"/>
                <a:gd name="connsiteY108" fmla="*/ 16272 h 736600"/>
                <a:gd name="connsiteX109" fmla="*/ 127000 w 1268413"/>
                <a:gd name="connsiteY109" fmla="*/ 10716 h 736600"/>
                <a:gd name="connsiteX110" fmla="*/ 267891 w 1268413"/>
                <a:gd name="connsiteY110" fmla="*/ 3969 h 73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268413" h="736600">
                  <a:moveTo>
                    <a:pt x="74633" y="33338"/>
                  </a:moveTo>
                  <a:lnTo>
                    <a:pt x="72251" y="110282"/>
                  </a:lnTo>
                  <a:lnTo>
                    <a:pt x="64311" y="264964"/>
                  </a:lnTo>
                  <a:lnTo>
                    <a:pt x="51606" y="419646"/>
                  </a:lnTo>
                  <a:lnTo>
                    <a:pt x="31359" y="572741"/>
                  </a:lnTo>
                  <a:lnTo>
                    <a:pt x="17463" y="648495"/>
                  </a:lnTo>
                  <a:lnTo>
                    <a:pt x="20242" y="648892"/>
                  </a:lnTo>
                  <a:lnTo>
                    <a:pt x="22624" y="649288"/>
                  </a:lnTo>
                  <a:lnTo>
                    <a:pt x="37314" y="645719"/>
                  </a:lnTo>
                  <a:lnTo>
                    <a:pt x="67487" y="643339"/>
                  </a:lnTo>
                  <a:lnTo>
                    <a:pt x="113937" y="642546"/>
                  </a:lnTo>
                  <a:lnTo>
                    <a:pt x="142522" y="642546"/>
                  </a:lnTo>
                  <a:lnTo>
                    <a:pt x="219145" y="640563"/>
                  </a:lnTo>
                  <a:lnTo>
                    <a:pt x="295372" y="638976"/>
                  </a:lnTo>
                  <a:lnTo>
                    <a:pt x="439884" y="636993"/>
                  </a:lnTo>
                  <a:lnTo>
                    <a:pt x="584000" y="636596"/>
                  </a:lnTo>
                  <a:lnTo>
                    <a:pt x="732880" y="636596"/>
                  </a:lnTo>
                  <a:lnTo>
                    <a:pt x="881362" y="637390"/>
                  </a:lnTo>
                  <a:lnTo>
                    <a:pt x="951633" y="636993"/>
                  </a:lnTo>
                  <a:lnTo>
                    <a:pt x="1059224" y="635803"/>
                  </a:lnTo>
                  <a:lnTo>
                    <a:pt x="1129892" y="638579"/>
                  </a:lnTo>
                  <a:lnTo>
                    <a:pt x="1165226" y="642149"/>
                  </a:lnTo>
                  <a:lnTo>
                    <a:pt x="1162844" y="493020"/>
                  </a:lnTo>
                  <a:lnTo>
                    <a:pt x="1155301" y="270517"/>
                  </a:lnTo>
                  <a:lnTo>
                    <a:pt x="1147758" y="121784"/>
                  </a:lnTo>
                  <a:lnTo>
                    <a:pt x="1142596" y="47220"/>
                  </a:lnTo>
                  <a:lnTo>
                    <a:pt x="1082251" y="46823"/>
                  </a:lnTo>
                  <a:lnTo>
                    <a:pt x="1021905" y="42857"/>
                  </a:lnTo>
                  <a:lnTo>
                    <a:pt x="954016" y="40874"/>
                  </a:lnTo>
                  <a:lnTo>
                    <a:pt x="885729" y="38494"/>
                  </a:lnTo>
                  <a:lnTo>
                    <a:pt x="748760" y="36115"/>
                  </a:lnTo>
                  <a:lnTo>
                    <a:pt x="611791" y="34528"/>
                  </a:lnTo>
                  <a:lnTo>
                    <a:pt x="343410" y="34925"/>
                  </a:lnTo>
                  <a:close/>
                  <a:moveTo>
                    <a:pt x="479425" y="0"/>
                  </a:moveTo>
                  <a:lnTo>
                    <a:pt x="620316" y="0"/>
                  </a:lnTo>
                  <a:lnTo>
                    <a:pt x="761207" y="1588"/>
                  </a:lnTo>
                  <a:lnTo>
                    <a:pt x="902494" y="4366"/>
                  </a:lnTo>
                  <a:lnTo>
                    <a:pt x="974726" y="6747"/>
                  </a:lnTo>
                  <a:lnTo>
                    <a:pt x="1047354" y="8731"/>
                  </a:lnTo>
                  <a:lnTo>
                    <a:pt x="1078310" y="9525"/>
                  </a:lnTo>
                  <a:lnTo>
                    <a:pt x="1125141" y="10716"/>
                  </a:lnTo>
                  <a:lnTo>
                    <a:pt x="1155304" y="13891"/>
                  </a:lnTo>
                  <a:lnTo>
                    <a:pt x="1170782" y="17066"/>
                  </a:lnTo>
                  <a:lnTo>
                    <a:pt x="1175544" y="18256"/>
                  </a:lnTo>
                  <a:lnTo>
                    <a:pt x="1177926" y="21035"/>
                  </a:lnTo>
                  <a:lnTo>
                    <a:pt x="1181498" y="21431"/>
                  </a:lnTo>
                  <a:lnTo>
                    <a:pt x="1187848" y="24606"/>
                  </a:lnTo>
                  <a:lnTo>
                    <a:pt x="1190229" y="27781"/>
                  </a:lnTo>
                  <a:lnTo>
                    <a:pt x="1214438" y="56356"/>
                  </a:lnTo>
                  <a:lnTo>
                    <a:pt x="1245394" y="99616"/>
                  </a:lnTo>
                  <a:lnTo>
                    <a:pt x="1260476" y="132160"/>
                  </a:lnTo>
                  <a:lnTo>
                    <a:pt x="1264444" y="151210"/>
                  </a:lnTo>
                  <a:lnTo>
                    <a:pt x="1267619" y="172244"/>
                  </a:lnTo>
                  <a:lnTo>
                    <a:pt x="1268413" y="214313"/>
                  </a:lnTo>
                  <a:lnTo>
                    <a:pt x="1264841" y="278210"/>
                  </a:lnTo>
                  <a:lnTo>
                    <a:pt x="1262460" y="319881"/>
                  </a:lnTo>
                  <a:lnTo>
                    <a:pt x="1256904" y="436563"/>
                  </a:lnTo>
                  <a:lnTo>
                    <a:pt x="1250554" y="554038"/>
                  </a:lnTo>
                  <a:lnTo>
                    <a:pt x="1250951" y="559594"/>
                  </a:lnTo>
                  <a:lnTo>
                    <a:pt x="1251744" y="565150"/>
                  </a:lnTo>
                  <a:lnTo>
                    <a:pt x="1252141" y="586978"/>
                  </a:lnTo>
                  <a:lnTo>
                    <a:pt x="1250157" y="617538"/>
                  </a:lnTo>
                  <a:lnTo>
                    <a:pt x="1245791" y="637778"/>
                  </a:lnTo>
                  <a:lnTo>
                    <a:pt x="1243013" y="647700"/>
                  </a:lnTo>
                  <a:lnTo>
                    <a:pt x="1239838" y="675481"/>
                  </a:lnTo>
                  <a:lnTo>
                    <a:pt x="1236266" y="702469"/>
                  </a:lnTo>
                  <a:lnTo>
                    <a:pt x="1237060" y="707231"/>
                  </a:lnTo>
                  <a:lnTo>
                    <a:pt x="1235473" y="717153"/>
                  </a:lnTo>
                  <a:lnTo>
                    <a:pt x="1233488" y="721519"/>
                  </a:lnTo>
                  <a:lnTo>
                    <a:pt x="1231504" y="727869"/>
                  </a:lnTo>
                  <a:lnTo>
                    <a:pt x="1223963" y="734616"/>
                  </a:lnTo>
                  <a:lnTo>
                    <a:pt x="1218010" y="735013"/>
                  </a:lnTo>
                  <a:lnTo>
                    <a:pt x="1212454" y="736600"/>
                  </a:lnTo>
                  <a:lnTo>
                    <a:pt x="1205310" y="735410"/>
                  </a:lnTo>
                  <a:lnTo>
                    <a:pt x="1171179" y="729456"/>
                  </a:lnTo>
                  <a:lnTo>
                    <a:pt x="1102519" y="719931"/>
                  </a:lnTo>
                  <a:lnTo>
                    <a:pt x="998935" y="711200"/>
                  </a:lnTo>
                  <a:lnTo>
                    <a:pt x="860029" y="708819"/>
                  </a:lnTo>
                  <a:lnTo>
                    <a:pt x="721916" y="712391"/>
                  </a:lnTo>
                  <a:lnTo>
                    <a:pt x="652463" y="714772"/>
                  </a:lnTo>
                  <a:lnTo>
                    <a:pt x="514350" y="720725"/>
                  </a:lnTo>
                  <a:lnTo>
                    <a:pt x="307578" y="727075"/>
                  </a:lnTo>
                  <a:lnTo>
                    <a:pt x="169863" y="728266"/>
                  </a:lnTo>
                  <a:lnTo>
                    <a:pt x="100806" y="726678"/>
                  </a:lnTo>
                  <a:lnTo>
                    <a:pt x="97235" y="726678"/>
                  </a:lnTo>
                  <a:lnTo>
                    <a:pt x="92075" y="723503"/>
                  </a:lnTo>
                  <a:lnTo>
                    <a:pt x="90091" y="721519"/>
                  </a:lnTo>
                  <a:lnTo>
                    <a:pt x="73025" y="709613"/>
                  </a:lnTo>
                  <a:lnTo>
                    <a:pt x="56753" y="696913"/>
                  </a:lnTo>
                  <a:lnTo>
                    <a:pt x="32147" y="683022"/>
                  </a:lnTo>
                  <a:lnTo>
                    <a:pt x="7938" y="669131"/>
                  </a:lnTo>
                  <a:lnTo>
                    <a:pt x="3572" y="665163"/>
                  </a:lnTo>
                  <a:lnTo>
                    <a:pt x="1985" y="660400"/>
                  </a:lnTo>
                  <a:lnTo>
                    <a:pt x="1985" y="659210"/>
                  </a:lnTo>
                  <a:lnTo>
                    <a:pt x="1985" y="658416"/>
                  </a:lnTo>
                  <a:lnTo>
                    <a:pt x="2778" y="655241"/>
                  </a:lnTo>
                  <a:lnTo>
                    <a:pt x="4366" y="652860"/>
                  </a:lnTo>
                  <a:lnTo>
                    <a:pt x="1985" y="651272"/>
                  </a:lnTo>
                  <a:lnTo>
                    <a:pt x="0" y="647700"/>
                  </a:lnTo>
                  <a:lnTo>
                    <a:pt x="0" y="644922"/>
                  </a:lnTo>
                  <a:lnTo>
                    <a:pt x="9922" y="491728"/>
                  </a:lnTo>
                  <a:lnTo>
                    <a:pt x="29369" y="262335"/>
                  </a:lnTo>
                  <a:lnTo>
                    <a:pt x="40085" y="109141"/>
                  </a:lnTo>
                  <a:lnTo>
                    <a:pt x="43656" y="32147"/>
                  </a:lnTo>
                  <a:lnTo>
                    <a:pt x="44450" y="28178"/>
                  </a:lnTo>
                  <a:lnTo>
                    <a:pt x="48022" y="21828"/>
                  </a:lnTo>
                  <a:lnTo>
                    <a:pt x="50403" y="19844"/>
                  </a:lnTo>
                  <a:lnTo>
                    <a:pt x="52388" y="17463"/>
                  </a:lnTo>
                  <a:lnTo>
                    <a:pt x="56753" y="16272"/>
                  </a:lnTo>
                  <a:lnTo>
                    <a:pt x="127000" y="10716"/>
                  </a:lnTo>
                  <a:lnTo>
                    <a:pt x="267891" y="3969"/>
                  </a:lnTo>
                  <a:close/>
                </a:path>
              </a:pathLst>
            </a:custGeom>
            <a:solidFill>
              <a:srgbClr val="3A5C84"/>
            </a:solidFill>
            <a:ln w="9525">
              <a:noFill/>
              <a:round/>
              <a:headEnd/>
              <a:tailEnd/>
            </a:ln>
          </p:spPr>
          <p:txBody>
            <a:bodyPr vert="horz" wrap="square" lIns="68580" tIns="34290" rIns="68580" bIns="34290" numCol="1" anchor="t" anchorCtr="0" compatLnSpc="1">
              <a:prstTxWarp prst="textNoShape">
                <a:avLst/>
              </a:prstTxWarp>
              <a:noAutofit/>
            </a:bodyPr>
            <a:lstStyle/>
            <a:p>
              <a:pPr>
                <a:defRPr/>
              </a:pPr>
              <a:endParaRPr lang="es-MX" sz="1050" kern="0">
                <a:solidFill>
                  <a:prstClr val="black"/>
                </a:solidFill>
                <a:latin typeface="Calibri" panose="020F0502020204030204"/>
              </a:endParaRPr>
            </a:p>
          </p:txBody>
        </p:sp>
        <p:sp>
          <p:nvSpPr>
            <p:cNvPr id="42" name="Freeform: Shape 50">
              <a:extLst>
                <a:ext uri="{FF2B5EF4-FFF2-40B4-BE49-F238E27FC236}">
                  <a16:creationId xmlns:a16="http://schemas.microsoft.com/office/drawing/2014/main" id="{FC53A61C-0453-45D5-9CD8-57F7A22D6717}"/>
                </a:ext>
              </a:extLst>
            </p:cNvPr>
            <p:cNvSpPr>
              <a:spLocks/>
            </p:cNvSpPr>
            <p:nvPr/>
          </p:nvSpPr>
          <p:spPr bwMode="auto">
            <a:xfrm>
              <a:off x="7337432" y="4436853"/>
              <a:ext cx="1115559" cy="658931"/>
            </a:xfrm>
            <a:custGeom>
              <a:avLst/>
              <a:gdLst>
                <a:gd name="connsiteX0" fmla="*/ 1319609 w 1838325"/>
                <a:gd name="connsiteY0" fmla="*/ 28575 h 1085850"/>
                <a:gd name="connsiteX1" fmla="*/ 1118791 w 1838325"/>
                <a:gd name="connsiteY1" fmla="*/ 30560 h 1085850"/>
                <a:gd name="connsiteX2" fmla="*/ 917575 w 1838325"/>
                <a:gd name="connsiteY2" fmla="*/ 36116 h 1085850"/>
                <a:gd name="connsiteX3" fmla="*/ 817562 w 1838325"/>
                <a:gd name="connsiteY3" fmla="*/ 40481 h 1085850"/>
                <a:gd name="connsiteX4" fmla="*/ 717550 w 1838325"/>
                <a:gd name="connsiteY4" fmla="*/ 45641 h 1085850"/>
                <a:gd name="connsiteX5" fmla="*/ 519112 w 1838325"/>
                <a:gd name="connsiteY5" fmla="*/ 58341 h 1085850"/>
                <a:gd name="connsiteX6" fmla="*/ 420290 w 1838325"/>
                <a:gd name="connsiteY6" fmla="*/ 66675 h 1085850"/>
                <a:gd name="connsiteX7" fmla="*/ 319087 w 1838325"/>
                <a:gd name="connsiteY7" fmla="*/ 75406 h 1085850"/>
                <a:gd name="connsiteX8" fmla="*/ 217487 w 1838325"/>
                <a:gd name="connsiteY8" fmla="*/ 84931 h 1085850"/>
                <a:gd name="connsiteX9" fmla="*/ 168672 w 1838325"/>
                <a:gd name="connsiteY9" fmla="*/ 90885 h 1085850"/>
                <a:gd name="connsiteX10" fmla="*/ 94853 w 1838325"/>
                <a:gd name="connsiteY10" fmla="*/ 98822 h 1085850"/>
                <a:gd name="connsiteX11" fmla="*/ 45244 w 1838325"/>
                <a:gd name="connsiteY11" fmla="*/ 101997 h 1085850"/>
                <a:gd name="connsiteX12" fmla="*/ 20637 w 1838325"/>
                <a:gd name="connsiteY12" fmla="*/ 101997 h 1085850"/>
                <a:gd name="connsiteX13" fmla="*/ 28178 w 1838325"/>
                <a:gd name="connsiteY13" fmla="*/ 157163 h 1085850"/>
                <a:gd name="connsiteX14" fmla="*/ 37703 w 1838325"/>
                <a:gd name="connsiteY14" fmla="*/ 269081 h 1085850"/>
                <a:gd name="connsiteX15" fmla="*/ 44847 w 1838325"/>
                <a:gd name="connsiteY15" fmla="*/ 438150 h 1085850"/>
                <a:gd name="connsiteX16" fmla="*/ 49609 w 1838325"/>
                <a:gd name="connsiteY16" fmla="*/ 550069 h 1085850"/>
                <a:gd name="connsiteX17" fmla="*/ 60722 w 1838325"/>
                <a:gd name="connsiteY17" fmla="*/ 783035 h 1085850"/>
                <a:gd name="connsiteX18" fmla="*/ 70644 w 1838325"/>
                <a:gd name="connsiteY18" fmla="*/ 1016000 h 1085850"/>
                <a:gd name="connsiteX19" fmla="*/ 119459 w 1838325"/>
                <a:gd name="connsiteY19" fmla="*/ 1008856 h 1085850"/>
                <a:gd name="connsiteX20" fmla="*/ 217487 w 1838325"/>
                <a:gd name="connsiteY20" fmla="*/ 999331 h 1085850"/>
                <a:gd name="connsiteX21" fmla="*/ 365125 w 1838325"/>
                <a:gd name="connsiteY21" fmla="*/ 989806 h 1085850"/>
                <a:gd name="connsiteX22" fmla="*/ 463947 w 1838325"/>
                <a:gd name="connsiteY22" fmla="*/ 986235 h 1085850"/>
                <a:gd name="connsiteX23" fmla="*/ 668337 w 1838325"/>
                <a:gd name="connsiteY23" fmla="*/ 978694 h 1085850"/>
                <a:gd name="connsiteX24" fmla="*/ 872331 w 1838325"/>
                <a:gd name="connsiteY24" fmla="*/ 970360 h 1085850"/>
                <a:gd name="connsiteX25" fmla="*/ 1288653 w 1838325"/>
                <a:gd name="connsiteY25" fmla="*/ 954088 h 1085850"/>
                <a:gd name="connsiteX26" fmla="*/ 1704975 w 1838325"/>
                <a:gd name="connsiteY26" fmla="*/ 937816 h 1085850"/>
                <a:gd name="connsiteX27" fmla="*/ 1700609 w 1838325"/>
                <a:gd name="connsiteY27" fmla="*/ 911622 h 1085850"/>
                <a:gd name="connsiteX28" fmla="*/ 1695053 w 1838325"/>
                <a:gd name="connsiteY28" fmla="*/ 859631 h 1085850"/>
                <a:gd name="connsiteX29" fmla="*/ 1690291 w 1838325"/>
                <a:gd name="connsiteY29" fmla="*/ 781050 h 1085850"/>
                <a:gd name="connsiteX30" fmla="*/ 1687116 w 1838325"/>
                <a:gd name="connsiteY30" fmla="*/ 728663 h 1085850"/>
                <a:gd name="connsiteX31" fmla="*/ 1679178 w 1838325"/>
                <a:gd name="connsiteY31" fmla="*/ 611188 h 1085850"/>
                <a:gd name="connsiteX32" fmla="*/ 1670447 w 1838325"/>
                <a:gd name="connsiteY32" fmla="*/ 494110 h 1085850"/>
                <a:gd name="connsiteX33" fmla="*/ 1660525 w 1838325"/>
                <a:gd name="connsiteY33" fmla="*/ 378222 h 1085850"/>
                <a:gd name="connsiteX34" fmla="*/ 1639491 w 1838325"/>
                <a:gd name="connsiteY34" fmla="*/ 146844 h 1085850"/>
                <a:gd name="connsiteX35" fmla="*/ 1627584 w 1838325"/>
                <a:gd name="connsiteY35" fmla="*/ 30956 h 1085850"/>
                <a:gd name="connsiteX36" fmla="*/ 1625203 w 1838325"/>
                <a:gd name="connsiteY36" fmla="*/ 32147 h 1085850"/>
                <a:gd name="connsiteX37" fmla="*/ 1621631 w 1838325"/>
                <a:gd name="connsiteY37" fmla="*/ 32544 h 1085850"/>
                <a:gd name="connsiteX38" fmla="*/ 1520825 w 1838325"/>
                <a:gd name="connsiteY38" fmla="*/ 30163 h 1085850"/>
                <a:gd name="connsiteX39" fmla="*/ 1316150 w 1838325"/>
                <a:gd name="connsiteY39" fmla="*/ 0 h 1085850"/>
                <a:gd name="connsiteX40" fmla="*/ 1519306 w 1838325"/>
                <a:gd name="connsiteY40" fmla="*/ 1589 h 1085850"/>
                <a:gd name="connsiteX41" fmla="*/ 1621281 w 1838325"/>
                <a:gd name="connsiteY41" fmla="*/ 3575 h 1085850"/>
                <a:gd name="connsiteX42" fmla="*/ 1625646 w 1838325"/>
                <a:gd name="connsiteY42" fmla="*/ 3972 h 1085850"/>
                <a:gd name="connsiteX43" fmla="*/ 1628820 w 1838325"/>
                <a:gd name="connsiteY43" fmla="*/ 5958 h 1085850"/>
                <a:gd name="connsiteX44" fmla="*/ 1632788 w 1838325"/>
                <a:gd name="connsiteY44" fmla="*/ 3575 h 1085850"/>
                <a:gd name="connsiteX45" fmla="*/ 1644295 w 1838325"/>
                <a:gd name="connsiteY45" fmla="*/ 3575 h 1085850"/>
                <a:gd name="connsiteX46" fmla="*/ 1649057 w 1838325"/>
                <a:gd name="connsiteY46" fmla="*/ 6355 h 1085850"/>
                <a:gd name="connsiteX47" fmla="*/ 1651834 w 1838325"/>
                <a:gd name="connsiteY47" fmla="*/ 5163 h 1085850"/>
                <a:gd name="connsiteX48" fmla="*/ 1658183 w 1838325"/>
                <a:gd name="connsiteY48" fmla="*/ 5958 h 1085850"/>
                <a:gd name="connsiteX49" fmla="*/ 1661357 w 1838325"/>
                <a:gd name="connsiteY49" fmla="*/ 9135 h 1085850"/>
                <a:gd name="connsiteX50" fmla="*/ 1676832 w 1838325"/>
                <a:gd name="connsiteY50" fmla="*/ 28596 h 1085850"/>
                <a:gd name="connsiteX51" fmla="*/ 1694291 w 1838325"/>
                <a:gd name="connsiteY51" fmla="*/ 46866 h 1085850"/>
                <a:gd name="connsiteX52" fmla="*/ 1704607 w 1838325"/>
                <a:gd name="connsiteY52" fmla="*/ 55603 h 1085850"/>
                <a:gd name="connsiteX53" fmla="*/ 1715320 w 1838325"/>
                <a:gd name="connsiteY53" fmla="*/ 65930 h 1085850"/>
                <a:gd name="connsiteX54" fmla="*/ 1720875 w 1838325"/>
                <a:gd name="connsiteY54" fmla="*/ 65135 h 1085850"/>
                <a:gd name="connsiteX55" fmla="*/ 1729208 w 1838325"/>
                <a:gd name="connsiteY55" fmla="*/ 69901 h 1085850"/>
                <a:gd name="connsiteX56" fmla="*/ 1732382 w 1838325"/>
                <a:gd name="connsiteY56" fmla="*/ 75462 h 1085850"/>
                <a:gd name="connsiteX57" fmla="*/ 1732779 w 1838325"/>
                <a:gd name="connsiteY57" fmla="*/ 78639 h 1085850"/>
                <a:gd name="connsiteX58" fmla="*/ 1745476 w 1838325"/>
                <a:gd name="connsiteY58" fmla="*/ 195803 h 1085850"/>
                <a:gd name="connsiteX59" fmla="*/ 1768093 w 1838325"/>
                <a:gd name="connsiteY59" fmla="*/ 430130 h 1085850"/>
                <a:gd name="connsiteX60" fmla="*/ 1781187 w 1838325"/>
                <a:gd name="connsiteY60" fmla="*/ 547691 h 1085850"/>
                <a:gd name="connsiteX61" fmla="*/ 1810947 w 1838325"/>
                <a:gd name="connsiteY61" fmla="*/ 780827 h 1085850"/>
                <a:gd name="connsiteX62" fmla="*/ 1838325 w 1838325"/>
                <a:gd name="connsiteY62" fmla="*/ 1013963 h 1085850"/>
                <a:gd name="connsiteX63" fmla="*/ 1838325 w 1838325"/>
                <a:gd name="connsiteY63" fmla="*/ 1017141 h 1085850"/>
                <a:gd name="connsiteX64" fmla="*/ 1835547 w 1838325"/>
                <a:gd name="connsiteY64" fmla="*/ 1021509 h 1085850"/>
                <a:gd name="connsiteX65" fmla="*/ 1833167 w 1838325"/>
                <a:gd name="connsiteY65" fmla="*/ 1022701 h 1085850"/>
                <a:gd name="connsiteX66" fmla="*/ 1830786 w 1838325"/>
                <a:gd name="connsiteY66" fmla="*/ 1025481 h 1085850"/>
                <a:gd name="connsiteX67" fmla="*/ 1824834 w 1838325"/>
                <a:gd name="connsiteY67" fmla="*/ 1028261 h 1085850"/>
                <a:gd name="connsiteX68" fmla="*/ 1821263 w 1838325"/>
                <a:gd name="connsiteY68" fmla="*/ 1029056 h 1085850"/>
                <a:gd name="connsiteX69" fmla="*/ 1397889 w 1838325"/>
                <a:gd name="connsiteY69" fmla="*/ 1043354 h 1085850"/>
                <a:gd name="connsiteX70" fmla="*/ 974515 w 1838325"/>
                <a:gd name="connsiteY70" fmla="*/ 1057254 h 1085850"/>
                <a:gd name="connsiteX71" fmla="*/ 765010 w 1838325"/>
                <a:gd name="connsiteY71" fmla="*/ 1064403 h 1085850"/>
                <a:gd name="connsiteX72" fmla="*/ 555505 w 1838325"/>
                <a:gd name="connsiteY72" fmla="*/ 1071155 h 1085850"/>
                <a:gd name="connsiteX73" fmla="*/ 451943 w 1838325"/>
                <a:gd name="connsiteY73" fmla="*/ 1075921 h 1085850"/>
                <a:gd name="connsiteX74" fmla="*/ 296402 w 1838325"/>
                <a:gd name="connsiteY74" fmla="*/ 1082276 h 1085850"/>
                <a:gd name="connsiteX75" fmla="*/ 192840 w 1838325"/>
                <a:gd name="connsiteY75" fmla="*/ 1083070 h 1085850"/>
                <a:gd name="connsiteX76" fmla="*/ 141654 w 1838325"/>
                <a:gd name="connsiteY76" fmla="*/ 1080687 h 1085850"/>
                <a:gd name="connsiteX77" fmla="*/ 138480 w 1838325"/>
                <a:gd name="connsiteY77" fmla="*/ 1083864 h 1085850"/>
                <a:gd name="connsiteX78" fmla="*/ 129750 w 1838325"/>
                <a:gd name="connsiteY78" fmla="*/ 1085850 h 1085850"/>
                <a:gd name="connsiteX79" fmla="*/ 124989 w 1838325"/>
                <a:gd name="connsiteY79" fmla="*/ 1084659 h 1085850"/>
                <a:gd name="connsiteX80" fmla="*/ 107530 w 1838325"/>
                <a:gd name="connsiteY80" fmla="*/ 1073141 h 1085850"/>
                <a:gd name="connsiteX81" fmla="*/ 90468 w 1838325"/>
                <a:gd name="connsiteY81" fmla="*/ 1060432 h 1085850"/>
                <a:gd name="connsiteX82" fmla="*/ 74200 w 1838325"/>
                <a:gd name="connsiteY82" fmla="*/ 1050105 h 1085850"/>
                <a:gd name="connsiteX83" fmla="*/ 57535 w 1838325"/>
                <a:gd name="connsiteY83" fmla="*/ 1039382 h 1085850"/>
                <a:gd name="connsiteX84" fmla="*/ 55154 w 1838325"/>
                <a:gd name="connsiteY84" fmla="*/ 1039382 h 1085850"/>
                <a:gd name="connsiteX85" fmla="*/ 50392 w 1838325"/>
                <a:gd name="connsiteY85" fmla="*/ 1035410 h 1085850"/>
                <a:gd name="connsiteX86" fmla="*/ 49599 w 1838325"/>
                <a:gd name="connsiteY86" fmla="*/ 1033027 h 1085850"/>
                <a:gd name="connsiteX87" fmla="*/ 46821 w 1838325"/>
                <a:gd name="connsiteY87" fmla="*/ 1031041 h 1085850"/>
                <a:gd name="connsiteX88" fmla="*/ 43250 w 1838325"/>
                <a:gd name="connsiteY88" fmla="*/ 1025481 h 1085850"/>
                <a:gd name="connsiteX89" fmla="*/ 42853 w 1838325"/>
                <a:gd name="connsiteY89" fmla="*/ 1021509 h 1085850"/>
                <a:gd name="connsiteX90" fmla="*/ 32934 w 1838325"/>
                <a:gd name="connsiteY90" fmla="*/ 789962 h 1085850"/>
                <a:gd name="connsiteX91" fmla="*/ 21824 w 1838325"/>
                <a:gd name="connsiteY91" fmla="*/ 558415 h 1085850"/>
                <a:gd name="connsiteX92" fmla="*/ 14285 w 1838325"/>
                <a:gd name="connsiteY92" fmla="*/ 443237 h 1085850"/>
                <a:gd name="connsiteX93" fmla="*/ 3175 w 1838325"/>
                <a:gd name="connsiteY93" fmla="*/ 268881 h 1085850"/>
                <a:gd name="connsiteX94" fmla="*/ 0 w 1838325"/>
                <a:gd name="connsiteY94" fmla="*/ 152909 h 1085850"/>
                <a:gd name="connsiteX95" fmla="*/ 1587 w 1838325"/>
                <a:gd name="connsiteY95" fmla="*/ 95717 h 1085850"/>
                <a:gd name="connsiteX96" fmla="*/ 2778 w 1838325"/>
                <a:gd name="connsiteY96" fmla="*/ 91348 h 1085850"/>
                <a:gd name="connsiteX97" fmla="*/ 8730 w 1838325"/>
                <a:gd name="connsiteY97" fmla="*/ 86979 h 1085850"/>
                <a:gd name="connsiteX98" fmla="*/ 13094 w 1838325"/>
                <a:gd name="connsiteY98" fmla="*/ 86979 h 1085850"/>
                <a:gd name="connsiteX99" fmla="*/ 13491 w 1838325"/>
                <a:gd name="connsiteY99" fmla="*/ 86185 h 1085850"/>
                <a:gd name="connsiteX100" fmla="*/ 13888 w 1838325"/>
                <a:gd name="connsiteY100" fmla="*/ 86185 h 1085850"/>
                <a:gd name="connsiteX101" fmla="*/ 60709 w 1838325"/>
                <a:gd name="connsiteY101" fmla="*/ 75064 h 1085850"/>
                <a:gd name="connsiteX102" fmla="*/ 157922 w 1838325"/>
                <a:gd name="connsiteY102" fmla="*/ 59575 h 1085850"/>
                <a:gd name="connsiteX103" fmla="*/ 305925 w 1838325"/>
                <a:gd name="connsiteY103" fmla="*/ 47263 h 1085850"/>
                <a:gd name="connsiteX104" fmla="*/ 403138 w 1838325"/>
                <a:gd name="connsiteY104" fmla="*/ 40114 h 1085850"/>
                <a:gd name="connsiteX105" fmla="*/ 504716 w 1838325"/>
                <a:gd name="connsiteY105" fmla="*/ 31376 h 1085850"/>
                <a:gd name="connsiteX106" fmla="*/ 707079 w 1838325"/>
                <a:gd name="connsiteY106" fmla="*/ 17873 h 1085850"/>
                <a:gd name="connsiteX107" fmla="*/ 808657 w 1838325"/>
                <a:gd name="connsiteY107" fmla="*/ 12312 h 1085850"/>
                <a:gd name="connsiteX108" fmla="*/ 909838 w 1838325"/>
                <a:gd name="connsiteY108" fmla="*/ 7944 h 1085850"/>
                <a:gd name="connsiteX109" fmla="*/ 1112994 w 1838325"/>
                <a:gd name="connsiteY109" fmla="*/ 1986 h 108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838325" h="1085850">
                  <a:moveTo>
                    <a:pt x="1319609" y="28575"/>
                  </a:moveTo>
                  <a:lnTo>
                    <a:pt x="1118791" y="30560"/>
                  </a:lnTo>
                  <a:lnTo>
                    <a:pt x="917575" y="36116"/>
                  </a:lnTo>
                  <a:lnTo>
                    <a:pt x="817562" y="40481"/>
                  </a:lnTo>
                  <a:lnTo>
                    <a:pt x="717550" y="45641"/>
                  </a:lnTo>
                  <a:lnTo>
                    <a:pt x="519112" y="58341"/>
                  </a:lnTo>
                  <a:lnTo>
                    <a:pt x="420290" y="66675"/>
                  </a:lnTo>
                  <a:lnTo>
                    <a:pt x="319087" y="75406"/>
                  </a:lnTo>
                  <a:lnTo>
                    <a:pt x="217487" y="84931"/>
                  </a:lnTo>
                  <a:lnTo>
                    <a:pt x="168672" y="90885"/>
                  </a:lnTo>
                  <a:lnTo>
                    <a:pt x="94853" y="98822"/>
                  </a:lnTo>
                  <a:lnTo>
                    <a:pt x="45244" y="101997"/>
                  </a:lnTo>
                  <a:lnTo>
                    <a:pt x="20637" y="101997"/>
                  </a:lnTo>
                  <a:lnTo>
                    <a:pt x="28178" y="157163"/>
                  </a:lnTo>
                  <a:lnTo>
                    <a:pt x="37703" y="269081"/>
                  </a:lnTo>
                  <a:lnTo>
                    <a:pt x="44847" y="438150"/>
                  </a:lnTo>
                  <a:lnTo>
                    <a:pt x="49609" y="550069"/>
                  </a:lnTo>
                  <a:lnTo>
                    <a:pt x="60722" y="783035"/>
                  </a:lnTo>
                  <a:lnTo>
                    <a:pt x="70644" y="1016000"/>
                  </a:lnTo>
                  <a:lnTo>
                    <a:pt x="119459" y="1008856"/>
                  </a:lnTo>
                  <a:lnTo>
                    <a:pt x="217487" y="999331"/>
                  </a:lnTo>
                  <a:lnTo>
                    <a:pt x="365125" y="989806"/>
                  </a:lnTo>
                  <a:lnTo>
                    <a:pt x="463947" y="986235"/>
                  </a:lnTo>
                  <a:lnTo>
                    <a:pt x="668337" y="978694"/>
                  </a:lnTo>
                  <a:lnTo>
                    <a:pt x="872331" y="970360"/>
                  </a:lnTo>
                  <a:lnTo>
                    <a:pt x="1288653" y="954088"/>
                  </a:lnTo>
                  <a:lnTo>
                    <a:pt x="1704975" y="937816"/>
                  </a:lnTo>
                  <a:lnTo>
                    <a:pt x="1700609" y="911622"/>
                  </a:lnTo>
                  <a:lnTo>
                    <a:pt x="1695053" y="859631"/>
                  </a:lnTo>
                  <a:lnTo>
                    <a:pt x="1690291" y="781050"/>
                  </a:lnTo>
                  <a:lnTo>
                    <a:pt x="1687116" y="728663"/>
                  </a:lnTo>
                  <a:lnTo>
                    <a:pt x="1679178" y="611188"/>
                  </a:lnTo>
                  <a:lnTo>
                    <a:pt x="1670447" y="494110"/>
                  </a:lnTo>
                  <a:lnTo>
                    <a:pt x="1660525" y="378222"/>
                  </a:lnTo>
                  <a:lnTo>
                    <a:pt x="1639491" y="146844"/>
                  </a:lnTo>
                  <a:lnTo>
                    <a:pt x="1627584" y="30956"/>
                  </a:lnTo>
                  <a:lnTo>
                    <a:pt x="1625203" y="32147"/>
                  </a:lnTo>
                  <a:lnTo>
                    <a:pt x="1621631" y="32544"/>
                  </a:lnTo>
                  <a:lnTo>
                    <a:pt x="1520825" y="30163"/>
                  </a:lnTo>
                  <a:close/>
                  <a:moveTo>
                    <a:pt x="1316150" y="0"/>
                  </a:moveTo>
                  <a:lnTo>
                    <a:pt x="1519306" y="1589"/>
                  </a:lnTo>
                  <a:lnTo>
                    <a:pt x="1621281" y="3575"/>
                  </a:lnTo>
                  <a:lnTo>
                    <a:pt x="1625646" y="3972"/>
                  </a:lnTo>
                  <a:lnTo>
                    <a:pt x="1628820" y="5958"/>
                  </a:lnTo>
                  <a:lnTo>
                    <a:pt x="1632788" y="3575"/>
                  </a:lnTo>
                  <a:lnTo>
                    <a:pt x="1644295" y="3575"/>
                  </a:lnTo>
                  <a:lnTo>
                    <a:pt x="1649057" y="6355"/>
                  </a:lnTo>
                  <a:lnTo>
                    <a:pt x="1651834" y="5163"/>
                  </a:lnTo>
                  <a:lnTo>
                    <a:pt x="1658183" y="5958"/>
                  </a:lnTo>
                  <a:lnTo>
                    <a:pt x="1661357" y="9135"/>
                  </a:lnTo>
                  <a:lnTo>
                    <a:pt x="1676832" y="28596"/>
                  </a:lnTo>
                  <a:lnTo>
                    <a:pt x="1694291" y="46866"/>
                  </a:lnTo>
                  <a:lnTo>
                    <a:pt x="1704607" y="55603"/>
                  </a:lnTo>
                  <a:lnTo>
                    <a:pt x="1715320" y="65930"/>
                  </a:lnTo>
                  <a:lnTo>
                    <a:pt x="1720875" y="65135"/>
                  </a:lnTo>
                  <a:lnTo>
                    <a:pt x="1729208" y="69901"/>
                  </a:lnTo>
                  <a:lnTo>
                    <a:pt x="1732382" y="75462"/>
                  </a:lnTo>
                  <a:lnTo>
                    <a:pt x="1732779" y="78639"/>
                  </a:lnTo>
                  <a:lnTo>
                    <a:pt x="1745476" y="195803"/>
                  </a:lnTo>
                  <a:lnTo>
                    <a:pt x="1768093" y="430130"/>
                  </a:lnTo>
                  <a:lnTo>
                    <a:pt x="1781187" y="547691"/>
                  </a:lnTo>
                  <a:lnTo>
                    <a:pt x="1810947" y="780827"/>
                  </a:lnTo>
                  <a:lnTo>
                    <a:pt x="1838325" y="1013963"/>
                  </a:lnTo>
                  <a:lnTo>
                    <a:pt x="1838325" y="1017141"/>
                  </a:lnTo>
                  <a:lnTo>
                    <a:pt x="1835547" y="1021509"/>
                  </a:lnTo>
                  <a:lnTo>
                    <a:pt x="1833167" y="1022701"/>
                  </a:lnTo>
                  <a:lnTo>
                    <a:pt x="1830786" y="1025481"/>
                  </a:lnTo>
                  <a:lnTo>
                    <a:pt x="1824834" y="1028261"/>
                  </a:lnTo>
                  <a:lnTo>
                    <a:pt x="1821263" y="1029056"/>
                  </a:lnTo>
                  <a:lnTo>
                    <a:pt x="1397889" y="1043354"/>
                  </a:lnTo>
                  <a:lnTo>
                    <a:pt x="974515" y="1057254"/>
                  </a:lnTo>
                  <a:lnTo>
                    <a:pt x="765010" y="1064403"/>
                  </a:lnTo>
                  <a:lnTo>
                    <a:pt x="555505" y="1071155"/>
                  </a:lnTo>
                  <a:lnTo>
                    <a:pt x="451943" y="1075921"/>
                  </a:lnTo>
                  <a:lnTo>
                    <a:pt x="296402" y="1082276"/>
                  </a:lnTo>
                  <a:lnTo>
                    <a:pt x="192840" y="1083070"/>
                  </a:lnTo>
                  <a:lnTo>
                    <a:pt x="141654" y="1080687"/>
                  </a:lnTo>
                  <a:lnTo>
                    <a:pt x="138480" y="1083864"/>
                  </a:lnTo>
                  <a:lnTo>
                    <a:pt x="129750" y="1085850"/>
                  </a:lnTo>
                  <a:lnTo>
                    <a:pt x="124989" y="1084659"/>
                  </a:lnTo>
                  <a:lnTo>
                    <a:pt x="107530" y="1073141"/>
                  </a:lnTo>
                  <a:lnTo>
                    <a:pt x="90468" y="1060432"/>
                  </a:lnTo>
                  <a:lnTo>
                    <a:pt x="74200" y="1050105"/>
                  </a:lnTo>
                  <a:lnTo>
                    <a:pt x="57535" y="1039382"/>
                  </a:lnTo>
                  <a:lnTo>
                    <a:pt x="55154" y="1039382"/>
                  </a:lnTo>
                  <a:lnTo>
                    <a:pt x="50392" y="1035410"/>
                  </a:lnTo>
                  <a:lnTo>
                    <a:pt x="49599" y="1033027"/>
                  </a:lnTo>
                  <a:lnTo>
                    <a:pt x="46821" y="1031041"/>
                  </a:lnTo>
                  <a:lnTo>
                    <a:pt x="43250" y="1025481"/>
                  </a:lnTo>
                  <a:lnTo>
                    <a:pt x="42853" y="1021509"/>
                  </a:lnTo>
                  <a:lnTo>
                    <a:pt x="32934" y="789962"/>
                  </a:lnTo>
                  <a:lnTo>
                    <a:pt x="21824" y="558415"/>
                  </a:lnTo>
                  <a:lnTo>
                    <a:pt x="14285" y="443237"/>
                  </a:lnTo>
                  <a:lnTo>
                    <a:pt x="3175" y="268881"/>
                  </a:lnTo>
                  <a:lnTo>
                    <a:pt x="0" y="152909"/>
                  </a:lnTo>
                  <a:lnTo>
                    <a:pt x="1587" y="95717"/>
                  </a:lnTo>
                  <a:lnTo>
                    <a:pt x="2778" y="91348"/>
                  </a:lnTo>
                  <a:lnTo>
                    <a:pt x="8730" y="86979"/>
                  </a:lnTo>
                  <a:lnTo>
                    <a:pt x="13094" y="86979"/>
                  </a:lnTo>
                  <a:lnTo>
                    <a:pt x="13491" y="86185"/>
                  </a:lnTo>
                  <a:lnTo>
                    <a:pt x="13888" y="86185"/>
                  </a:lnTo>
                  <a:lnTo>
                    <a:pt x="60709" y="75064"/>
                  </a:lnTo>
                  <a:lnTo>
                    <a:pt x="157922" y="59575"/>
                  </a:lnTo>
                  <a:lnTo>
                    <a:pt x="305925" y="47263"/>
                  </a:lnTo>
                  <a:lnTo>
                    <a:pt x="403138" y="40114"/>
                  </a:lnTo>
                  <a:lnTo>
                    <a:pt x="504716" y="31376"/>
                  </a:lnTo>
                  <a:lnTo>
                    <a:pt x="707079" y="17873"/>
                  </a:lnTo>
                  <a:lnTo>
                    <a:pt x="808657" y="12312"/>
                  </a:lnTo>
                  <a:lnTo>
                    <a:pt x="909838" y="7944"/>
                  </a:lnTo>
                  <a:lnTo>
                    <a:pt x="1112994" y="1986"/>
                  </a:lnTo>
                  <a:close/>
                </a:path>
              </a:pathLst>
            </a:custGeom>
            <a:solidFill>
              <a:srgbClr val="C13018"/>
            </a:solidFill>
            <a:ln w="9525">
              <a:noFill/>
              <a:round/>
              <a:headEnd/>
              <a:tailEnd/>
            </a:ln>
          </p:spPr>
          <p:txBody>
            <a:bodyPr vert="horz" wrap="square" lIns="68580" tIns="34290" rIns="68580" bIns="34290" numCol="1" anchor="t" anchorCtr="0" compatLnSpc="1">
              <a:prstTxWarp prst="textNoShape">
                <a:avLst/>
              </a:prstTxWarp>
              <a:noAutofit/>
            </a:bodyPr>
            <a:lstStyle/>
            <a:p>
              <a:pPr>
                <a:defRPr/>
              </a:pPr>
              <a:endParaRPr lang="es-MX" sz="1050" kern="0">
                <a:solidFill>
                  <a:prstClr val="black"/>
                </a:solidFill>
                <a:latin typeface="Calibri" panose="020F0502020204030204"/>
              </a:endParaRPr>
            </a:p>
          </p:txBody>
        </p:sp>
        <p:sp>
          <p:nvSpPr>
            <p:cNvPr id="43" name="Freeform 204">
              <a:extLst>
                <a:ext uri="{FF2B5EF4-FFF2-40B4-BE49-F238E27FC236}">
                  <a16:creationId xmlns:a16="http://schemas.microsoft.com/office/drawing/2014/main" id="{9FDCBAF6-8D53-4E42-8006-A13516967E6D}"/>
                </a:ext>
              </a:extLst>
            </p:cNvPr>
            <p:cNvSpPr>
              <a:spLocks/>
            </p:cNvSpPr>
            <p:nvPr/>
          </p:nvSpPr>
          <p:spPr bwMode="auto">
            <a:xfrm>
              <a:off x="7603209" y="3015143"/>
              <a:ext cx="1426329" cy="645807"/>
            </a:xfrm>
            <a:custGeom>
              <a:avLst/>
              <a:gdLst>
                <a:gd name="T0" fmla="*/ 4081 w 4107"/>
                <a:gd name="T1" fmla="*/ 660 h 1856"/>
                <a:gd name="T2" fmla="*/ 4022 w 4107"/>
                <a:gd name="T3" fmla="*/ 213 h 1856"/>
                <a:gd name="T4" fmla="*/ 3976 w 4107"/>
                <a:gd name="T5" fmla="*/ 73 h 1856"/>
                <a:gd name="T6" fmla="*/ 3939 w 4107"/>
                <a:gd name="T7" fmla="*/ 36 h 1856"/>
                <a:gd name="T8" fmla="*/ 3914 w 4107"/>
                <a:gd name="T9" fmla="*/ 23 h 1856"/>
                <a:gd name="T10" fmla="*/ 3875 w 4107"/>
                <a:gd name="T11" fmla="*/ 3 h 1856"/>
                <a:gd name="T12" fmla="*/ 3840 w 4107"/>
                <a:gd name="T13" fmla="*/ 8 h 1856"/>
                <a:gd name="T14" fmla="*/ 3839 w 4107"/>
                <a:gd name="T15" fmla="*/ 8 h 1856"/>
                <a:gd name="T16" fmla="*/ 3813 w 4107"/>
                <a:gd name="T17" fmla="*/ 0 h 1856"/>
                <a:gd name="T18" fmla="*/ 1934 w 4107"/>
                <a:gd name="T19" fmla="*/ 36 h 1856"/>
                <a:gd name="T20" fmla="*/ 758 w 4107"/>
                <a:gd name="T21" fmla="*/ 65 h 1856"/>
                <a:gd name="T22" fmla="*/ 54 w 4107"/>
                <a:gd name="T23" fmla="*/ 113 h 1856"/>
                <a:gd name="T24" fmla="*/ 31 w 4107"/>
                <a:gd name="T25" fmla="*/ 130 h 1856"/>
                <a:gd name="T26" fmla="*/ 42 w 4107"/>
                <a:gd name="T27" fmla="*/ 162 h 1856"/>
                <a:gd name="T28" fmla="*/ 289 w 4107"/>
                <a:gd name="T29" fmla="*/ 168 h 1856"/>
                <a:gd name="T30" fmla="*/ 1464 w 4107"/>
                <a:gd name="T31" fmla="*/ 136 h 1856"/>
                <a:gd name="T32" fmla="*/ 2869 w 4107"/>
                <a:gd name="T33" fmla="*/ 98 h 1856"/>
                <a:gd name="T34" fmla="*/ 3828 w 4107"/>
                <a:gd name="T35" fmla="*/ 268 h 1856"/>
                <a:gd name="T36" fmla="*/ 3873 w 4107"/>
                <a:gd name="T37" fmla="*/ 1195 h 1856"/>
                <a:gd name="T38" fmla="*/ 3403 w 4107"/>
                <a:gd name="T39" fmla="*/ 1585 h 1856"/>
                <a:gd name="T40" fmla="*/ 1989 w 4107"/>
                <a:gd name="T41" fmla="*/ 1608 h 1856"/>
                <a:gd name="T42" fmla="*/ 1043 w 4107"/>
                <a:gd name="T43" fmla="*/ 1607 h 1856"/>
                <a:gd name="T44" fmla="*/ 466 w 4107"/>
                <a:gd name="T45" fmla="*/ 1592 h 1856"/>
                <a:gd name="T46" fmla="*/ 123 w 4107"/>
                <a:gd name="T47" fmla="*/ 1603 h 1856"/>
                <a:gd name="T48" fmla="*/ 125 w 4107"/>
                <a:gd name="T49" fmla="*/ 1599 h 1856"/>
                <a:gd name="T50" fmla="*/ 125 w 4107"/>
                <a:gd name="T51" fmla="*/ 1568 h 1856"/>
                <a:gd name="T52" fmla="*/ 119 w 4107"/>
                <a:gd name="T53" fmla="*/ 1388 h 1856"/>
                <a:gd name="T54" fmla="*/ 94 w 4107"/>
                <a:gd name="T55" fmla="*/ 871 h 1856"/>
                <a:gd name="T56" fmla="*/ 80 w 4107"/>
                <a:gd name="T57" fmla="*/ 529 h 1856"/>
                <a:gd name="T58" fmla="*/ 74 w 4107"/>
                <a:gd name="T59" fmla="*/ 308 h 1856"/>
                <a:gd name="T60" fmla="*/ 46 w 4107"/>
                <a:gd name="T61" fmla="*/ 181 h 1856"/>
                <a:gd name="T62" fmla="*/ 24 w 4107"/>
                <a:gd name="T63" fmla="*/ 174 h 1856"/>
                <a:gd name="T64" fmla="*/ 9 w 4107"/>
                <a:gd name="T65" fmla="*/ 220 h 1856"/>
                <a:gd name="T66" fmla="*/ 2 w 4107"/>
                <a:gd name="T67" fmla="*/ 426 h 1856"/>
                <a:gd name="T68" fmla="*/ 10 w 4107"/>
                <a:gd name="T69" fmla="*/ 688 h 1856"/>
                <a:gd name="T70" fmla="*/ 18 w 4107"/>
                <a:gd name="T71" fmla="*/ 1052 h 1856"/>
                <a:gd name="T72" fmla="*/ 31 w 4107"/>
                <a:gd name="T73" fmla="*/ 1509 h 1856"/>
                <a:gd name="T74" fmla="*/ 41 w 4107"/>
                <a:gd name="T75" fmla="*/ 1614 h 1856"/>
                <a:gd name="T76" fmla="*/ 71 w 4107"/>
                <a:gd name="T77" fmla="*/ 1637 h 1856"/>
                <a:gd name="T78" fmla="*/ 72 w 4107"/>
                <a:gd name="T79" fmla="*/ 1643 h 1856"/>
                <a:gd name="T80" fmla="*/ 62 w 4107"/>
                <a:gd name="T81" fmla="*/ 1663 h 1856"/>
                <a:gd name="T82" fmla="*/ 72 w 4107"/>
                <a:gd name="T83" fmla="*/ 1694 h 1856"/>
                <a:gd name="T84" fmla="*/ 120 w 4107"/>
                <a:gd name="T85" fmla="*/ 1765 h 1856"/>
                <a:gd name="T86" fmla="*/ 206 w 4107"/>
                <a:gd name="T87" fmla="*/ 1822 h 1856"/>
                <a:gd name="T88" fmla="*/ 381 w 4107"/>
                <a:gd name="T89" fmla="*/ 1856 h 1856"/>
                <a:gd name="T90" fmla="*/ 610 w 4107"/>
                <a:gd name="T91" fmla="*/ 1844 h 1856"/>
                <a:gd name="T92" fmla="*/ 729 w 4107"/>
                <a:gd name="T93" fmla="*/ 1833 h 1856"/>
                <a:gd name="T94" fmla="*/ 794 w 4107"/>
                <a:gd name="T95" fmla="*/ 1833 h 1856"/>
                <a:gd name="T96" fmla="*/ 831 w 4107"/>
                <a:gd name="T97" fmla="*/ 1837 h 1856"/>
                <a:gd name="T98" fmla="*/ 867 w 4107"/>
                <a:gd name="T99" fmla="*/ 1822 h 1856"/>
                <a:gd name="T100" fmla="*/ 1221 w 4107"/>
                <a:gd name="T101" fmla="*/ 1805 h 1856"/>
                <a:gd name="T102" fmla="*/ 1812 w 4107"/>
                <a:gd name="T103" fmla="*/ 1805 h 1856"/>
                <a:gd name="T104" fmla="*/ 2658 w 4107"/>
                <a:gd name="T105" fmla="*/ 1831 h 1856"/>
                <a:gd name="T106" fmla="*/ 3075 w 4107"/>
                <a:gd name="T107" fmla="*/ 1834 h 1856"/>
                <a:gd name="T108" fmla="*/ 3481 w 4107"/>
                <a:gd name="T109" fmla="*/ 1820 h 1856"/>
                <a:gd name="T110" fmla="*/ 3770 w 4107"/>
                <a:gd name="T111" fmla="*/ 1794 h 1856"/>
                <a:gd name="T112" fmla="*/ 3939 w 4107"/>
                <a:gd name="T113" fmla="*/ 1776 h 1856"/>
                <a:gd name="T114" fmla="*/ 4035 w 4107"/>
                <a:gd name="T115" fmla="*/ 1748 h 1856"/>
                <a:gd name="T116" fmla="*/ 4071 w 4107"/>
                <a:gd name="T117" fmla="*/ 1719 h 1856"/>
                <a:gd name="T118" fmla="*/ 4076 w 4107"/>
                <a:gd name="T119" fmla="*/ 1664 h 1856"/>
                <a:gd name="T120" fmla="*/ 4086 w 4107"/>
                <a:gd name="T121" fmla="*/ 1554 h 1856"/>
                <a:gd name="T122" fmla="*/ 4107 w 4107"/>
                <a:gd name="T123" fmla="*/ 1157 h 1856"/>
                <a:gd name="T124" fmla="*/ 4092 w 4107"/>
                <a:gd name="T125" fmla="*/ 858 h 1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07" h="1856">
                  <a:moveTo>
                    <a:pt x="4092" y="858"/>
                  </a:moveTo>
                  <a:lnTo>
                    <a:pt x="4081" y="660"/>
                  </a:lnTo>
                  <a:lnTo>
                    <a:pt x="4051" y="359"/>
                  </a:lnTo>
                  <a:lnTo>
                    <a:pt x="4022" y="213"/>
                  </a:lnTo>
                  <a:lnTo>
                    <a:pt x="3993" y="118"/>
                  </a:lnTo>
                  <a:lnTo>
                    <a:pt x="3976" y="73"/>
                  </a:lnTo>
                  <a:lnTo>
                    <a:pt x="3967" y="54"/>
                  </a:lnTo>
                  <a:lnTo>
                    <a:pt x="3939" y="36"/>
                  </a:lnTo>
                  <a:lnTo>
                    <a:pt x="3923" y="34"/>
                  </a:lnTo>
                  <a:lnTo>
                    <a:pt x="3914" y="23"/>
                  </a:lnTo>
                  <a:lnTo>
                    <a:pt x="3895" y="9"/>
                  </a:lnTo>
                  <a:lnTo>
                    <a:pt x="3875" y="3"/>
                  </a:lnTo>
                  <a:lnTo>
                    <a:pt x="3852" y="4"/>
                  </a:lnTo>
                  <a:lnTo>
                    <a:pt x="3840" y="8"/>
                  </a:lnTo>
                  <a:lnTo>
                    <a:pt x="3839" y="8"/>
                  </a:lnTo>
                  <a:lnTo>
                    <a:pt x="3839" y="8"/>
                  </a:lnTo>
                  <a:lnTo>
                    <a:pt x="3828" y="1"/>
                  </a:lnTo>
                  <a:lnTo>
                    <a:pt x="3813" y="0"/>
                  </a:lnTo>
                  <a:lnTo>
                    <a:pt x="2873" y="14"/>
                  </a:lnTo>
                  <a:lnTo>
                    <a:pt x="1934" y="36"/>
                  </a:lnTo>
                  <a:lnTo>
                    <a:pt x="1464" y="47"/>
                  </a:lnTo>
                  <a:lnTo>
                    <a:pt x="758" y="65"/>
                  </a:lnTo>
                  <a:lnTo>
                    <a:pt x="289" y="91"/>
                  </a:lnTo>
                  <a:lnTo>
                    <a:pt x="54" y="113"/>
                  </a:lnTo>
                  <a:lnTo>
                    <a:pt x="44" y="115"/>
                  </a:lnTo>
                  <a:lnTo>
                    <a:pt x="31" y="130"/>
                  </a:lnTo>
                  <a:lnTo>
                    <a:pt x="31" y="148"/>
                  </a:lnTo>
                  <a:lnTo>
                    <a:pt x="42" y="162"/>
                  </a:lnTo>
                  <a:lnTo>
                    <a:pt x="54" y="165"/>
                  </a:lnTo>
                  <a:lnTo>
                    <a:pt x="289" y="168"/>
                  </a:lnTo>
                  <a:lnTo>
                    <a:pt x="759" y="162"/>
                  </a:lnTo>
                  <a:lnTo>
                    <a:pt x="1464" y="136"/>
                  </a:lnTo>
                  <a:lnTo>
                    <a:pt x="1934" y="121"/>
                  </a:lnTo>
                  <a:lnTo>
                    <a:pt x="2869" y="98"/>
                  </a:lnTo>
                  <a:lnTo>
                    <a:pt x="3806" y="83"/>
                  </a:lnTo>
                  <a:lnTo>
                    <a:pt x="3828" y="268"/>
                  </a:lnTo>
                  <a:lnTo>
                    <a:pt x="3856" y="639"/>
                  </a:lnTo>
                  <a:lnTo>
                    <a:pt x="3873" y="1195"/>
                  </a:lnTo>
                  <a:lnTo>
                    <a:pt x="3874" y="1568"/>
                  </a:lnTo>
                  <a:lnTo>
                    <a:pt x="3403" y="1585"/>
                  </a:lnTo>
                  <a:lnTo>
                    <a:pt x="2461" y="1605"/>
                  </a:lnTo>
                  <a:lnTo>
                    <a:pt x="1989" y="1608"/>
                  </a:lnTo>
                  <a:lnTo>
                    <a:pt x="1516" y="1611"/>
                  </a:lnTo>
                  <a:lnTo>
                    <a:pt x="1043" y="1607"/>
                  </a:lnTo>
                  <a:lnTo>
                    <a:pt x="815" y="1602"/>
                  </a:lnTo>
                  <a:lnTo>
                    <a:pt x="466" y="1592"/>
                  </a:lnTo>
                  <a:lnTo>
                    <a:pt x="236" y="1596"/>
                  </a:lnTo>
                  <a:lnTo>
                    <a:pt x="123" y="1603"/>
                  </a:lnTo>
                  <a:lnTo>
                    <a:pt x="124" y="1602"/>
                  </a:lnTo>
                  <a:lnTo>
                    <a:pt x="125" y="1599"/>
                  </a:lnTo>
                  <a:lnTo>
                    <a:pt x="131" y="1589"/>
                  </a:lnTo>
                  <a:lnTo>
                    <a:pt x="125" y="1568"/>
                  </a:lnTo>
                  <a:lnTo>
                    <a:pt x="119" y="1561"/>
                  </a:lnTo>
                  <a:lnTo>
                    <a:pt x="119" y="1388"/>
                  </a:lnTo>
                  <a:lnTo>
                    <a:pt x="102" y="1043"/>
                  </a:lnTo>
                  <a:lnTo>
                    <a:pt x="94" y="871"/>
                  </a:lnTo>
                  <a:lnTo>
                    <a:pt x="88" y="700"/>
                  </a:lnTo>
                  <a:lnTo>
                    <a:pt x="80" y="529"/>
                  </a:lnTo>
                  <a:lnTo>
                    <a:pt x="79" y="442"/>
                  </a:lnTo>
                  <a:lnTo>
                    <a:pt x="74" y="308"/>
                  </a:lnTo>
                  <a:lnTo>
                    <a:pt x="59" y="222"/>
                  </a:lnTo>
                  <a:lnTo>
                    <a:pt x="46" y="181"/>
                  </a:lnTo>
                  <a:lnTo>
                    <a:pt x="41" y="174"/>
                  </a:lnTo>
                  <a:lnTo>
                    <a:pt x="24" y="174"/>
                  </a:lnTo>
                  <a:lnTo>
                    <a:pt x="19" y="181"/>
                  </a:lnTo>
                  <a:lnTo>
                    <a:pt x="9" y="220"/>
                  </a:lnTo>
                  <a:lnTo>
                    <a:pt x="0" y="301"/>
                  </a:lnTo>
                  <a:lnTo>
                    <a:pt x="2" y="426"/>
                  </a:lnTo>
                  <a:lnTo>
                    <a:pt x="6" y="507"/>
                  </a:lnTo>
                  <a:lnTo>
                    <a:pt x="10" y="688"/>
                  </a:lnTo>
                  <a:lnTo>
                    <a:pt x="15" y="871"/>
                  </a:lnTo>
                  <a:lnTo>
                    <a:pt x="18" y="1052"/>
                  </a:lnTo>
                  <a:lnTo>
                    <a:pt x="23" y="1326"/>
                  </a:lnTo>
                  <a:lnTo>
                    <a:pt x="31" y="1509"/>
                  </a:lnTo>
                  <a:lnTo>
                    <a:pt x="39" y="1599"/>
                  </a:lnTo>
                  <a:lnTo>
                    <a:pt x="41" y="1614"/>
                  </a:lnTo>
                  <a:lnTo>
                    <a:pt x="59" y="1633"/>
                  </a:lnTo>
                  <a:lnTo>
                    <a:pt x="71" y="1637"/>
                  </a:lnTo>
                  <a:lnTo>
                    <a:pt x="71" y="1641"/>
                  </a:lnTo>
                  <a:lnTo>
                    <a:pt x="72" y="1643"/>
                  </a:lnTo>
                  <a:lnTo>
                    <a:pt x="66" y="1649"/>
                  </a:lnTo>
                  <a:lnTo>
                    <a:pt x="62" y="1663"/>
                  </a:lnTo>
                  <a:lnTo>
                    <a:pt x="65" y="1672"/>
                  </a:lnTo>
                  <a:lnTo>
                    <a:pt x="72" y="1694"/>
                  </a:lnTo>
                  <a:lnTo>
                    <a:pt x="93" y="1733"/>
                  </a:lnTo>
                  <a:lnTo>
                    <a:pt x="120" y="1765"/>
                  </a:lnTo>
                  <a:lnTo>
                    <a:pt x="151" y="1791"/>
                  </a:lnTo>
                  <a:lnTo>
                    <a:pt x="206" y="1822"/>
                  </a:lnTo>
                  <a:lnTo>
                    <a:pt x="289" y="1846"/>
                  </a:lnTo>
                  <a:lnTo>
                    <a:pt x="381" y="1856"/>
                  </a:lnTo>
                  <a:lnTo>
                    <a:pt x="475" y="1856"/>
                  </a:lnTo>
                  <a:lnTo>
                    <a:pt x="610" y="1844"/>
                  </a:lnTo>
                  <a:lnTo>
                    <a:pt x="687" y="1837"/>
                  </a:lnTo>
                  <a:lnTo>
                    <a:pt x="729" y="1833"/>
                  </a:lnTo>
                  <a:lnTo>
                    <a:pt x="772" y="1829"/>
                  </a:lnTo>
                  <a:lnTo>
                    <a:pt x="794" y="1833"/>
                  </a:lnTo>
                  <a:lnTo>
                    <a:pt x="815" y="1835"/>
                  </a:lnTo>
                  <a:lnTo>
                    <a:pt x="831" y="1837"/>
                  </a:lnTo>
                  <a:lnTo>
                    <a:pt x="856" y="1830"/>
                  </a:lnTo>
                  <a:lnTo>
                    <a:pt x="867" y="1822"/>
                  </a:lnTo>
                  <a:lnTo>
                    <a:pt x="985" y="1815"/>
                  </a:lnTo>
                  <a:lnTo>
                    <a:pt x="1221" y="1805"/>
                  </a:lnTo>
                  <a:lnTo>
                    <a:pt x="1576" y="1802"/>
                  </a:lnTo>
                  <a:lnTo>
                    <a:pt x="1812" y="1805"/>
                  </a:lnTo>
                  <a:lnTo>
                    <a:pt x="2094" y="1813"/>
                  </a:lnTo>
                  <a:lnTo>
                    <a:pt x="2658" y="1831"/>
                  </a:lnTo>
                  <a:lnTo>
                    <a:pt x="2941" y="1834"/>
                  </a:lnTo>
                  <a:lnTo>
                    <a:pt x="3075" y="1834"/>
                  </a:lnTo>
                  <a:lnTo>
                    <a:pt x="3345" y="1826"/>
                  </a:lnTo>
                  <a:lnTo>
                    <a:pt x="3481" y="1820"/>
                  </a:lnTo>
                  <a:lnTo>
                    <a:pt x="3626" y="1809"/>
                  </a:lnTo>
                  <a:lnTo>
                    <a:pt x="3770" y="1794"/>
                  </a:lnTo>
                  <a:lnTo>
                    <a:pt x="3836" y="1789"/>
                  </a:lnTo>
                  <a:lnTo>
                    <a:pt x="3939" y="1776"/>
                  </a:lnTo>
                  <a:lnTo>
                    <a:pt x="4003" y="1760"/>
                  </a:lnTo>
                  <a:lnTo>
                    <a:pt x="4035" y="1748"/>
                  </a:lnTo>
                  <a:lnTo>
                    <a:pt x="4050" y="1741"/>
                  </a:lnTo>
                  <a:lnTo>
                    <a:pt x="4071" y="1719"/>
                  </a:lnTo>
                  <a:lnTo>
                    <a:pt x="4080" y="1691"/>
                  </a:lnTo>
                  <a:lnTo>
                    <a:pt x="4076" y="1664"/>
                  </a:lnTo>
                  <a:lnTo>
                    <a:pt x="4070" y="1653"/>
                  </a:lnTo>
                  <a:lnTo>
                    <a:pt x="4086" y="1554"/>
                  </a:lnTo>
                  <a:lnTo>
                    <a:pt x="4105" y="1356"/>
                  </a:lnTo>
                  <a:lnTo>
                    <a:pt x="4107" y="1157"/>
                  </a:lnTo>
                  <a:lnTo>
                    <a:pt x="4099" y="958"/>
                  </a:lnTo>
                  <a:lnTo>
                    <a:pt x="4092" y="858"/>
                  </a:lnTo>
                </a:path>
              </a:pathLst>
            </a:custGeom>
            <a:solidFill>
              <a:srgbClr val="FFCC4C"/>
            </a:solidFill>
            <a:ln w="9525">
              <a:noFill/>
              <a:round/>
              <a:headEnd/>
              <a:tailEnd/>
            </a:ln>
          </p:spPr>
          <p:txBody>
            <a:bodyPr vert="horz" wrap="square" lIns="68580" tIns="34290" rIns="68580" bIns="34290" numCol="1" anchor="t" anchorCtr="0" compatLnSpc="1">
              <a:prstTxWarp prst="textNoShape">
                <a:avLst/>
              </a:prstTxWarp>
            </a:bodyPr>
            <a:lstStyle/>
            <a:p>
              <a:pPr>
                <a:defRPr/>
              </a:pPr>
              <a:endParaRPr lang="es-MX" sz="1050" kern="0">
                <a:solidFill>
                  <a:prstClr val="black"/>
                </a:solidFill>
                <a:latin typeface="Calibri" panose="020F0502020204030204"/>
              </a:endParaRPr>
            </a:p>
          </p:txBody>
        </p:sp>
        <p:sp>
          <p:nvSpPr>
            <p:cNvPr id="44" name="Freeform 228">
              <a:extLst>
                <a:ext uri="{FF2B5EF4-FFF2-40B4-BE49-F238E27FC236}">
                  <a16:creationId xmlns:a16="http://schemas.microsoft.com/office/drawing/2014/main" id="{2CAC806E-1573-4DED-BB7C-652F3AF56962}"/>
                </a:ext>
              </a:extLst>
            </p:cNvPr>
            <p:cNvSpPr>
              <a:spLocks/>
            </p:cNvSpPr>
            <p:nvPr/>
          </p:nvSpPr>
          <p:spPr bwMode="auto">
            <a:xfrm>
              <a:off x="3210319" y="2803309"/>
              <a:ext cx="929633" cy="481675"/>
            </a:xfrm>
            <a:custGeom>
              <a:avLst/>
              <a:gdLst>
                <a:gd name="T0" fmla="*/ 3692 w 3861"/>
                <a:gd name="T1" fmla="*/ 26 h 2000"/>
                <a:gd name="T2" fmla="*/ 3667 w 3861"/>
                <a:gd name="T3" fmla="*/ 17 h 2000"/>
                <a:gd name="T4" fmla="*/ 3545 w 3861"/>
                <a:gd name="T5" fmla="*/ 4 h 2000"/>
                <a:gd name="T6" fmla="*/ 3003 w 3861"/>
                <a:gd name="T7" fmla="*/ 10 h 2000"/>
                <a:gd name="T8" fmla="*/ 2357 w 3861"/>
                <a:gd name="T9" fmla="*/ 18 h 2000"/>
                <a:gd name="T10" fmla="*/ 1495 w 3861"/>
                <a:gd name="T11" fmla="*/ 23 h 2000"/>
                <a:gd name="T12" fmla="*/ 200 w 3861"/>
                <a:gd name="T13" fmla="*/ 47 h 2000"/>
                <a:gd name="T14" fmla="*/ 178 w 3861"/>
                <a:gd name="T15" fmla="*/ 60 h 2000"/>
                <a:gd name="T16" fmla="*/ 170 w 3861"/>
                <a:gd name="T17" fmla="*/ 72 h 2000"/>
                <a:gd name="T18" fmla="*/ 158 w 3861"/>
                <a:gd name="T19" fmla="*/ 97 h 2000"/>
                <a:gd name="T20" fmla="*/ 79 w 3861"/>
                <a:gd name="T21" fmla="*/ 889 h 2000"/>
                <a:gd name="T22" fmla="*/ 21 w 3861"/>
                <a:gd name="T23" fmla="*/ 1484 h 2000"/>
                <a:gd name="T24" fmla="*/ 11 w 3861"/>
                <a:gd name="T25" fmla="*/ 1694 h 2000"/>
                <a:gd name="T26" fmla="*/ 46 w 3861"/>
                <a:gd name="T27" fmla="*/ 1711 h 2000"/>
                <a:gd name="T28" fmla="*/ 65 w 3861"/>
                <a:gd name="T29" fmla="*/ 1690 h 2000"/>
                <a:gd name="T30" fmla="*/ 135 w 3861"/>
                <a:gd name="T31" fmla="*/ 1106 h 2000"/>
                <a:gd name="T32" fmla="*/ 201 w 3861"/>
                <a:gd name="T33" fmla="*/ 505 h 2000"/>
                <a:gd name="T34" fmla="*/ 661 w 3861"/>
                <a:gd name="T35" fmla="*/ 105 h 2000"/>
                <a:gd name="T36" fmla="*/ 1926 w 3861"/>
                <a:gd name="T37" fmla="*/ 102 h 2000"/>
                <a:gd name="T38" fmla="*/ 2767 w 3861"/>
                <a:gd name="T39" fmla="*/ 97 h 2000"/>
                <a:gd name="T40" fmla="*/ 3198 w 3861"/>
                <a:gd name="T41" fmla="*/ 95 h 2000"/>
                <a:gd name="T42" fmla="*/ 3498 w 3861"/>
                <a:gd name="T43" fmla="*/ 97 h 2000"/>
                <a:gd name="T44" fmla="*/ 3594 w 3861"/>
                <a:gd name="T45" fmla="*/ 100 h 2000"/>
                <a:gd name="T46" fmla="*/ 3590 w 3861"/>
                <a:gd name="T47" fmla="*/ 212 h 2000"/>
                <a:gd name="T48" fmla="*/ 3593 w 3861"/>
                <a:gd name="T49" fmla="*/ 527 h 2000"/>
                <a:gd name="T50" fmla="*/ 3559 w 3861"/>
                <a:gd name="T51" fmla="*/ 848 h 2000"/>
                <a:gd name="T52" fmla="*/ 3510 w 3861"/>
                <a:gd name="T53" fmla="*/ 1137 h 2000"/>
                <a:gd name="T54" fmla="*/ 3392 w 3861"/>
                <a:gd name="T55" fmla="*/ 1682 h 2000"/>
                <a:gd name="T56" fmla="*/ 2136 w 3861"/>
                <a:gd name="T57" fmla="*/ 1724 h 2000"/>
                <a:gd name="T58" fmla="*/ 1301 w 3861"/>
                <a:gd name="T59" fmla="*/ 1728 h 2000"/>
                <a:gd name="T60" fmla="*/ 673 w 3861"/>
                <a:gd name="T61" fmla="*/ 1716 h 2000"/>
                <a:gd name="T62" fmla="*/ 139 w 3861"/>
                <a:gd name="T63" fmla="*/ 1708 h 2000"/>
                <a:gd name="T64" fmla="*/ 26 w 3861"/>
                <a:gd name="T65" fmla="*/ 1715 h 2000"/>
                <a:gd name="T66" fmla="*/ 14 w 3861"/>
                <a:gd name="T67" fmla="*/ 1730 h 2000"/>
                <a:gd name="T68" fmla="*/ 0 w 3861"/>
                <a:gd name="T69" fmla="*/ 1756 h 2000"/>
                <a:gd name="T70" fmla="*/ 11 w 3861"/>
                <a:gd name="T71" fmla="*/ 1774 h 2000"/>
                <a:gd name="T72" fmla="*/ 106 w 3861"/>
                <a:gd name="T73" fmla="*/ 1859 h 2000"/>
                <a:gd name="T74" fmla="*/ 125 w 3861"/>
                <a:gd name="T75" fmla="*/ 1879 h 2000"/>
                <a:gd name="T76" fmla="*/ 136 w 3861"/>
                <a:gd name="T77" fmla="*/ 1883 h 2000"/>
                <a:gd name="T78" fmla="*/ 140 w 3861"/>
                <a:gd name="T79" fmla="*/ 1884 h 2000"/>
                <a:gd name="T80" fmla="*/ 187 w 3861"/>
                <a:gd name="T81" fmla="*/ 1923 h 2000"/>
                <a:gd name="T82" fmla="*/ 233 w 3861"/>
                <a:gd name="T83" fmla="*/ 1965 h 2000"/>
                <a:gd name="T84" fmla="*/ 252 w 3861"/>
                <a:gd name="T85" fmla="*/ 1986 h 2000"/>
                <a:gd name="T86" fmla="*/ 388 w 3861"/>
                <a:gd name="T87" fmla="*/ 2000 h 2000"/>
                <a:gd name="T88" fmla="*/ 618 w 3861"/>
                <a:gd name="T89" fmla="*/ 1988 h 2000"/>
                <a:gd name="T90" fmla="*/ 1021 w 3861"/>
                <a:gd name="T91" fmla="*/ 1969 h 2000"/>
                <a:gd name="T92" fmla="*/ 1627 w 3861"/>
                <a:gd name="T93" fmla="*/ 1949 h 2000"/>
                <a:gd name="T94" fmla="*/ 2031 w 3861"/>
                <a:gd name="T95" fmla="*/ 1945 h 2000"/>
                <a:gd name="T96" fmla="*/ 3040 w 3861"/>
                <a:gd name="T97" fmla="*/ 1971 h 2000"/>
                <a:gd name="T98" fmla="*/ 3457 w 3861"/>
                <a:gd name="T99" fmla="*/ 1992 h 2000"/>
                <a:gd name="T100" fmla="*/ 3496 w 3861"/>
                <a:gd name="T101" fmla="*/ 1969 h 2000"/>
                <a:gd name="T102" fmla="*/ 3507 w 3861"/>
                <a:gd name="T103" fmla="*/ 1938 h 2000"/>
                <a:gd name="T104" fmla="*/ 3549 w 3861"/>
                <a:gd name="T105" fmla="*/ 1848 h 2000"/>
                <a:gd name="T106" fmla="*/ 3596 w 3861"/>
                <a:gd name="T107" fmla="*/ 1669 h 2000"/>
                <a:gd name="T108" fmla="*/ 3693 w 3861"/>
                <a:gd name="T109" fmla="*/ 1230 h 2000"/>
                <a:gd name="T110" fmla="*/ 3785 w 3861"/>
                <a:gd name="T111" fmla="*/ 798 h 2000"/>
                <a:gd name="T112" fmla="*/ 3855 w 3861"/>
                <a:gd name="T113" fmla="*/ 447 h 2000"/>
                <a:gd name="T114" fmla="*/ 3861 w 3861"/>
                <a:gd name="T115" fmla="*/ 325 h 2000"/>
                <a:gd name="T116" fmla="*/ 3821 w 3861"/>
                <a:gd name="T117" fmla="*/ 162 h 2000"/>
                <a:gd name="T118" fmla="*/ 3765 w 3861"/>
                <a:gd name="T119" fmla="*/ 83 h 2000"/>
                <a:gd name="T120" fmla="*/ 3707 w 3861"/>
                <a:gd name="T121" fmla="*/ 35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61" h="2000">
                  <a:moveTo>
                    <a:pt x="3707" y="35"/>
                  </a:moveTo>
                  <a:lnTo>
                    <a:pt x="3692" y="26"/>
                  </a:lnTo>
                  <a:lnTo>
                    <a:pt x="3677" y="25"/>
                  </a:lnTo>
                  <a:lnTo>
                    <a:pt x="3667" y="17"/>
                  </a:lnTo>
                  <a:lnTo>
                    <a:pt x="3651" y="13"/>
                  </a:lnTo>
                  <a:lnTo>
                    <a:pt x="3545" y="4"/>
                  </a:lnTo>
                  <a:lnTo>
                    <a:pt x="3329" y="0"/>
                  </a:lnTo>
                  <a:lnTo>
                    <a:pt x="3003" y="10"/>
                  </a:lnTo>
                  <a:lnTo>
                    <a:pt x="2788" y="14"/>
                  </a:lnTo>
                  <a:lnTo>
                    <a:pt x="2357" y="18"/>
                  </a:lnTo>
                  <a:lnTo>
                    <a:pt x="1926" y="21"/>
                  </a:lnTo>
                  <a:lnTo>
                    <a:pt x="1495" y="23"/>
                  </a:lnTo>
                  <a:lnTo>
                    <a:pt x="631" y="35"/>
                  </a:lnTo>
                  <a:lnTo>
                    <a:pt x="200" y="47"/>
                  </a:lnTo>
                  <a:lnTo>
                    <a:pt x="191" y="48"/>
                  </a:lnTo>
                  <a:lnTo>
                    <a:pt x="178" y="60"/>
                  </a:lnTo>
                  <a:lnTo>
                    <a:pt x="176" y="67"/>
                  </a:lnTo>
                  <a:lnTo>
                    <a:pt x="170" y="72"/>
                  </a:lnTo>
                  <a:lnTo>
                    <a:pt x="161" y="87"/>
                  </a:lnTo>
                  <a:lnTo>
                    <a:pt x="158" y="97"/>
                  </a:lnTo>
                  <a:lnTo>
                    <a:pt x="115" y="492"/>
                  </a:lnTo>
                  <a:lnTo>
                    <a:pt x="79" y="889"/>
                  </a:lnTo>
                  <a:lnTo>
                    <a:pt x="60" y="1087"/>
                  </a:lnTo>
                  <a:lnTo>
                    <a:pt x="21" y="1484"/>
                  </a:lnTo>
                  <a:lnTo>
                    <a:pt x="9" y="1682"/>
                  </a:lnTo>
                  <a:lnTo>
                    <a:pt x="11" y="1694"/>
                  </a:lnTo>
                  <a:lnTo>
                    <a:pt x="25" y="1707"/>
                  </a:lnTo>
                  <a:lnTo>
                    <a:pt x="46" y="1711"/>
                  </a:lnTo>
                  <a:lnTo>
                    <a:pt x="62" y="1700"/>
                  </a:lnTo>
                  <a:lnTo>
                    <a:pt x="65" y="1690"/>
                  </a:lnTo>
                  <a:lnTo>
                    <a:pt x="93" y="1496"/>
                  </a:lnTo>
                  <a:lnTo>
                    <a:pt x="135" y="1106"/>
                  </a:lnTo>
                  <a:lnTo>
                    <a:pt x="156" y="911"/>
                  </a:lnTo>
                  <a:lnTo>
                    <a:pt x="201" y="505"/>
                  </a:lnTo>
                  <a:lnTo>
                    <a:pt x="239" y="100"/>
                  </a:lnTo>
                  <a:lnTo>
                    <a:pt x="661" y="105"/>
                  </a:lnTo>
                  <a:lnTo>
                    <a:pt x="1504" y="105"/>
                  </a:lnTo>
                  <a:lnTo>
                    <a:pt x="1926" y="102"/>
                  </a:lnTo>
                  <a:lnTo>
                    <a:pt x="2346" y="100"/>
                  </a:lnTo>
                  <a:lnTo>
                    <a:pt x="2767" y="97"/>
                  </a:lnTo>
                  <a:lnTo>
                    <a:pt x="2983" y="96"/>
                  </a:lnTo>
                  <a:lnTo>
                    <a:pt x="3198" y="95"/>
                  </a:lnTo>
                  <a:lnTo>
                    <a:pt x="3297" y="96"/>
                  </a:lnTo>
                  <a:lnTo>
                    <a:pt x="3498" y="97"/>
                  </a:lnTo>
                  <a:lnTo>
                    <a:pt x="3598" y="92"/>
                  </a:lnTo>
                  <a:lnTo>
                    <a:pt x="3594" y="100"/>
                  </a:lnTo>
                  <a:lnTo>
                    <a:pt x="3593" y="109"/>
                  </a:lnTo>
                  <a:lnTo>
                    <a:pt x="3590" y="212"/>
                  </a:lnTo>
                  <a:lnTo>
                    <a:pt x="3596" y="422"/>
                  </a:lnTo>
                  <a:lnTo>
                    <a:pt x="3593" y="527"/>
                  </a:lnTo>
                  <a:lnTo>
                    <a:pt x="3585" y="635"/>
                  </a:lnTo>
                  <a:lnTo>
                    <a:pt x="3559" y="848"/>
                  </a:lnTo>
                  <a:lnTo>
                    <a:pt x="3542" y="954"/>
                  </a:lnTo>
                  <a:lnTo>
                    <a:pt x="3510" y="1137"/>
                  </a:lnTo>
                  <a:lnTo>
                    <a:pt x="3430" y="1500"/>
                  </a:lnTo>
                  <a:lnTo>
                    <a:pt x="3392" y="1682"/>
                  </a:lnTo>
                  <a:lnTo>
                    <a:pt x="2973" y="1700"/>
                  </a:lnTo>
                  <a:lnTo>
                    <a:pt x="2136" y="1724"/>
                  </a:lnTo>
                  <a:lnTo>
                    <a:pt x="1718" y="1726"/>
                  </a:lnTo>
                  <a:lnTo>
                    <a:pt x="1301" y="1728"/>
                  </a:lnTo>
                  <a:lnTo>
                    <a:pt x="885" y="1721"/>
                  </a:lnTo>
                  <a:lnTo>
                    <a:pt x="673" y="1716"/>
                  </a:lnTo>
                  <a:lnTo>
                    <a:pt x="353" y="1707"/>
                  </a:lnTo>
                  <a:lnTo>
                    <a:pt x="139" y="1708"/>
                  </a:lnTo>
                  <a:lnTo>
                    <a:pt x="33" y="1713"/>
                  </a:lnTo>
                  <a:lnTo>
                    <a:pt x="26" y="1715"/>
                  </a:lnTo>
                  <a:lnTo>
                    <a:pt x="17" y="1724"/>
                  </a:lnTo>
                  <a:lnTo>
                    <a:pt x="14" y="1730"/>
                  </a:lnTo>
                  <a:lnTo>
                    <a:pt x="4" y="1738"/>
                  </a:lnTo>
                  <a:lnTo>
                    <a:pt x="0" y="1756"/>
                  </a:lnTo>
                  <a:lnTo>
                    <a:pt x="5" y="1769"/>
                  </a:lnTo>
                  <a:lnTo>
                    <a:pt x="11" y="1774"/>
                  </a:lnTo>
                  <a:lnTo>
                    <a:pt x="58" y="1817"/>
                  </a:lnTo>
                  <a:lnTo>
                    <a:pt x="106" y="1859"/>
                  </a:lnTo>
                  <a:lnTo>
                    <a:pt x="112" y="1866"/>
                  </a:lnTo>
                  <a:lnTo>
                    <a:pt x="125" y="1879"/>
                  </a:lnTo>
                  <a:lnTo>
                    <a:pt x="134" y="1882"/>
                  </a:lnTo>
                  <a:lnTo>
                    <a:pt x="136" y="1883"/>
                  </a:lnTo>
                  <a:lnTo>
                    <a:pt x="138" y="1883"/>
                  </a:lnTo>
                  <a:lnTo>
                    <a:pt x="140" y="1884"/>
                  </a:lnTo>
                  <a:lnTo>
                    <a:pt x="141" y="1887"/>
                  </a:lnTo>
                  <a:lnTo>
                    <a:pt x="187" y="1923"/>
                  </a:lnTo>
                  <a:lnTo>
                    <a:pt x="235" y="1956"/>
                  </a:lnTo>
                  <a:lnTo>
                    <a:pt x="233" y="1965"/>
                  </a:lnTo>
                  <a:lnTo>
                    <a:pt x="241" y="1982"/>
                  </a:lnTo>
                  <a:lnTo>
                    <a:pt x="252" y="1986"/>
                  </a:lnTo>
                  <a:lnTo>
                    <a:pt x="296" y="1995"/>
                  </a:lnTo>
                  <a:lnTo>
                    <a:pt x="388" y="2000"/>
                  </a:lnTo>
                  <a:lnTo>
                    <a:pt x="528" y="1993"/>
                  </a:lnTo>
                  <a:lnTo>
                    <a:pt x="618" y="1988"/>
                  </a:lnTo>
                  <a:lnTo>
                    <a:pt x="819" y="1979"/>
                  </a:lnTo>
                  <a:lnTo>
                    <a:pt x="1021" y="1969"/>
                  </a:lnTo>
                  <a:lnTo>
                    <a:pt x="1224" y="1961"/>
                  </a:lnTo>
                  <a:lnTo>
                    <a:pt x="1627" y="1949"/>
                  </a:lnTo>
                  <a:lnTo>
                    <a:pt x="1829" y="1947"/>
                  </a:lnTo>
                  <a:lnTo>
                    <a:pt x="2031" y="1945"/>
                  </a:lnTo>
                  <a:lnTo>
                    <a:pt x="2434" y="1951"/>
                  </a:lnTo>
                  <a:lnTo>
                    <a:pt x="3040" y="1971"/>
                  </a:lnTo>
                  <a:lnTo>
                    <a:pt x="3443" y="1992"/>
                  </a:lnTo>
                  <a:lnTo>
                    <a:pt x="3457" y="1992"/>
                  </a:lnTo>
                  <a:lnTo>
                    <a:pt x="3480" y="1983"/>
                  </a:lnTo>
                  <a:lnTo>
                    <a:pt x="3496" y="1969"/>
                  </a:lnTo>
                  <a:lnTo>
                    <a:pt x="3505" y="1949"/>
                  </a:lnTo>
                  <a:lnTo>
                    <a:pt x="3507" y="1938"/>
                  </a:lnTo>
                  <a:lnTo>
                    <a:pt x="3526" y="1910"/>
                  </a:lnTo>
                  <a:lnTo>
                    <a:pt x="3549" y="1848"/>
                  </a:lnTo>
                  <a:lnTo>
                    <a:pt x="3558" y="1814"/>
                  </a:lnTo>
                  <a:lnTo>
                    <a:pt x="3596" y="1669"/>
                  </a:lnTo>
                  <a:lnTo>
                    <a:pt x="3629" y="1523"/>
                  </a:lnTo>
                  <a:lnTo>
                    <a:pt x="3693" y="1230"/>
                  </a:lnTo>
                  <a:lnTo>
                    <a:pt x="3754" y="936"/>
                  </a:lnTo>
                  <a:lnTo>
                    <a:pt x="3785" y="798"/>
                  </a:lnTo>
                  <a:lnTo>
                    <a:pt x="3833" y="587"/>
                  </a:lnTo>
                  <a:lnTo>
                    <a:pt x="3855" y="447"/>
                  </a:lnTo>
                  <a:lnTo>
                    <a:pt x="3860" y="377"/>
                  </a:lnTo>
                  <a:lnTo>
                    <a:pt x="3861" y="325"/>
                  </a:lnTo>
                  <a:lnTo>
                    <a:pt x="3847" y="228"/>
                  </a:lnTo>
                  <a:lnTo>
                    <a:pt x="3821" y="162"/>
                  </a:lnTo>
                  <a:lnTo>
                    <a:pt x="3797" y="120"/>
                  </a:lnTo>
                  <a:lnTo>
                    <a:pt x="3765" y="83"/>
                  </a:lnTo>
                  <a:lnTo>
                    <a:pt x="3728" y="49"/>
                  </a:lnTo>
                  <a:lnTo>
                    <a:pt x="3707" y="35"/>
                  </a:lnTo>
                  <a:close/>
                </a:path>
              </a:pathLst>
            </a:custGeom>
            <a:solidFill>
              <a:srgbClr val="4CC1EF"/>
            </a:solidFill>
            <a:ln w="9525">
              <a:noFill/>
              <a:round/>
              <a:headEnd/>
              <a:tailEnd/>
            </a:ln>
          </p:spPr>
          <p:txBody>
            <a:bodyPr vert="horz" wrap="square" lIns="68580" tIns="34290" rIns="68580" bIns="34290" numCol="1" anchor="t" anchorCtr="0" compatLnSpc="1">
              <a:prstTxWarp prst="textNoShape">
                <a:avLst/>
              </a:prstTxWarp>
            </a:bodyPr>
            <a:lstStyle/>
            <a:p>
              <a:pPr>
                <a:defRPr/>
              </a:pPr>
              <a:endParaRPr lang="es-MX" sz="1050" kern="0">
                <a:solidFill>
                  <a:prstClr val="black"/>
                </a:solidFill>
                <a:latin typeface="Calibri" panose="020F0502020204030204"/>
              </a:endParaRPr>
            </a:p>
          </p:txBody>
        </p:sp>
        <p:sp>
          <p:nvSpPr>
            <p:cNvPr id="45" name="Freeform 284">
              <a:extLst>
                <a:ext uri="{FF2B5EF4-FFF2-40B4-BE49-F238E27FC236}">
                  <a16:creationId xmlns:a16="http://schemas.microsoft.com/office/drawing/2014/main" id="{3F3D4A6A-5A29-4B66-929F-0FE114F1207E}"/>
                </a:ext>
              </a:extLst>
            </p:cNvPr>
            <p:cNvSpPr>
              <a:spLocks/>
            </p:cNvSpPr>
            <p:nvPr/>
          </p:nvSpPr>
          <p:spPr bwMode="auto">
            <a:xfrm rot="1545019">
              <a:off x="6164203" y="2774158"/>
              <a:ext cx="178472" cy="759510"/>
            </a:xfrm>
            <a:custGeom>
              <a:avLst/>
              <a:gdLst>
                <a:gd name="T0" fmla="*/ 303 w 530"/>
                <a:gd name="T1" fmla="*/ 2004 h 2263"/>
                <a:gd name="T2" fmla="*/ 303 w 530"/>
                <a:gd name="T3" fmla="*/ 1995 h 2263"/>
                <a:gd name="T4" fmla="*/ 298 w 530"/>
                <a:gd name="T5" fmla="*/ 1978 h 2263"/>
                <a:gd name="T6" fmla="*/ 291 w 530"/>
                <a:gd name="T7" fmla="*/ 1970 h 2263"/>
                <a:gd name="T8" fmla="*/ 255 w 530"/>
                <a:gd name="T9" fmla="*/ 1934 h 2263"/>
                <a:gd name="T10" fmla="*/ 215 w 530"/>
                <a:gd name="T11" fmla="*/ 1904 h 2263"/>
                <a:gd name="T12" fmla="*/ 252 w 530"/>
                <a:gd name="T13" fmla="*/ 1790 h 2263"/>
                <a:gd name="T14" fmla="*/ 321 w 530"/>
                <a:gd name="T15" fmla="*/ 1559 h 2263"/>
                <a:gd name="T16" fmla="*/ 381 w 530"/>
                <a:gd name="T17" fmla="*/ 1326 h 2263"/>
                <a:gd name="T18" fmla="*/ 433 w 530"/>
                <a:gd name="T19" fmla="*/ 1089 h 2263"/>
                <a:gd name="T20" fmla="*/ 474 w 530"/>
                <a:gd name="T21" fmla="*/ 850 h 2263"/>
                <a:gd name="T22" fmla="*/ 505 w 530"/>
                <a:gd name="T23" fmla="*/ 612 h 2263"/>
                <a:gd name="T24" fmla="*/ 523 w 530"/>
                <a:gd name="T25" fmla="*/ 373 h 2263"/>
                <a:gd name="T26" fmla="*/ 530 w 530"/>
                <a:gd name="T27" fmla="*/ 136 h 2263"/>
                <a:gd name="T28" fmla="*/ 527 w 530"/>
                <a:gd name="T29" fmla="*/ 18 h 2263"/>
                <a:gd name="T30" fmla="*/ 526 w 530"/>
                <a:gd name="T31" fmla="*/ 9 h 2263"/>
                <a:gd name="T32" fmla="*/ 515 w 530"/>
                <a:gd name="T33" fmla="*/ 0 h 2263"/>
                <a:gd name="T34" fmla="*/ 503 w 530"/>
                <a:gd name="T35" fmla="*/ 0 h 2263"/>
                <a:gd name="T36" fmla="*/ 491 w 530"/>
                <a:gd name="T37" fmla="*/ 9 h 2263"/>
                <a:gd name="T38" fmla="*/ 490 w 530"/>
                <a:gd name="T39" fmla="*/ 18 h 2263"/>
                <a:gd name="T40" fmla="*/ 457 w 530"/>
                <a:gd name="T41" fmla="*/ 301 h 2263"/>
                <a:gd name="T42" fmla="*/ 404 w 530"/>
                <a:gd name="T43" fmla="*/ 722 h 2263"/>
                <a:gd name="T44" fmla="*/ 359 w 530"/>
                <a:gd name="T45" fmla="*/ 1003 h 2263"/>
                <a:gd name="T46" fmla="*/ 330 w 530"/>
                <a:gd name="T47" fmla="*/ 1143 h 2263"/>
                <a:gd name="T48" fmla="*/ 290 w 530"/>
                <a:gd name="T49" fmla="*/ 1325 h 2263"/>
                <a:gd name="T50" fmla="*/ 194 w 530"/>
                <a:gd name="T51" fmla="*/ 1682 h 2263"/>
                <a:gd name="T52" fmla="*/ 138 w 530"/>
                <a:gd name="T53" fmla="*/ 1859 h 2263"/>
                <a:gd name="T54" fmla="*/ 118 w 530"/>
                <a:gd name="T55" fmla="*/ 1849 h 2263"/>
                <a:gd name="T56" fmla="*/ 97 w 530"/>
                <a:gd name="T57" fmla="*/ 1842 h 2263"/>
                <a:gd name="T58" fmla="*/ 89 w 530"/>
                <a:gd name="T59" fmla="*/ 1839 h 2263"/>
                <a:gd name="T60" fmla="*/ 72 w 530"/>
                <a:gd name="T61" fmla="*/ 1842 h 2263"/>
                <a:gd name="T62" fmla="*/ 58 w 530"/>
                <a:gd name="T63" fmla="*/ 1849 h 2263"/>
                <a:gd name="T64" fmla="*/ 48 w 530"/>
                <a:gd name="T65" fmla="*/ 1862 h 2263"/>
                <a:gd name="T66" fmla="*/ 45 w 530"/>
                <a:gd name="T67" fmla="*/ 1870 h 2263"/>
                <a:gd name="T68" fmla="*/ 28 w 530"/>
                <a:gd name="T69" fmla="*/ 1997 h 2263"/>
                <a:gd name="T70" fmla="*/ 13 w 530"/>
                <a:gd name="T71" fmla="*/ 2123 h 2263"/>
                <a:gd name="T72" fmla="*/ 11 w 530"/>
                <a:gd name="T73" fmla="*/ 2136 h 2263"/>
                <a:gd name="T74" fmla="*/ 10 w 530"/>
                <a:gd name="T75" fmla="*/ 2150 h 2263"/>
                <a:gd name="T76" fmla="*/ 9 w 530"/>
                <a:gd name="T77" fmla="*/ 2153 h 2263"/>
                <a:gd name="T78" fmla="*/ 6 w 530"/>
                <a:gd name="T79" fmla="*/ 2155 h 2263"/>
                <a:gd name="T80" fmla="*/ 0 w 530"/>
                <a:gd name="T81" fmla="*/ 2170 h 2263"/>
                <a:gd name="T82" fmla="*/ 7 w 530"/>
                <a:gd name="T83" fmla="*/ 2196 h 2263"/>
                <a:gd name="T84" fmla="*/ 18 w 530"/>
                <a:gd name="T85" fmla="*/ 2203 h 2263"/>
                <a:gd name="T86" fmla="*/ 19 w 530"/>
                <a:gd name="T87" fmla="*/ 2205 h 2263"/>
                <a:gd name="T88" fmla="*/ 19 w 530"/>
                <a:gd name="T89" fmla="*/ 2205 h 2263"/>
                <a:gd name="T90" fmla="*/ 16 w 530"/>
                <a:gd name="T91" fmla="*/ 2215 h 2263"/>
                <a:gd name="T92" fmla="*/ 18 w 530"/>
                <a:gd name="T93" fmla="*/ 2224 h 2263"/>
                <a:gd name="T94" fmla="*/ 18 w 530"/>
                <a:gd name="T95" fmla="*/ 2233 h 2263"/>
                <a:gd name="T96" fmla="*/ 26 w 530"/>
                <a:gd name="T97" fmla="*/ 2250 h 2263"/>
                <a:gd name="T98" fmla="*/ 40 w 530"/>
                <a:gd name="T99" fmla="*/ 2262 h 2263"/>
                <a:gd name="T100" fmla="*/ 58 w 530"/>
                <a:gd name="T101" fmla="*/ 2263 h 2263"/>
                <a:gd name="T102" fmla="*/ 68 w 530"/>
                <a:gd name="T103" fmla="*/ 2258 h 2263"/>
                <a:gd name="T104" fmla="*/ 106 w 530"/>
                <a:gd name="T105" fmla="*/ 2236 h 2263"/>
                <a:gd name="T106" fmla="*/ 177 w 530"/>
                <a:gd name="T107" fmla="*/ 2188 h 2263"/>
                <a:gd name="T108" fmla="*/ 211 w 530"/>
                <a:gd name="T109" fmla="*/ 2162 h 2263"/>
                <a:gd name="T110" fmla="*/ 242 w 530"/>
                <a:gd name="T111" fmla="*/ 2137 h 2263"/>
                <a:gd name="T112" fmla="*/ 289 w 530"/>
                <a:gd name="T113" fmla="*/ 2094 h 2263"/>
                <a:gd name="T114" fmla="*/ 313 w 530"/>
                <a:gd name="T115" fmla="*/ 2061 h 2263"/>
                <a:gd name="T116" fmla="*/ 321 w 530"/>
                <a:gd name="T117" fmla="*/ 2043 h 2263"/>
                <a:gd name="T118" fmla="*/ 322 w 530"/>
                <a:gd name="T119" fmla="*/ 2031 h 2263"/>
                <a:gd name="T120" fmla="*/ 312 w 530"/>
                <a:gd name="T121" fmla="*/ 2010 h 2263"/>
                <a:gd name="T122" fmla="*/ 303 w 530"/>
                <a:gd name="T123" fmla="*/ 2004 h 2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0" h="2263">
                  <a:moveTo>
                    <a:pt x="303" y="2004"/>
                  </a:moveTo>
                  <a:lnTo>
                    <a:pt x="303" y="1995"/>
                  </a:lnTo>
                  <a:lnTo>
                    <a:pt x="298" y="1978"/>
                  </a:lnTo>
                  <a:lnTo>
                    <a:pt x="291" y="1970"/>
                  </a:lnTo>
                  <a:lnTo>
                    <a:pt x="255" y="1934"/>
                  </a:lnTo>
                  <a:lnTo>
                    <a:pt x="215" y="1904"/>
                  </a:lnTo>
                  <a:lnTo>
                    <a:pt x="252" y="1790"/>
                  </a:lnTo>
                  <a:lnTo>
                    <a:pt x="321" y="1559"/>
                  </a:lnTo>
                  <a:lnTo>
                    <a:pt x="381" y="1326"/>
                  </a:lnTo>
                  <a:lnTo>
                    <a:pt x="433" y="1089"/>
                  </a:lnTo>
                  <a:lnTo>
                    <a:pt x="474" y="850"/>
                  </a:lnTo>
                  <a:lnTo>
                    <a:pt x="505" y="612"/>
                  </a:lnTo>
                  <a:lnTo>
                    <a:pt x="523" y="373"/>
                  </a:lnTo>
                  <a:lnTo>
                    <a:pt x="530" y="136"/>
                  </a:lnTo>
                  <a:lnTo>
                    <a:pt x="527" y="18"/>
                  </a:lnTo>
                  <a:lnTo>
                    <a:pt x="526" y="9"/>
                  </a:lnTo>
                  <a:lnTo>
                    <a:pt x="515" y="0"/>
                  </a:lnTo>
                  <a:lnTo>
                    <a:pt x="503" y="0"/>
                  </a:lnTo>
                  <a:lnTo>
                    <a:pt x="491" y="9"/>
                  </a:lnTo>
                  <a:lnTo>
                    <a:pt x="490" y="18"/>
                  </a:lnTo>
                  <a:lnTo>
                    <a:pt x="457" y="301"/>
                  </a:lnTo>
                  <a:lnTo>
                    <a:pt x="404" y="722"/>
                  </a:lnTo>
                  <a:lnTo>
                    <a:pt x="359" y="1003"/>
                  </a:lnTo>
                  <a:lnTo>
                    <a:pt x="330" y="1143"/>
                  </a:lnTo>
                  <a:lnTo>
                    <a:pt x="290" y="1325"/>
                  </a:lnTo>
                  <a:lnTo>
                    <a:pt x="194" y="1682"/>
                  </a:lnTo>
                  <a:lnTo>
                    <a:pt x="138" y="1859"/>
                  </a:lnTo>
                  <a:lnTo>
                    <a:pt x="118" y="1849"/>
                  </a:lnTo>
                  <a:lnTo>
                    <a:pt x="97" y="1842"/>
                  </a:lnTo>
                  <a:lnTo>
                    <a:pt x="89" y="1839"/>
                  </a:lnTo>
                  <a:lnTo>
                    <a:pt x="72" y="1842"/>
                  </a:lnTo>
                  <a:lnTo>
                    <a:pt x="58" y="1849"/>
                  </a:lnTo>
                  <a:lnTo>
                    <a:pt x="48" y="1862"/>
                  </a:lnTo>
                  <a:lnTo>
                    <a:pt x="45" y="1870"/>
                  </a:lnTo>
                  <a:lnTo>
                    <a:pt x="28" y="1997"/>
                  </a:lnTo>
                  <a:lnTo>
                    <a:pt x="13" y="2123"/>
                  </a:lnTo>
                  <a:lnTo>
                    <a:pt x="11" y="2136"/>
                  </a:lnTo>
                  <a:lnTo>
                    <a:pt x="10" y="2150"/>
                  </a:lnTo>
                  <a:lnTo>
                    <a:pt x="9" y="2153"/>
                  </a:lnTo>
                  <a:lnTo>
                    <a:pt x="6" y="2155"/>
                  </a:lnTo>
                  <a:lnTo>
                    <a:pt x="0" y="2170"/>
                  </a:lnTo>
                  <a:lnTo>
                    <a:pt x="7" y="2196"/>
                  </a:lnTo>
                  <a:lnTo>
                    <a:pt x="18" y="2203"/>
                  </a:lnTo>
                  <a:lnTo>
                    <a:pt x="19" y="2205"/>
                  </a:lnTo>
                  <a:lnTo>
                    <a:pt x="19" y="2205"/>
                  </a:lnTo>
                  <a:lnTo>
                    <a:pt x="16" y="2215"/>
                  </a:lnTo>
                  <a:lnTo>
                    <a:pt x="18" y="2224"/>
                  </a:lnTo>
                  <a:lnTo>
                    <a:pt x="18" y="2233"/>
                  </a:lnTo>
                  <a:lnTo>
                    <a:pt x="26" y="2250"/>
                  </a:lnTo>
                  <a:lnTo>
                    <a:pt x="40" y="2262"/>
                  </a:lnTo>
                  <a:lnTo>
                    <a:pt x="58" y="2263"/>
                  </a:lnTo>
                  <a:lnTo>
                    <a:pt x="68" y="2258"/>
                  </a:lnTo>
                  <a:lnTo>
                    <a:pt x="106" y="2236"/>
                  </a:lnTo>
                  <a:lnTo>
                    <a:pt x="177" y="2188"/>
                  </a:lnTo>
                  <a:lnTo>
                    <a:pt x="211" y="2162"/>
                  </a:lnTo>
                  <a:lnTo>
                    <a:pt x="242" y="2137"/>
                  </a:lnTo>
                  <a:lnTo>
                    <a:pt x="289" y="2094"/>
                  </a:lnTo>
                  <a:lnTo>
                    <a:pt x="313" y="2061"/>
                  </a:lnTo>
                  <a:lnTo>
                    <a:pt x="321" y="2043"/>
                  </a:lnTo>
                  <a:lnTo>
                    <a:pt x="322" y="2031"/>
                  </a:lnTo>
                  <a:lnTo>
                    <a:pt x="312" y="2010"/>
                  </a:lnTo>
                  <a:lnTo>
                    <a:pt x="303" y="2004"/>
                  </a:lnTo>
                  <a:close/>
                </a:path>
              </a:pathLst>
            </a:custGeom>
            <a:solidFill>
              <a:srgbClr val="063951">
                <a:lumMod val="50000"/>
              </a:srgbClr>
            </a:solidFill>
            <a:ln w="9525">
              <a:noFill/>
              <a:round/>
              <a:headEnd/>
              <a:tailEnd/>
            </a:ln>
          </p:spPr>
          <p:txBody>
            <a:bodyPr vert="horz" wrap="square" lIns="68580" tIns="34290" rIns="68580" bIns="34290" numCol="1" anchor="t" anchorCtr="0" compatLnSpc="1">
              <a:prstTxWarp prst="textNoShape">
                <a:avLst/>
              </a:prstTxWarp>
            </a:bodyPr>
            <a:lstStyle/>
            <a:p>
              <a:pPr>
                <a:defRPr/>
              </a:pPr>
              <a:endParaRPr lang="es-MX" sz="1050" kern="0">
                <a:solidFill>
                  <a:prstClr val="black"/>
                </a:solidFill>
                <a:latin typeface="Calibri" panose="020F0502020204030204"/>
              </a:endParaRPr>
            </a:p>
          </p:txBody>
        </p:sp>
        <p:sp>
          <p:nvSpPr>
            <p:cNvPr id="46" name="Freeform 285">
              <a:extLst>
                <a:ext uri="{FF2B5EF4-FFF2-40B4-BE49-F238E27FC236}">
                  <a16:creationId xmlns:a16="http://schemas.microsoft.com/office/drawing/2014/main" id="{912820C1-54DE-4FA5-B62D-F08A6E801CC8}"/>
                </a:ext>
              </a:extLst>
            </p:cNvPr>
            <p:cNvSpPr>
              <a:spLocks/>
            </p:cNvSpPr>
            <p:nvPr/>
          </p:nvSpPr>
          <p:spPr bwMode="auto">
            <a:xfrm rot="3427567">
              <a:off x="6696402" y="2926198"/>
              <a:ext cx="502705" cy="1117485"/>
            </a:xfrm>
            <a:custGeom>
              <a:avLst/>
              <a:gdLst>
                <a:gd name="T0" fmla="*/ 2278 w 2278"/>
                <a:gd name="T1" fmla="*/ 11 h 4638"/>
                <a:gd name="T2" fmla="*/ 2259 w 2278"/>
                <a:gd name="T3" fmla="*/ 0 h 4638"/>
                <a:gd name="T4" fmla="*/ 2247 w 2278"/>
                <a:gd name="T5" fmla="*/ 12 h 4638"/>
                <a:gd name="T6" fmla="*/ 2107 w 2278"/>
                <a:gd name="T7" fmla="*/ 737 h 4638"/>
                <a:gd name="T8" fmla="*/ 1956 w 2278"/>
                <a:gd name="T9" fmla="*/ 1330 h 4638"/>
                <a:gd name="T10" fmla="*/ 1803 w 2278"/>
                <a:gd name="T11" fmla="*/ 1797 h 4638"/>
                <a:gd name="T12" fmla="*/ 1714 w 2278"/>
                <a:gd name="T13" fmla="*/ 2028 h 4638"/>
                <a:gd name="T14" fmla="*/ 1516 w 2278"/>
                <a:gd name="T15" fmla="*/ 2480 h 4638"/>
                <a:gd name="T16" fmla="*/ 1289 w 2278"/>
                <a:gd name="T17" fmla="*/ 2918 h 4638"/>
                <a:gd name="T18" fmla="*/ 1035 w 2278"/>
                <a:gd name="T19" fmla="*/ 3342 h 4638"/>
                <a:gd name="T20" fmla="*/ 828 w 2278"/>
                <a:gd name="T21" fmla="*/ 3648 h 4638"/>
                <a:gd name="T22" fmla="*/ 615 w 2278"/>
                <a:gd name="T23" fmla="*/ 3930 h 4638"/>
                <a:gd name="T24" fmla="*/ 234 w 2278"/>
                <a:gd name="T25" fmla="*/ 4379 h 4638"/>
                <a:gd name="T26" fmla="*/ 202 w 2278"/>
                <a:gd name="T27" fmla="*/ 4352 h 4638"/>
                <a:gd name="T28" fmla="*/ 201 w 2278"/>
                <a:gd name="T29" fmla="*/ 4350 h 4638"/>
                <a:gd name="T30" fmla="*/ 193 w 2278"/>
                <a:gd name="T31" fmla="*/ 4328 h 4638"/>
                <a:gd name="T32" fmla="*/ 163 w 2278"/>
                <a:gd name="T33" fmla="*/ 4322 h 4638"/>
                <a:gd name="T34" fmla="*/ 140 w 2278"/>
                <a:gd name="T35" fmla="*/ 4333 h 4638"/>
                <a:gd name="T36" fmla="*/ 83 w 2278"/>
                <a:gd name="T37" fmla="*/ 4415 h 4638"/>
                <a:gd name="T38" fmla="*/ 48 w 2278"/>
                <a:gd name="T39" fmla="*/ 4486 h 4638"/>
                <a:gd name="T40" fmla="*/ 2 w 2278"/>
                <a:gd name="T41" fmla="*/ 4602 h 4638"/>
                <a:gd name="T42" fmla="*/ 7 w 2278"/>
                <a:gd name="T43" fmla="*/ 4628 h 4638"/>
                <a:gd name="T44" fmla="*/ 41 w 2278"/>
                <a:gd name="T45" fmla="*/ 4637 h 4638"/>
                <a:gd name="T46" fmla="*/ 63 w 2278"/>
                <a:gd name="T47" fmla="*/ 4637 h 4638"/>
                <a:gd name="T48" fmla="*/ 136 w 2278"/>
                <a:gd name="T49" fmla="*/ 4622 h 4638"/>
                <a:gd name="T50" fmla="*/ 241 w 2278"/>
                <a:gd name="T51" fmla="*/ 4587 h 4638"/>
                <a:gd name="T52" fmla="*/ 326 w 2278"/>
                <a:gd name="T53" fmla="*/ 4559 h 4638"/>
                <a:gd name="T54" fmla="*/ 347 w 2278"/>
                <a:gd name="T55" fmla="*/ 4530 h 4638"/>
                <a:gd name="T56" fmla="*/ 342 w 2278"/>
                <a:gd name="T57" fmla="*/ 4503 h 4638"/>
                <a:gd name="T58" fmla="*/ 294 w 2278"/>
                <a:gd name="T59" fmla="*/ 4438 h 4638"/>
                <a:gd name="T60" fmla="*/ 530 w 2278"/>
                <a:gd name="T61" fmla="*/ 4173 h 4638"/>
                <a:gd name="T62" fmla="*/ 825 w 2278"/>
                <a:gd name="T63" fmla="*/ 3799 h 4638"/>
                <a:gd name="T64" fmla="*/ 1096 w 2278"/>
                <a:gd name="T65" fmla="*/ 3407 h 4638"/>
                <a:gd name="T66" fmla="*/ 1343 w 2278"/>
                <a:gd name="T67" fmla="*/ 2997 h 4638"/>
                <a:gd name="T68" fmla="*/ 1563 w 2278"/>
                <a:gd name="T69" fmla="*/ 2572 h 4638"/>
                <a:gd name="T70" fmla="*/ 1757 w 2278"/>
                <a:gd name="T71" fmla="*/ 2136 h 4638"/>
                <a:gd name="T72" fmla="*/ 1924 w 2278"/>
                <a:gd name="T73" fmla="*/ 1691 h 4638"/>
                <a:gd name="T74" fmla="*/ 2064 w 2278"/>
                <a:gd name="T75" fmla="*/ 1238 h 4638"/>
                <a:gd name="T76" fmla="*/ 2129 w 2278"/>
                <a:gd name="T77" fmla="*/ 987 h 4638"/>
                <a:gd name="T78" fmla="*/ 2237 w 2278"/>
                <a:gd name="T79" fmla="*/ 436 h 4638"/>
                <a:gd name="T80" fmla="*/ 2278 w 2278"/>
                <a:gd name="T81" fmla="*/ 16 h 4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78" h="4638">
                  <a:moveTo>
                    <a:pt x="2278" y="16"/>
                  </a:moveTo>
                  <a:lnTo>
                    <a:pt x="2278" y="11"/>
                  </a:lnTo>
                  <a:lnTo>
                    <a:pt x="2271" y="2"/>
                  </a:lnTo>
                  <a:lnTo>
                    <a:pt x="2259" y="0"/>
                  </a:lnTo>
                  <a:lnTo>
                    <a:pt x="2250" y="6"/>
                  </a:lnTo>
                  <a:lnTo>
                    <a:pt x="2247" y="12"/>
                  </a:lnTo>
                  <a:lnTo>
                    <a:pt x="2204" y="255"/>
                  </a:lnTo>
                  <a:lnTo>
                    <a:pt x="2107" y="737"/>
                  </a:lnTo>
                  <a:lnTo>
                    <a:pt x="2020" y="1093"/>
                  </a:lnTo>
                  <a:lnTo>
                    <a:pt x="1956" y="1330"/>
                  </a:lnTo>
                  <a:lnTo>
                    <a:pt x="1883" y="1565"/>
                  </a:lnTo>
                  <a:lnTo>
                    <a:pt x="1803" y="1797"/>
                  </a:lnTo>
                  <a:lnTo>
                    <a:pt x="1760" y="1912"/>
                  </a:lnTo>
                  <a:lnTo>
                    <a:pt x="1714" y="2028"/>
                  </a:lnTo>
                  <a:lnTo>
                    <a:pt x="1619" y="2256"/>
                  </a:lnTo>
                  <a:lnTo>
                    <a:pt x="1516" y="2480"/>
                  </a:lnTo>
                  <a:lnTo>
                    <a:pt x="1406" y="2700"/>
                  </a:lnTo>
                  <a:lnTo>
                    <a:pt x="1289" y="2918"/>
                  </a:lnTo>
                  <a:lnTo>
                    <a:pt x="1165" y="3132"/>
                  </a:lnTo>
                  <a:lnTo>
                    <a:pt x="1035" y="3342"/>
                  </a:lnTo>
                  <a:lnTo>
                    <a:pt x="898" y="3548"/>
                  </a:lnTo>
                  <a:lnTo>
                    <a:pt x="828" y="3648"/>
                  </a:lnTo>
                  <a:lnTo>
                    <a:pt x="758" y="3744"/>
                  </a:lnTo>
                  <a:lnTo>
                    <a:pt x="615" y="3930"/>
                  </a:lnTo>
                  <a:lnTo>
                    <a:pt x="391" y="4204"/>
                  </a:lnTo>
                  <a:lnTo>
                    <a:pt x="234" y="4379"/>
                  </a:lnTo>
                  <a:lnTo>
                    <a:pt x="219" y="4365"/>
                  </a:lnTo>
                  <a:lnTo>
                    <a:pt x="202" y="4352"/>
                  </a:lnTo>
                  <a:lnTo>
                    <a:pt x="202" y="4350"/>
                  </a:lnTo>
                  <a:lnTo>
                    <a:pt x="201" y="4350"/>
                  </a:lnTo>
                  <a:lnTo>
                    <a:pt x="201" y="4341"/>
                  </a:lnTo>
                  <a:lnTo>
                    <a:pt x="193" y="4328"/>
                  </a:lnTo>
                  <a:lnTo>
                    <a:pt x="179" y="4322"/>
                  </a:lnTo>
                  <a:lnTo>
                    <a:pt x="163" y="4322"/>
                  </a:lnTo>
                  <a:lnTo>
                    <a:pt x="155" y="4324"/>
                  </a:lnTo>
                  <a:lnTo>
                    <a:pt x="140" y="4333"/>
                  </a:lnTo>
                  <a:lnTo>
                    <a:pt x="112" y="4362"/>
                  </a:lnTo>
                  <a:lnTo>
                    <a:pt x="83" y="4415"/>
                  </a:lnTo>
                  <a:lnTo>
                    <a:pt x="67" y="4450"/>
                  </a:lnTo>
                  <a:lnTo>
                    <a:pt x="48" y="4486"/>
                  </a:lnTo>
                  <a:lnTo>
                    <a:pt x="15" y="4563"/>
                  </a:lnTo>
                  <a:lnTo>
                    <a:pt x="2" y="4602"/>
                  </a:lnTo>
                  <a:lnTo>
                    <a:pt x="0" y="4612"/>
                  </a:lnTo>
                  <a:lnTo>
                    <a:pt x="7" y="4628"/>
                  </a:lnTo>
                  <a:lnTo>
                    <a:pt x="23" y="4638"/>
                  </a:lnTo>
                  <a:lnTo>
                    <a:pt x="41" y="4637"/>
                  </a:lnTo>
                  <a:lnTo>
                    <a:pt x="49" y="4632"/>
                  </a:lnTo>
                  <a:lnTo>
                    <a:pt x="63" y="4637"/>
                  </a:lnTo>
                  <a:lnTo>
                    <a:pt x="92" y="4637"/>
                  </a:lnTo>
                  <a:lnTo>
                    <a:pt x="136" y="4622"/>
                  </a:lnTo>
                  <a:lnTo>
                    <a:pt x="164" y="4612"/>
                  </a:lnTo>
                  <a:lnTo>
                    <a:pt x="241" y="4587"/>
                  </a:lnTo>
                  <a:lnTo>
                    <a:pt x="317" y="4563"/>
                  </a:lnTo>
                  <a:lnTo>
                    <a:pt x="326" y="4559"/>
                  </a:lnTo>
                  <a:lnTo>
                    <a:pt x="339" y="4547"/>
                  </a:lnTo>
                  <a:lnTo>
                    <a:pt x="347" y="4530"/>
                  </a:lnTo>
                  <a:lnTo>
                    <a:pt x="346" y="4512"/>
                  </a:lnTo>
                  <a:lnTo>
                    <a:pt x="342" y="4503"/>
                  </a:lnTo>
                  <a:lnTo>
                    <a:pt x="320" y="4470"/>
                  </a:lnTo>
                  <a:lnTo>
                    <a:pt x="294" y="4438"/>
                  </a:lnTo>
                  <a:lnTo>
                    <a:pt x="374" y="4352"/>
                  </a:lnTo>
                  <a:lnTo>
                    <a:pt x="530" y="4173"/>
                  </a:lnTo>
                  <a:lnTo>
                    <a:pt x="680" y="3989"/>
                  </a:lnTo>
                  <a:lnTo>
                    <a:pt x="825" y="3799"/>
                  </a:lnTo>
                  <a:lnTo>
                    <a:pt x="964" y="3605"/>
                  </a:lnTo>
                  <a:lnTo>
                    <a:pt x="1096" y="3407"/>
                  </a:lnTo>
                  <a:lnTo>
                    <a:pt x="1222" y="3203"/>
                  </a:lnTo>
                  <a:lnTo>
                    <a:pt x="1343" y="2997"/>
                  </a:lnTo>
                  <a:lnTo>
                    <a:pt x="1455" y="2786"/>
                  </a:lnTo>
                  <a:lnTo>
                    <a:pt x="1563" y="2572"/>
                  </a:lnTo>
                  <a:lnTo>
                    <a:pt x="1664" y="2356"/>
                  </a:lnTo>
                  <a:lnTo>
                    <a:pt x="1757" y="2136"/>
                  </a:lnTo>
                  <a:lnTo>
                    <a:pt x="1844" y="1915"/>
                  </a:lnTo>
                  <a:lnTo>
                    <a:pt x="1924" y="1691"/>
                  </a:lnTo>
                  <a:lnTo>
                    <a:pt x="1998" y="1465"/>
                  </a:lnTo>
                  <a:lnTo>
                    <a:pt x="2064" y="1238"/>
                  </a:lnTo>
                  <a:lnTo>
                    <a:pt x="2094" y="1123"/>
                  </a:lnTo>
                  <a:lnTo>
                    <a:pt x="2129" y="987"/>
                  </a:lnTo>
                  <a:lnTo>
                    <a:pt x="2189" y="712"/>
                  </a:lnTo>
                  <a:lnTo>
                    <a:pt x="2237" y="436"/>
                  </a:lnTo>
                  <a:lnTo>
                    <a:pt x="2269" y="157"/>
                  </a:lnTo>
                  <a:lnTo>
                    <a:pt x="2278" y="16"/>
                  </a:lnTo>
                  <a:close/>
                </a:path>
              </a:pathLst>
            </a:custGeom>
            <a:solidFill>
              <a:srgbClr val="063951">
                <a:lumMod val="50000"/>
              </a:srgbClr>
            </a:solidFill>
            <a:ln w="9525">
              <a:noFill/>
              <a:round/>
              <a:headEnd/>
              <a:tailEnd/>
            </a:ln>
          </p:spPr>
          <p:txBody>
            <a:bodyPr vert="horz" wrap="square" lIns="68580" tIns="34290" rIns="68580" bIns="34290" numCol="1" anchor="t" anchorCtr="0" compatLnSpc="1">
              <a:prstTxWarp prst="textNoShape">
                <a:avLst/>
              </a:prstTxWarp>
            </a:bodyPr>
            <a:lstStyle/>
            <a:p>
              <a:pPr>
                <a:defRPr/>
              </a:pPr>
              <a:endParaRPr lang="es-MX" sz="1050" kern="0">
                <a:solidFill>
                  <a:prstClr val="black"/>
                </a:solidFill>
                <a:latin typeface="Calibri" panose="020F0502020204030204"/>
              </a:endParaRPr>
            </a:p>
          </p:txBody>
        </p:sp>
        <p:sp>
          <p:nvSpPr>
            <p:cNvPr id="47" name="Freeform 287">
              <a:extLst>
                <a:ext uri="{FF2B5EF4-FFF2-40B4-BE49-F238E27FC236}">
                  <a16:creationId xmlns:a16="http://schemas.microsoft.com/office/drawing/2014/main" id="{A8B41FC0-3DB6-4D56-968F-6220C0AD5DE8}"/>
                </a:ext>
              </a:extLst>
            </p:cNvPr>
            <p:cNvSpPr>
              <a:spLocks/>
            </p:cNvSpPr>
            <p:nvPr/>
          </p:nvSpPr>
          <p:spPr bwMode="auto">
            <a:xfrm>
              <a:off x="6498979" y="2842237"/>
              <a:ext cx="802902" cy="601845"/>
            </a:xfrm>
            <a:custGeom>
              <a:avLst/>
              <a:gdLst>
                <a:gd name="T0" fmla="*/ 2363 w 2429"/>
                <a:gd name="T1" fmla="*/ 15 h 1818"/>
                <a:gd name="T2" fmla="*/ 2259 w 2429"/>
                <a:gd name="T3" fmla="*/ 163 h 1818"/>
                <a:gd name="T4" fmla="*/ 2092 w 2429"/>
                <a:gd name="T5" fmla="*/ 372 h 1818"/>
                <a:gd name="T6" fmla="*/ 1976 w 2429"/>
                <a:gd name="T7" fmla="*/ 507 h 1818"/>
                <a:gd name="T8" fmla="*/ 1854 w 2429"/>
                <a:gd name="T9" fmla="*/ 636 h 1818"/>
                <a:gd name="T10" fmla="*/ 1725 w 2429"/>
                <a:gd name="T11" fmla="*/ 759 h 1818"/>
                <a:gd name="T12" fmla="*/ 1591 w 2429"/>
                <a:gd name="T13" fmla="*/ 877 h 1818"/>
                <a:gd name="T14" fmla="*/ 1451 w 2429"/>
                <a:gd name="T15" fmla="*/ 989 h 1818"/>
                <a:gd name="T16" fmla="*/ 1378 w 2429"/>
                <a:gd name="T17" fmla="*/ 1042 h 1818"/>
                <a:gd name="T18" fmla="*/ 1261 w 2429"/>
                <a:gd name="T19" fmla="*/ 1124 h 1818"/>
                <a:gd name="T20" fmla="*/ 1018 w 2429"/>
                <a:gd name="T21" fmla="*/ 1270 h 1818"/>
                <a:gd name="T22" fmla="*/ 766 w 2429"/>
                <a:gd name="T23" fmla="*/ 1398 h 1818"/>
                <a:gd name="T24" fmla="*/ 507 w 2429"/>
                <a:gd name="T25" fmla="*/ 1511 h 1818"/>
                <a:gd name="T26" fmla="*/ 375 w 2429"/>
                <a:gd name="T27" fmla="*/ 1560 h 1818"/>
                <a:gd name="T28" fmla="*/ 355 w 2429"/>
                <a:gd name="T29" fmla="*/ 1521 h 1818"/>
                <a:gd name="T30" fmla="*/ 336 w 2429"/>
                <a:gd name="T31" fmla="*/ 1481 h 1818"/>
                <a:gd name="T32" fmla="*/ 327 w 2429"/>
                <a:gd name="T33" fmla="*/ 1467 h 1818"/>
                <a:gd name="T34" fmla="*/ 302 w 2429"/>
                <a:gd name="T35" fmla="*/ 1459 h 1818"/>
                <a:gd name="T36" fmla="*/ 278 w 2429"/>
                <a:gd name="T37" fmla="*/ 1471 h 1818"/>
                <a:gd name="T38" fmla="*/ 263 w 2429"/>
                <a:gd name="T39" fmla="*/ 1494 h 1818"/>
                <a:gd name="T40" fmla="*/ 263 w 2429"/>
                <a:gd name="T41" fmla="*/ 1510 h 1818"/>
                <a:gd name="T42" fmla="*/ 144 w 2429"/>
                <a:gd name="T43" fmla="*/ 1590 h 1818"/>
                <a:gd name="T44" fmla="*/ 20 w 2429"/>
                <a:gd name="T45" fmla="*/ 1663 h 1818"/>
                <a:gd name="T46" fmla="*/ 11 w 2429"/>
                <a:gd name="T47" fmla="*/ 1669 h 1818"/>
                <a:gd name="T48" fmla="*/ 1 w 2429"/>
                <a:gd name="T49" fmla="*/ 1689 h 1818"/>
                <a:gd name="T50" fmla="*/ 0 w 2429"/>
                <a:gd name="T51" fmla="*/ 1709 h 1818"/>
                <a:gd name="T52" fmla="*/ 11 w 2429"/>
                <a:gd name="T53" fmla="*/ 1728 h 1818"/>
                <a:gd name="T54" fmla="*/ 20 w 2429"/>
                <a:gd name="T55" fmla="*/ 1734 h 1818"/>
                <a:gd name="T56" fmla="*/ 69 w 2429"/>
                <a:gd name="T57" fmla="*/ 1755 h 1818"/>
                <a:gd name="T58" fmla="*/ 170 w 2429"/>
                <a:gd name="T59" fmla="*/ 1788 h 1818"/>
                <a:gd name="T60" fmla="*/ 272 w 2429"/>
                <a:gd name="T61" fmla="*/ 1809 h 1818"/>
                <a:gd name="T62" fmla="*/ 377 w 2429"/>
                <a:gd name="T63" fmla="*/ 1818 h 1818"/>
                <a:gd name="T64" fmla="*/ 432 w 2429"/>
                <a:gd name="T65" fmla="*/ 1817 h 1818"/>
                <a:gd name="T66" fmla="*/ 443 w 2429"/>
                <a:gd name="T67" fmla="*/ 1816 h 1818"/>
                <a:gd name="T68" fmla="*/ 460 w 2429"/>
                <a:gd name="T69" fmla="*/ 1805 h 1818"/>
                <a:gd name="T70" fmla="*/ 471 w 2429"/>
                <a:gd name="T71" fmla="*/ 1787 h 1818"/>
                <a:gd name="T72" fmla="*/ 471 w 2429"/>
                <a:gd name="T73" fmla="*/ 1766 h 1818"/>
                <a:gd name="T74" fmla="*/ 467 w 2429"/>
                <a:gd name="T75" fmla="*/ 1756 h 1818"/>
                <a:gd name="T76" fmla="*/ 436 w 2429"/>
                <a:gd name="T77" fmla="*/ 1690 h 1818"/>
                <a:gd name="T78" fmla="*/ 405 w 2429"/>
                <a:gd name="T79" fmla="*/ 1624 h 1818"/>
                <a:gd name="T80" fmla="*/ 481 w 2429"/>
                <a:gd name="T81" fmla="*/ 1599 h 1818"/>
                <a:gd name="T82" fmla="*/ 633 w 2429"/>
                <a:gd name="T83" fmla="*/ 1543 h 1818"/>
                <a:gd name="T84" fmla="*/ 783 w 2429"/>
                <a:gd name="T85" fmla="*/ 1481 h 1818"/>
                <a:gd name="T86" fmla="*/ 931 w 2429"/>
                <a:gd name="T87" fmla="*/ 1410 h 1818"/>
                <a:gd name="T88" fmla="*/ 1076 w 2429"/>
                <a:gd name="T89" fmla="*/ 1334 h 1818"/>
                <a:gd name="T90" fmla="*/ 1217 w 2429"/>
                <a:gd name="T91" fmla="*/ 1249 h 1818"/>
                <a:gd name="T92" fmla="*/ 1356 w 2429"/>
                <a:gd name="T93" fmla="*/ 1160 h 1818"/>
                <a:gd name="T94" fmla="*/ 1491 w 2429"/>
                <a:gd name="T95" fmla="*/ 1064 h 1818"/>
                <a:gd name="T96" fmla="*/ 1620 w 2429"/>
                <a:gd name="T97" fmla="*/ 962 h 1818"/>
                <a:gd name="T98" fmla="*/ 1746 w 2429"/>
                <a:gd name="T99" fmla="*/ 855 h 1818"/>
                <a:gd name="T100" fmla="*/ 1867 w 2429"/>
                <a:gd name="T101" fmla="*/ 744 h 1818"/>
                <a:gd name="T102" fmla="*/ 1982 w 2429"/>
                <a:gd name="T103" fmla="*/ 626 h 1818"/>
                <a:gd name="T104" fmla="*/ 2091 w 2429"/>
                <a:gd name="T105" fmla="*/ 505 h 1818"/>
                <a:gd name="T106" fmla="*/ 2195 w 2429"/>
                <a:gd name="T107" fmla="*/ 380 h 1818"/>
                <a:gd name="T108" fmla="*/ 2290 w 2429"/>
                <a:gd name="T109" fmla="*/ 251 h 1818"/>
                <a:gd name="T110" fmla="*/ 2380 w 2429"/>
                <a:gd name="T111" fmla="*/ 118 h 1818"/>
                <a:gd name="T112" fmla="*/ 2423 w 2429"/>
                <a:gd name="T113" fmla="*/ 50 h 1818"/>
                <a:gd name="T114" fmla="*/ 2429 w 2429"/>
                <a:gd name="T115" fmla="*/ 36 h 1818"/>
                <a:gd name="T116" fmla="*/ 2421 w 2429"/>
                <a:gd name="T117" fmla="*/ 13 h 1818"/>
                <a:gd name="T118" fmla="*/ 2399 w 2429"/>
                <a:gd name="T119" fmla="*/ 0 h 1818"/>
                <a:gd name="T120" fmla="*/ 2373 w 2429"/>
                <a:gd name="T121" fmla="*/ 5 h 1818"/>
                <a:gd name="T122" fmla="*/ 2363 w 2429"/>
                <a:gd name="T123" fmla="*/ 15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29" h="1818">
                  <a:moveTo>
                    <a:pt x="2363" y="15"/>
                  </a:moveTo>
                  <a:lnTo>
                    <a:pt x="2259" y="163"/>
                  </a:lnTo>
                  <a:lnTo>
                    <a:pt x="2092" y="372"/>
                  </a:lnTo>
                  <a:lnTo>
                    <a:pt x="1976" y="507"/>
                  </a:lnTo>
                  <a:lnTo>
                    <a:pt x="1854" y="636"/>
                  </a:lnTo>
                  <a:lnTo>
                    <a:pt x="1725" y="759"/>
                  </a:lnTo>
                  <a:lnTo>
                    <a:pt x="1591" y="877"/>
                  </a:lnTo>
                  <a:lnTo>
                    <a:pt x="1451" y="989"/>
                  </a:lnTo>
                  <a:lnTo>
                    <a:pt x="1378" y="1042"/>
                  </a:lnTo>
                  <a:lnTo>
                    <a:pt x="1261" y="1124"/>
                  </a:lnTo>
                  <a:lnTo>
                    <a:pt x="1018" y="1270"/>
                  </a:lnTo>
                  <a:lnTo>
                    <a:pt x="766" y="1398"/>
                  </a:lnTo>
                  <a:lnTo>
                    <a:pt x="507" y="1511"/>
                  </a:lnTo>
                  <a:lnTo>
                    <a:pt x="375" y="1560"/>
                  </a:lnTo>
                  <a:lnTo>
                    <a:pt x="355" y="1521"/>
                  </a:lnTo>
                  <a:lnTo>
                    <a:pt x="336" y="1481"/>
                  </a:lnTo>
                  <a:lnTo>
                    <a:pt x="327" y="1467"/>
                  </a:lnTo>
                  <a:lnTo>
                    <a:pt x="302" y="1459"/>
                  </a:lnTo>
                  <a:lnTo>
                    <a:pt x="278" y="1471"/>
                  </a:lnTo>
                  <a:lnTo>
                    <a:pt x="263" y="1494"/>
                  </a:lnTo>
                  <a:lnTo>
                    <a:pt x="263" y="1510"/>
                  </a:lnTo>
                  <a:lnTo>
                    <a:pt x="144" y="1590"/>
                  </a:lnTo>
                  <a:lnTo>
                    <a:pt x="20" y="1663"/>
                  </a:lnTo>
                  <a:lnTo>
                    <a:pt x="11" y="1669"/>
                  </a:lnTo>
                  <a:lnTo>
                    <a:pt x="1" y="1689"/>
                  </a:lnTo>
                  <a:lnTo>
                    <a:pt x="0" y="1709"/>
                  </a:lnTo>
                  <a:lnTo>
                    <a:pt x="11" y="1728"/>
                  </a:lnTo>
                  <a:lnTo>
                    <a:pt x="20" y="1734"/>
                  </a:lnTo>
                  <a:lnTo>
                    <a:pt x="69" y="1755"/>
                  </a:lnTo>
                  <a:lnTo>
                    <a:pt x="170" y="1788"/>
                  </a:lnTo>
                  <a:lnTo>
                    <a:pt x="272" y="1809"/>
                  </a:lnTo>
                  <a:lnTo>
                    <a:pt x="377" y="1818"/>
                  </a:lnTo>
                  <a:lnTo>
                    <a:pt x="432" y="1817"/>
                  </a:lnTo>
                  <a:lnTo>
                    <a:pt x="443" y="1816"/>
                  </a:lnTo>
                  <a:lnTo>
                    <a:pt x="460" y="1805"/>
                  </a:lnTo>
                  <a:lnTo>
                    <a:pt x="471" y="1787"/>
                  </a:lnTo>
                  <a:lnTo>
                    <a:pt x="471" y="1766"/>
                  </a:lnTo>
                  <a:lnTo>
                    <a:pt x="467" y="1756"/>
                  </a:lnTo>
                  <a:lnTo>
                    <a:pt x="436" y="1690"/>
                  </a:lnTo>
                  <a:lnTo>
                    <a:pt x="405" y="1624"/>
                  </a:lnTo>
                  <a:lnTo>
                    <a:pt x="481" y="1599"/>
                  </a:lnTo>
                  <a:lnTo>
                    <a:pt x="633" y="1543"/>
                  </a:lnTo>
                  <a:lnTo>
                    <a:pt x="783" y="1481"/>
                  </a:lnTo>
                  <a:lnTo>
                    <a:pt x="931" y="1410"/>
                  </a:lnTo>
                  <a:lnTo>
                    <a:pt x="1076" y="1334"/>
                  </a:lnTo>
                  <a:lnTo>
                    <a:pt x="1217" y="1249"/>
                  </a:lnTo>
                  <a:lnTo>
                    <a:pt x="1356" y="1160"/>
                  </a:lnTo>
                  <a:lnTo>
                    <a:pt x="1491" y="1064"/>
                  </a:lnTo>
                  <a:lnTo>
                    <a:pt x="1620" y="962"/>
                  </a:lnTo>
                  <a:lnTo>
                    <a:pt x="1746" y="855"/>
                  </a:lnTo>
                  <a:lnTo>
                    <a:pt x="1867" y="744"/>
                  </a:lnTo>
                  <a:lnTo>
                    <a:pt x="1982" y="626"/>
                  </a:lnTo>
                  <a:lnTo>
                    <a:pt x="2091" y="505"/>
                  </a:lnTo>
                  <a:lnTo>
                    <a:pt x="2195" y="380"/>
                  </a:lnTo>
                  <a:lnTo>
                    <a:pt x="2290" y="251"/>
                  </a:lnTo>
                  <a:lnTo>
                    <a:pt x="2380" y="118"/>
                  </a:lnTo>
                  <a:lnTo>
                    <a:pt x="2423" y="50"/>
                  </a:lnTo>
                  <a:lnTo>
                    <a:pt x="2429" y="36"/>
                  </a:lnTo>
                  <a:lnTo>
                    <a:pt x="2421" y="13"/>
                  </a:lnTo>
                  <a:lnTo>
                    <a:pt x="2399" y="0"/>
                  </a:lnTo>
                  <a:lnTo>
                    <a:pt x="2373" y="5"/>
                  </a:lnTo>
                  <a:lnTo>
                    <a:pt x="2363" y="15"/>
                  </a:lnTo>
                </a:path>
              </a:pathLst>
            </a:custGeom>
            <a:solidFill>
              <a:srgbClr val="063951">
                <a:lumMod val="50000"/>
              </a:srgbClr>
            </a:solidFill>
            <a:ln w="9525">
              <a:noFill/>
              <a:round/>
              <a:headEnd/>
              <a:tailEnd/>
            </a:ln>
          </p:spPr>
          <p:txBody>
            <a:bodyPr vert="horz" wrap="square" lIns="68580" tIns="34290" rIns="68580" bIns="34290" numCol="1" anchor="t" anchorCtr="0" compatLnSpc="1">
              <a:prstTxWarp prst="textNoShape">
                <a:avLst/>
              </a:prstTxWarp>
            </a:bodyPr>
            <a:lstStyle/>
            <a:p>
              <a:pPr>
                <a:defRPr/>
              </a:pPr>
              <a:endParaRPr lang="es-MX" sz="1050" kern="0">
                <a:solidFill>
                  <a:prstClr val="black"/>
                </a:solidFill>
                <a:latin typeface="Calibri" panose="020F0502020204030204"/>
              </a:endParaRPr>
            </a:p>
          </p:txBody>
        </p:sp>
        <p:sp>
          <p:nvSpPr>
            <p:cNvPr id="48" name="Freeform 288">
              <a:extLst>
                <a:ext uri="{FF2B5EF4-FFF2-40B4-BE49-F238E27FC236}">
                  <a16:creationId xmlns:a16="http://schemas.microsoft.com/office/drawing/2014/main" id="{FCF1B16C-757C-48B2-BF9B-38D97FF9FE38}"/>
                </a:ext>
              </a:extLst>
            </p:cNvPr>
            <p:cNvSpPr>
              <a:spLocks/>
            </p:cNvSpPr>
            <p:nvPr/>
          </p:nvSpPr>
          <p:spPr bwMode="auto">
            <a:xfrm rot="1326470">
              <a:off x="6436831" y="3832304"/>
              <a:ext cx="552259" cy="111643"/>
            </a:xfrm>
            <a:custGeom>
              <a:avLst/>
              <a:gdLst>
                <a:gd name="T0" fmla="*/ 1453 w 1482"/>
                <a:gd name="T1" fmla="*/ 0 h 302"/>
                <a:gd name="T2" fmla="*/ 1285 w 1482"/>
                <a:gd name="T3" fmla="*/ 34 h 302"/>
                <a:gd name="T4" fmla="*/ 1033 w 1482"/>
                <a:gd name="T5" fmla="*/ 85 h 302"/>
                <a:gd name="T6" fmla="*/ 865 w 1482"/>
                <a:gd name="T7" fmla="*/ 114 h 302"/>
                <a:gd name="T8" fmla="*/ 779 w 1482"/>
                <a:gd name="T9" fmla="*/ 124 h 302"/>
                <a:gd name="T10" fmla="*/ 658 w 1482"/>
                <a:gd name="T11" fmla="*/ 136 h 302"/>
                <a:gd name="T12" fmla="*/ 415 w 1482"/>
                <a:gd name="T13" fmla="*/ 144 h 302"/>
                <a:gd name="T14" fmla="*/ 293 w 1482"/>
                <a:gd name="T15" fmla="*/ 146 h 302"/>
                <a:gd name="T16" fmla="*/ 296 w 1482"/>
                <a:gd name="T17" fmla="*/ 115 h 302"/>
                <a:gd name="T18" fmla="*/ 297 w 1482"/>
                <a:gd name="T19" fmla="*/ 84 h 302"/>
                <a:gd name="T20" fmla="*/ 297 w 1482"/>
                <a:gd name="T21" fmla="*/ 74 h 302"/>
                <a:gd name="T22" fmla="*/ 289 w 1482"/>
                <a:gd name="T23" fmla="*/ 58 h 302"/>
                <a:gd name="T24" fmla="*/ 277 w 1482"/>
                <a:gd name="T25" fmla="*/ 49 h 302"/>
                <a:gd name="T26" fmla="*/ 260 w 1482"/>
                <a:gd name="T27" fmla="*/ 46 h 302"/>
                <a:gd name="T28" fmla="*/ 251 w 1482"/>
                <a:gd name="T29" fmla="*/ 48 h 302"/>
                <a:gd name="T30" fmla="*/ 226 w 1482"/>
                <a:gd name="T31" fmla="*/ 48 h 302"/>
                <a:gd name="T32" fmla="*/ 175 w 1482"/>
                <a:gd name="T33" fmla="*/ 61 h 302"/>
                <a:gd name="T34" fmla="*/ 153 w 1482"/>
                <a:gd name="T35" fmla="*/ 69 h 302"/>
                <a:gd name="T36" fmla="*/ 83 w 1482"/>
                <a:gd name="T37" fmla="*/ 91 h 302"/>
                <a:gd name="T38" fmla="*/ 15 w 1482"/>
                <a:gd name="T39" fmla="*/ 119 h 302"/>
                <a:gd name="T40" fmla="*/ 4 w 1482"/>
                <a:gd name="T41" fmla="*/ 127 h 302"/>
                <a:gd name="T42" fmla="*/ 0 w 1482"/>
                <a:gd name="T43" fmla="*/ 149 h 302"/>
                <a:gd name="T44" fmla="*/ 4 w 1482"/>
                <a:gd name="T45" fmla="*/ 159 h 302"/>
                <a:gd name="T46" fmla="*/ 2 w 1482"/>
                <a:gd name="T47" fmla="*/ 168 h 302"/>
                <a:gd name="T48" fmla="*/ 7 w 1482"/>
                <a:gd name="T49" fmla="*/ 185 h 302"/>
                <a:gd name="T50" fmla="*/ 15 w 1482"/>
                <a:gd name="T51" fmla="*/ 192 h 302"/>
                <a:gd name="T52" fmla="*/ 121 w 1482"/>
                <a:gd name="T53" fmla="*/ 245 h 302"/>
                <a:gd name="T54" fmla="*/ 229 w 1482"/>
                <a:gd name="T55" fmla="*/ 297 h 302"/>
                <a:gd name="T56" fmla="*/ 238 w 1482"/>
                <a:gd name="T57" fmla="*/ 302 h 302"/>
                <a:gd name="T58" fmla="*/ 257 w 1482"/>
                <a:gd name="T59" fmla="*/ 301 h 302"/>
                <a:gd name="T60" fmla="*/ 273 w 1482"/>
                <a:gd name="T61" fmla="*/ 291 h 302"/>
                <a:gd name="T62" fmla="*/ 283 w 1482"/>
                <a:gd name="T63" fmla="*/ 275 h 302"/>
                <a:gd name="T64" fmla="*/ 284 w 1482"/>
                <a:gd name="T65" fmla="*/ 264 h 302"/>
                <a:gd name="T66" fmla="*/ 286 w 1482"/>
                <a:gd name="T67" fmla="*/ 250 h 302"/>
                <a:gd name="T68" fmla="*/ 287 w 1482"/>
                <a:gd name="T69" fmla="*/ 234 h 302"/>
                <a:gd name="T70" fmla="*/ 352 w 1482"/>
                <a:gd name="T71" fmla="*/ 236 h 302"/>
                <a:gd name="T72" fmla="*/ 481 w 1482"/>
                <a:gd name="T73" fmla="*/ 233 h 302"/>
                <a:gd name="T74" fmla="*/ 674 w 1482"/>
                <a:gd name="T75" fmla="*/ 218 h 302"/>
                <a:gd name="T76" fmla="*/ 800 w 1482"/>
                <a:gd name="T77" fmla="*/ 203 h 302"/>
                <a:gd name="T78" fmla="*/ 884 w 1482"/>
                <a:gd name="T79" fmla="*/ 192 h 302"/>
                <a:gd name="T80" fmla="*/ 1054 w 1482"/>
                <a:gd name="T81" fmla="*/ 164 h 302"/>
                <a:gd name="T82" fmla="*/ 1223 w 1482"/>
                <a:gd name="T83" fmla="*/ 127 h 302"/>
                <a:gd name="T84" fmla="*/ 1386 w 1482"/>
                <a:gd name="T85" fmla="*/ 76 h 302"/>
                <a:gd name="T86" fmla="*/ 1466 w 1482"/>
                <a:gd name="T87" fmla="*/ 45 h 302"/>
                <a:gd name="T88" fmla="*/ 1475 w 1482"/>
                <a:gd name="T89" fmla="*/ 40 h 302"/>
                <a:gd name="T90" fmla="*/ 1482 w 1482"/>
                <a:gd name="T91" fmla="*/ 24 h 302"/>
                <a:gd name="T92" fmla="*/ 1478 w 1482"/>
                <a:gd name="T93" fmla="*/ 9 h 302"/>
                <a:gd name="T94" fmla="*/ 1464 w 1482"/>
                <a:gd name="T95" fmla="*/ 0 h 302"/>
                <a:gd name="T96" fmla="*/ 1453 w 1482"/>
                <a:gd name="T97"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2" h="302">
                  <a:moveTo>
                    <a:pt x="1453" y="0"/>
                  </a:moveTo>
                  <a:lnTo>
                    <a:pt x="1285" y="34"/>
                  </a:lnTo>
                  <a:lnTo>
                    <a:pt x="1033" y="85"/>
                  </a:lnTo>
                  <a:lnTo>
                    <a:pt x="865" y="114"/>
                  </a:lnTo>
                  <a:lnTo>
                    <a:pt x="779" y="124"/>
                  </a:lnTo>
                  <a:lnTo>
                    <a:pt x="658" y="136"/>
                  </a:lnTo>
                  <a:lnTo>
                    <a:pt x="415" y="144"/>
                  </a:lnTo>
                  <a:lnTo>
                    <a:pt x="293" y="146"/>
                  </a:lnTo>
                  <a:lnTo>
                    <a:pt x="296" y="115"/>
                  </a:lnTo>
                  <a:lnTo>
                    <a:pt x="297" y="84"/>
                  </a:lnTo>
                  <a:lnTo>
                    <a:pt x="297" y="74"/>
                  </a:lnTo>
                  <a:lnTo>
                    <a:pt x="289" y="58"/>
                  </a:lnTo>
                  <a:lnTo>
                    <a:pt x="277" y="49"/>
                  </a:lnTo>
                  <a:lnTo>
                    <a:pt x="260" y="46"/>
                  </a:lnTo>
                  <a:lnTo>
                    <a:pt x="251" y="48"/>
                  </a:lnTo>
                  <a:lnTo>
                    <a:pt x="226" y="48"/>
                  </a:lnTo>
                  <a:lnTo>
                    <a:pt x="175" y="61"/>
                  </a:lnTo>
                  <a:lnTo>
                    <a:pt x="153" y="69"/>
                  </a:lnTo>
                  <a:lnTo>
                    <a:pt x="83" y="91"/>
                  </a:lnTo>
                  <a:lnTo>
                    <a:pt x="15" y="119"/>
                  </a:lnTo>
                  <a:lnTo>
                    <a:pt x="4" y="127"/>
                  </a:lnTo>
                  <a:lnTo>
                    <a:pt x="0" y="149"/>
                  </a:lnTo>
                  <a:lnTo>
                    <a:pt x="4" y="159"/>
                  </a:lnTo>
                  <a:lnTo>
                    <a:pt x="2" y="168"/>
                  </a:lnTo>
                  <a:lnTo>
                    <a:pt x="7" y="185"/>
                  </a:lnTo>
                  <a:lnTo>
                    <a:pt x="15" y="192"/>
                  </a:lnTo>
                  <a:lnTo>
                    <a:pt x="121" y="245"/>
                  </a:lnTo>
                  <a:lnTo>
                    <a:pt x="229" y="297"/>
                  </a:lnTo>
                  <a:lnTo>
                    <a:pt x="238" y="302"/>
                  </a:lnTo>
                  <a:lnTo>
                    <a:pt x="257" y="301"/>
                  </a:lnTo>
                  <a:lnTo>
                    <a:pt x="273" y="291"/>
                  </a:lnTo>
                  <a:lnTo>
                    <a:pt x="283" y="275"/>
                  </a:lnTo>
                  <a:lnTo>
                    <a:pt x="284" y="264"/>
                  </a:lnTo>
                  <a:lnTo>
                    <a:pt x="286" y="250"/>
                  </a:lnTo>
                  <a:lnTo>
                    <a:pt x="287" y="234"/>
                  </a:lnTo>
                  <a:lnTo>
                    <a:pt x="352" y="236"/>
                  </a:lnTo>
                  <a:lnTo>
                    <a:pt x="481" y="233"/>
                  </a:lnTo>
                  <a:lnTo>
                    <a:pt x="674" y="218"/>
                  </a:lnTo>
                  <a:lnTo>
                    <a:pt x="800" y="203"/>
                  </a:lnTo>
                  <a:lnTo>
                    <a:pt x="884" y="192"/>
                  </a:lnTo>
                  <a:lnTo>
                    <a:pt x="1054" y="164"/>
                  </a:lnTo>
                  <a:lnTo>
                    <a:pt x="1223" y="127"/>
                  </a:lnTo>
                  <a:lnTo>
                    <a:pt x="1386" y="76"/>
                  </a:lnTo>
                  <a:lnTo>
                    <a:pt x="1466" y="45"/>
                  </a:lnTo>
                  <a:lnTo>
                    <a:pt x="1475" y="40"/>
                  </a:lnTo>
                  <a:lnTo>
                    <a:pt x="1482" y="24"/>
                  </a:lnTo>
                  <a:lnTo>
                    <a:pt x="1478" y="9"/>
                  </a:lnTo>
                  <a:lnTo>
                    <a:pt x="1464" y="0"/>
                  </a:lnTo>
                  <a:lnTo>
                    <a:pt x="1453" y="0"/>
                  </a:lnTo>
                  <a:close/>
                </a:path>
              </a:pathLst>
            </a:custGeom>
            <a:solidFill>
              <a:srgbClr val="063951">
                <a:lumMod val="50000"/>
              </a:srgbClr>
            </a:solidFill>
            <a:ln w="9525">
              <a:noFill/>
              <a:round/>
              <a:headEnd/>
              <a:tailEnd/>
            </a:ln>
          </p:spPr>
          <p:txBody>
            <a:bodyPr vert="horz" wrap="square" lIns="68580" tIns="34290" rIns="68580" bIns="34290" numCol="1" anchor="t" anchorCtr="0" compatLnSpc="1">
              <a:prstTxWarp prst="textNoShape">
                <a:avLst/>
              </a:prstTxWarp>
            </a:bodyPr>
            <a:lstStyle/>
            <a:p>
              <a:pPr>
                <a:defRPr/>
              </a:pPr>
              <a:endParaRPr lang="es-MX" sz="1050" kern="0">
                <a:solidFill>
                  <a:prstClr val="black"/>
                </a:solidFill>
                <a:latin typeface="Calibri" panose="020F0502020204030204"/>
              </a:endParaRPr>
            </a:p>
          </p:txBody>
        </p:sp>
        <p:sp>
          <p:nvSpPr>
            <p:cNvPr id="49" name="Freeform 295">
              <a:extLst>
                <a:ext uri="{FF2B5EF4-FFF2-40B4-BE49-F238E27FC236}">
                  <a16:creationId xmlns:a16="http://schemas.microsoft.com/office/drawing/2014/main" id="{F8BDDBC0-5673-47A9-9667-53AD2D162B4B}"/>
                </a:ext>
              </a:extLst>
            </p:cNvPr>
            <p:cNvSpPr>
              <a:spLocks/>
            </p:cNvSpPr>
            <p:nvPr/>
          </p:nvSpPr>
          <p:spPr bwMode="auto">
            <a:xfrm>
              <a:off x="4376750" y="4115219"/>
              <a:ext cx="483282" cy="316451"/>
            </a:xfrm>
            <a:custGeom>
              <a:avLst/>
              <a:gdLst>
                <a:gd name="T0" fmla="*/ 1392 w 1460"/>
                <a:gd name="T1" fmla="*/ 10 h 959"/>
                <a:gd name="T2" fmla="*/ 1384 w 1460"/>
                <a:gd name="T3" fmla="*/ 10 h 959"/>
                <a:gd name="T4" fmla="*/ 1377 w 1460"/>
                <a:gd name="T5" fmla="*/ 11 h 959"/>
                <a:gd name="T6" fmla="*/ 1370 w 1460"/>
                <a:gd name="T7" fmla="*/ 6 h 959"/>
                <a:gd name="T8" fmla="*/ 1359 w 1460"/>
                <a:gd name="T9" fmla="*/ 6 h 959"/>
                <a:gd name="T10" fmla="*/ 1233 w 1460"/>
                <a:gd name="T11" fmla="*/ 23 h 959"/>
                <a:gd name="T12" fmla="*/ 1109 w 1460"/>
                <a:gd name="T13" fmla="*/ 48 h 959"/>
                <a:gd name="T14" fmla="*/ 1100 w 1460"/>
                <a:gd name="T15" fmla="*/ 50 h 959"/>
                <a:gd name="T16" fmla="*/ 1086 w 1460"/>
                <a:gd name="T17" fmla="*/ 65 h 959"/>
                <a:gd name="T18" fmla="*/ 1078 w 1460"/>
                <a:gd name="T19" fmla="*/ 83 h 959"/>
                <a:gd name="T20" fmla="*/ 1079 w 1460"/>
                <a:gd name="T21" fmla="*/ 102 h 959"/>
                <a:gd name="T22" fmla="*/ 1083 w 1460"/>
                <a:gd name="T23" fmla="*/ 111 h 959"/>
                <a:gd name="T24" fmla="*/ 1106 w 1460"/>
                <a:gd name="T25" fmla="*/ 145 h 959"/>
                <a:gd name="T26" fmla="*/ 1130 w 1460"/>
                <a:gd name="T27" fmla="*/ 180 h 959"/>
                <a:gd name="T28" fmla="*/ 996 w 1460"/>
                <a:gd name="T29" fmla="*/ 282 h 959"/>
                <a:gd name="T30" fmla="*/ 723 w 1460"/>
                <a:gd name="T31" fmla="*/ 474 h 959"/>
                <a:gd name="T32" fmla="*/ 443 w 1460"/>
                <a:gd name="T33" fmla="*/ 656 h 959"/>
                <a:gd name="T34" fmla="*/ 156 w 1460"/>
                <a:gd name="T35" fmla="*/ 829 h 959"/>
                <a:gd name="T36" fmla="*/ 11 w 1460"/>
                <a:gd name="T37" fmla="*/ 915 h 959"/>
                <a:gd name="T38" fmla="*/ 2 w 1460"/>
                <a:gd name="T39" fmla="*/ 921 h 959"/>
                <a:gd name="T40" fmla="*/ 0 w 1460"/>
                <a:gd name="T41" fmla="*/ 938 h 959"/>
                <a:gd name="T42" fmla="*/ 7 w 1460"/>
                <a:gd name="T43" fmla="*/ 952 h 959"/>
                <a:gd name="T44" fmla="*/ 24 w 1460"/>
                <a:gd name="T45" fmla="*/ 959 h 959"/>
                <a:gd name="T46" fmla="*/ 34 w 1460"/>
                <a:gd name="T47" fmla="*/ 956 h 959"/>
                <a:gd name="T48" fmla="*/ 111 w 1460"/>
                <a:gd name="T49" fmla="*/ 923 h 959"/>
                <a:gd name="T50" fmla="*/ 263 w 1460"/>
                <a:gd name="T51" fmla="*/ 849 h 959"/>
                <a:gd name="T52" fmla="*/ 484 w 1460"/>
                <a:gd name="T53" fmla="*/ 728 h 959"/>
                <a:gd name="T54" fmla="*/ 769 w 1460"/>
                <a:gd name="T55" fmla="*/ 549 h 959"/>
                <a:gd name="T56" fmla="*/ 1044 w 1460"/>
                <a:gd name="T57" fmla="*/ 352 h 959"/>
                <a:gd name="T58" fmla="*/ 1176 w 1460"/>
                <a:gd name="T59" fmla="*/ 249 h 959"/>
                <a:gd name="T60" fmla="*/ 1182 w 1460"/>
                <a:gd name="T61" fmla="*/ 256 h 959"/>
                <a:gd name="T62" fmla="*/ 1185 w 1460"/>
                <a:gd name="T63" fmla="*/ 263 h 959"/>
                <a:gd name="T64" fmla="*/ 1201 w 1460"/>
                <a:gd name="T65" fmla="*/ 285 h 959"/>
                <a:gd name="T66" fmla="*/ 1231 w 1460"/>
                <a:gd name="T67" fmla="*/ 308 h 959"/>
                <a:gd name="T68" fmla="*/ 1254 w 1460"/>
                <a:gd name="T69" fmla="*/ 316 h 959"/>
                <a:gd name="T70" fmla="*/ 1268 w 1460"/>
                <a:gd name="T71" fmla="*/ 315 h 959"/>
                <a:gd name="T72" fmla="*/ 1284 w 1460"/>
                <a:gd name="T73" fmla="*/ 312 h 959"/>
                <a:gd name="T74" fmla="*/ 1310 w 1460"/>
                <a:gd name="T75" fmla="*/ 295 h 959"/>
                <a:gd name="T76" fmla="*/ 1340 w 1460"/>
                <a:gd name="T77" fmla="*/ 259 h 959"/>
                <a:gd name="T78" fmla="*/ 1357 w 1460"/>
                <a:gd name="T79" fmla="*/ 233 h 959"/>
                <a:gd name="T80" fmla="*/ 1384 w 1460"/>
                <a:gd name="T81" fmla="*/ 192 h 959"/>
                <a:gd name="T82" fmla="*/ 1433 w 1460"/>
                <a:gd name="T83" fmla="*/ 103 h 959"/>
                <a:gd name="T84" fmla="*/ 1455 w 1460"/>
                <a:gd name="T85" fmla="*/ 59 h 959"/>
                <a:gd name="T86" fmla="*/ 1460 w 1460"/>
                <a:gd name="T87" fmla="*/ 43 h 959"/>
                <a:gd name="T88" fmla="*/ 1451 w 1460"/>
                <a:gd name="T89" fmla="*/ 17 h 959"/>
                <a:gd name="T90" fmla="*/ 1429 w 1460"/>
                <a:gd name="T91" fmla="*/ 0 h 959"/>
                <a:gd name="T92" fmla="*/ 1403 w 1460"/>
                <a:gd name="T93" fmla="*/ 0 h 959"/>
                <a:gd name="T94" fmla="*/ 1392 w 1460"/>
                <a:gd name="T95" fmla="*/ 10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60" h="959">
                  <a:moveTo>
                    <a:pt x="1392" y="10"/>
                  </a:moveTo>
                  <a:lnTo>
                    <a:pt x="1384" y="10"/>
                  </a:lnTo>
                  <a:lnTo>
                    <a:pt x="1377" y="11"/>
                  </a:lnTo>
                  <a:lnTo>
                    <a:pt x="1370" y="6"/>
                  </a:lnTo>
                  <a:lnTo>
                    <a:pt x="1359" y="6"/>
                  </a:lnTo>
                  <a:lnTo>
                    <a:pt x="1233" y="23"/>
                  </a:lnTo>
                  <a:lnTo>
                    <a:pt x="1109" y="48"/>
                  </a:lnTo>
                  <a:lnTo>
                    <a:pt x="1100" y="50"/>
                  </a:lnTo>
                  <a:lnTo>
                    <a:pt x="1086" y="65"/>
                  </a:lnTo>
                  <a:lnTo>
                    <a:pt x="1078" y="83"/>
                  </a:lnTo>
                  <a:lnTo>
                    <a:pt x="1079" y="102"/>
                  </a:lnTo>
                  <a:lnTo>
                    <a:pt x="1083" y="111"/>
                  </a:lnTo>
                  <a:lnTo>
                    <a:pt x="1106" y="145"/>
                  </a:lnTo>
                  <a:lnTo>
                    <a:pt x="1130" y="180"/>
                  </a:lnTo>
                  <a:lnTo>
                    <a:pt x="996" y="282"/>
                  </a:lnTo>
                  <a:lnTo>
                    <a:pt x="723" y="474"/>
                  </a:lnTo>
                  <a:lnTo>
                    <a:pt x="443" y="656"/>
                  </a:lnTo>
                  <a:lnTo>
                    <a:pt x="156" y="829"/>
                  </a:lnTo>
                  <a:lnTo>
                    <a:pt x="11" y="915"/>
                  </a:lnTo>
                  <a:lnTo>
                    <a:pt x="2" y="921"/>
                  </a:lnTo>
                  <a:lnTo>
                    <a:pt x="0" y="938"/>
                  </a:lnTo>
                  <a:lnTo>
                    <a:pt x="7" y="952"/>
                  </a:lnTo>
                  <a:lnTo>
                    <a:pt x="24" y="959"/>
                  </a:lnTo>
                  <a:lnTo>
                    <a:pt x="34" y="956"/>
                  </a:lnTo>
                  <a:lnTo>
                    <a:pt x="111" y="923"/>
                  </a:lnTo>
                  <a:lnTo>
                    <a:pt x="263" y="849"/>
                  </a:lnTo>
                  <a:lnTo>
                    <a:pt x="484" y="728"/>
                  </a:lnTo>
                  <a:lnTo>
                    <a:pt x="769" y="549"/>
                  </a:lnTo>
                  <a:lnTo>
                    <a:pt x="1044" y="352"/>
                  </a:lnTo>
                  <a:lnTo>
                    <a:pt x="1176" y="249"/>
                  </a:lnTo>
                  <a:lnTo>
                    <a:pt x="1182" y="256"/>
                  </a:lnTo>
                  <a:lnTo>
                    <a:pt x="1185" y="263"/>
                  </a:lnTo>
                  <a:lnTo>
                    <a:pt x="1201" y="285"/>
                  </a:lnTo>
                  <a:lnTo>
                    <a:pt x="1231" y="308"/>
                  </a:lnTo>
                  <a:lnTo>
                    <a:pt x="1254" y="316"/>
                  </a:lnTo>
                  <a:lnTo>
                    <a:pt x="1268" y="315"/>
                  </a:lnTo>
                  <a:lnTo>
                    <a:pt x="1284" y="312"/>
                  </a:lnTo>
                  <a:lnTo>
                    <a:pt x="1310" y="295"/>
                  </a:lnTo>
                  <a:lnTo>
                    <a:pt x="1340" y="259"/>
                  </a:lnTo>
                  <a:lnTo>
                    <a:pt x="1357" y="233"/>
                  </a:lnTo>
                  <a:lnTo>
                    <a:pt x="1384" y="192"/>
                  </a:lnTo>
                  <a:lnTo>
                    <a:pt x="1433" y="103"/>
                  </a:lnTo>
                  <a:lnTo>
                    <a:pt x="1455" y="59"/>
                  </a:lnTo>
                  <a:lnTo>
                    <a:pt x="1460" y="43"/>
                  </a:lnTo>
                  <a:lnTo>
                    <a:pt x="1451" y="17"/>
                  </a:lnTo>
                  <a:lnTo>
                    <a:pt x="1429" y="0"/>
                  </a:lnTo>
                  <a:lnTo>
                    <a:pt x="1403" y="0"/>
                  </a:lnTo>
                  <a:lnTo>
                    <a:pt x="1392" y="10"/>
                  </a:lnTo>
                  <a:close/>
                </a:path>
              </a:pathLst>
            </a:custGeom>
            <a:solidFill>
              <a:srgbClr val="063951">
                <a:lumMod val="50000"/>
              </a:srgbClr>
            </a:solidFill>
            <a:ln w="9525">
              <a:noFill/>
              <a:round/>
              <a:headEnd/>
              <a:tailEnd/>
            </a:ln>
          </p:spPr>
          <p:txBody>
            <a:bodyPr vert="horz" wrap="square" lIns="68580" tIns="34290" rIns="68580" bIns="34290" numCol="1" anchor="t" anchorCtr="0" compatLnSpc="1">
              <a:prstTxWarp prst="textNoShape">
                <a:avLst/>
              </a:prstTxWarp>
            </a:bodyPr>
            <a:lstStyle/>
            <a:p>
              <a:pPr>
                <a:defRPr/>
              </a:pPr>
              <a:endParaRPr lang="es-MX" sz="1050" kern="0">
                <a:solidFill>
                  <a:prstClr val="black"/>
                </a:solidFill>
                <a:latin typeface="Calibri" panose="020F0502020204030204"/>
              </a:endParaRPr>
            </a:p>
          </p:txBody>
        </p:sp>
        <p:sp>
          <p:nvSpPr>
            <p:cNvPr id="50" name="Freeform 296">
              <a:extLst>
                <a:ext uri="{FF2B5EF4-FFF2-40B4-BE49-F238E27FC236}">
                  <a16:creationId xmlns:a16="http://schemas.microsoft.com/office/drawing/2014/main" id="{74B3AB98-0C8C-4CA3-935B-703E7798AD1B}"/>
                </a:ext>
              </a:extLst>
            </p:cNvPr>
            <p:cNvSpPr>
              <a:spLocks/>
            </p:cNvSpPr>
            <p:nvPr/>
          </p:nvSpPr>
          <p:spPr bwMode="auto">
            <a:xfrm>
              <a:off x="4355976" y="3656151"/>
              <a:ext cx="632179" cy="71288"/>
            </a:xfrm>
            <a:custGeom>
              <a:avLst/>
              <a:gdLst>
                <a:gd name="T0" fmla="*/ 3764 w 3773"/>
                <a:gd name="T1" fmla="*/ 185 h 294"/>
                <a:gd name="T2" fmla="*/ 3769 w 3773"/>
                <a:gd name="T3" fmla="*/ 179 h 294"/>
                <a:gd name="T4" fmla="*/ 3773 w 3773"/>
                <a:gd name="T5" fmla="*/ 166 h 294"/>
                <a:gd name="T6" fmla="*/ 3765 w 3773"/>
                <a:gd name="T7" fmla="*/ 146 h 294"/>
                <a:gd name="T8" fmla="*/ 3752 w 3773"/>
                <a:gd name="T9" fmla="*/ 139 h 294"/>
                <a:gd name="T10" fmla="*/ 3756 w 3773"/>
                <a:gd name="T11" fmla="*/ 124 h 294"/>
                <a:gd name="T12" fmla="*/ 3749 w 3773"/>
                <a:gd name="T13" fmla="*/ 93 h 294"/>
                <a:gd name="T14" fmla="*/ 3733 w 3773"/>
                <a:gd name="T15" fmla="*/ 82 h 294"/>
                <a:gd name="T16" fmla="*/ 3686 w 3773"/>
                <a:gd name="T17" fmla="*/ 54 h 294"/>
                <a:gd name="T18" fmla="*/ 3587 w 3773"/>
                <a:gd name="T19" fmla="*/ 14 h 294"/>
                <a:gd name="T20" fmla="*/ 3535 w 3773"/>
                <a:gd name="T21" fmla="*/ 1 h 294"/>
                <a:gd name="T22" fmla="*/ 3523 w 3773"/>
                <a:gd name="T23" fmla="*/ 0 h 294"/>
                <a:gd name="T24" fmla="*/ 3502 w 3773"/>
                <a:gd name="T25" fmla="*/ 4 h 294"/>
                <a:gd name="T26" fmla="*/ 3485 w 3773"/>
                <a:gd name="T27" fmla="*/ 17 h 294"/>
                <a:gd name="T28" fmla="*/ 3475 w 3773"/>
                <a:gd name="T29" fmla="*/ 35 h 294"/>
                <a:gd name="T30" fmla="*/ 3474 w 3773"/>
                <a:gd name="T31" fmla="*/ 47 h 294"/>
                <a:gd name="T32" fmla="*/ 3474 w 3773"/>
                <a:gd name="T33" fmla="*/ 83 h 294"/>
                <a:gd name="T34" fmla="*/ 3474 w 3773"/>
                <a:gd name="T35" fmla="*/ 119 h 294"/>
                <a:gd name="T36" fmla="*/ 3073 w 3773"/>
                <a:gd name="T37" fmla="*/ 113 h 294"/>
                <a:gd name="T38" fmla="*/ 2272 w 3773"/>
                <a:gd name="T39" fmla="*/ 109 h 294"/>
                <a:gd name="T40" fmla="*/ 1870 w 3773"/>
                <a:gd name="T41" fmla="*/ 110 h 294"/>
                <a:gd name="T42" fmla="*/ 1410 w 3773"/>
                <a:gd name="T43" fmla="*/ 109 h 294"/>
                <a:gd name="T44" fmla="*/ 717 w 3773"/>
                <a:gd name="T45" fmla="*/ 114 h 294"/>
                <a:gd name="T46" fmla="*/ 255 w 3773"/>
                <a:gd name="T47" fmla="*/ 134 h 294"/>
                <a:gd name="T48" fmla="*/ 27 w 3773"/>
                <a:gd name="T49" fmla="*/ 153 h 294"/>
                <a:gd name="T50" fmla="*/ 14 w 3773"/>
                <a:gd name="T51" fmla="*/ 156 h 294"/>
                <a:gd name="T52" fmla="*/ 0 w 3773"/>
                <a:gd name="T53" fmla="*/ 172 h 294"/>
                <a:gd name="T54" fmla="*/ 0 w 3773"/>
                <a:gd name="T55" fmla="*/ 193 h 294"/>
                <a:gd name="T56" fmla="*/ 14 w 3773"/>
                <a:gd name="T57" fmla="*/ 210 h 294"/>
                <a:gd name="T58" fmla="*/ 27 w 3773"/>
                <a:gd name="T59" fmla="*/ 211 h 294"/>
                <a:gd name="T60" fmla="*/ 257 w 3773"/>
                <a:gd name="T61" fmla="*/ 219 h 294"/>
                <a:gd name="T62" fmla="*/ 718 w 3773"/>
                <a:gd name="T63" fmla="*/ 219 h 294"/>
                <a:gd name="T64" fmla="*/ 1410 w 3773"/>
                <a:gd name="T65" fmla="*/ 202 h 294"/>
                <a:gd name="T66" fmla="*/ 1870 w 3773"/>
                <a:gd name="T67" fmla="*/ 197 h 294"/>
                <a:gd name="T68" fmla="*/ 2272 w 3773"/>
                <a:gd name="T69" fmla="*/ 196 h 294"/>
                <a:gd name="T70" fmla="*/ 3073 w 3773"/>
                <a:gd name="T71" fmla="*/ 201 h 294"/>
                <a:gd name="T72" fmla="*/ 3475 w 3773"/>
                <a:gd name="T73" fmla="*/ 206 h 294"/>
                <a:gd name="T74" fmla="*/ 3475 w 3773"/>
                <a:gd name="T75" fmla="*/ 248 h 294"/>
                <a:gd name="T76" fmla="*/ 3475 w 3773"/>
                <a:gd name="T77" fmla="*/ 258 h 294"/>
                <a:gd name="T78" fmla="*/ 3485 w 3773"/>
                <a:gd name="T79" fmla="*/ 277 h 294"/>
                <a:gd name="T80" fmla="*/ 3502 w 3773"/>
                <a:gd name="T81" fmla="*/ 290 h 294"/>
                <a:gd name="T82" fmla="*/ 3523 w 3773"/>
                <a:gd name="T83" fmla="*/ 294 h 294"/>
                <a:gd name="T84" fmla="*/ 3533 w 3773"/>
                <a:gd name="T85" fmla="*/ 293 h 294"/>
                <a:gd name="T86" fmla="*/ 3584 w 3773"/>
                <a:gd name="T87" fmla="*/ 276 h 294"/>
                <a:gd name="T88" fmla="*/ 3686 w 3773"/>
                <a:gd name="T89" fmla="*/ 235 h 294"/>
                <a:gd name="T90" fmla="*/ 3733 w 3773"/>
                <a:gd name="T91" fmla="*/ 207 h 294"/>
                <a:gd name="T92" fmla="*/ 3739 w 3773"/>
                <a:gd name="T93" fmla="*/ 204 h 294"/>
                <a:gd name="T94" fmla="*/ 3745 w 3773"/>
                <a:gd name="T95" fmla="*/ 200 h 294"/>
                <a:gd name="T96" fmla="*/ 3754 w 3773"/>
                <a:gd name="T97" fmla="*/ 192 h 294"/>
                <a:gd name="T98" fmla="*/ 3764 w 3773"/>
                <a:gd name="T99" fmla="*/ 185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73" h="294">
                  <a:moveTo>
                    <a:pt x="3764" y="185"/>
                  </a:moveTo>
                  <a:lnTo>
                    <a:pt x="3769" y="179"/>
                  </a:lnTo>
                  <a:lnTo>
                    <a:pt x="3773" y="166"/>
                  </a:lnTo>
                  <a:lnTo>
                    <a:pt x="3765" y="146"/>
                  </a:lnTo>
                  <a:lnTo>
                    <a:pt x="3752" y="139"/>
                  </a:lnTo>
                  <a:lnTo>
                    <a:pt x="3756" y="124"/>
                  </a:lnTo>
                  <a:lnTo>
                    <a:pt x="3749" y="93"/>
                  </a:lnTo>
                  <a:lnTo>
                    <a:pt x="3733" y="82"/>
                  </a:lnTo>
                  <a:lnTo>
                    <a:pt x="3686" y="54"/>
                  </a:lnTo>
                  <a:lnTo>
                    <a:pt x="3587" y="14"/>
                  </a:lnTo>
                  <a:lnTo>
                    <a:pt x="3535" y="1"/>
                  </a:lnTo>
                  <a:lnTo>
                    <a:pt x="3523" y="0"/>
                  </a:lnTo>
                  <a:lnTo>
                    <a:pt x="3502" y="4"/>
                  </a:lnTo>
                  <a:lnTo>
                    <a:pt x="3485" y="17"/>
                  </a:lnTo>
                  <a:lnTo>
                    <a:pt x="3475" y="35"/>
                  </a:lnTo>
                  <a:lnTo>
                    <a:pt x="3474" y="47"/>
                  </a:lnTo>
                  <a:lnTo>
                    <a:pt x="3474" y="83"/>
                  </a:lnTo>
                  <a:lnTo>
                    <a:pt x="3474" y="119"/>
                  </a:lnTo>
                  <a:lnTo>
                    <a:pt x="3073" y="113"/>
                  </a:lnTo>
                  <a:lnTo>
                    <a:pt x="2272" y="109"/>
                  </a:lnTo>
                  <a:lnTo>
                    <a:pt x="1870" y="110"/>
                  </a:lnTo>
                  <a:lnTo>
                    <a:pt x="1410" y="109"/>
                  </a:lnTo>
                  <a:lnTo>
                    <a:pt x="717" y="114"/>
                  </a:lnTo>
                  <a:lnTo>
                    <a:pt x="255" y="134"/>
                  </a:lnTo>
                  <a:lnTo>
                    <a:pt x="27" y="153"/>
                  </a:lnTo>
                  <a:lnTo>
                    <a:pt x="14" y="156"/>
                  </a:lnTo>
                  <a:lnTo>
                    <a:pt x="0" y="172"/>
                  </a:lnTo>
                  <a:lnTo>
                    <a:pt x="0" y="193"/>
                  </a:lnTo>
                  <a:lnTo>
                    <a:pt x="14" y="210"/>
                  </a:lnTo>
                  <a:lnTo>
                    <a:pt x="27" y="211"/>
                  </a:lnTo>
                  <a:lnTo>
                    <a:pt x="257" y="219"/>
                  </a:lnTo>
                  <a:lnTo>
                    <a:pt x="718" y="219"/>
                  </a:lnTo>
                  <a:lnTo>
                    <a:pt x="1410" y="202"/>
                  </a:lnTo>
                  <a:lnTo>
                    <a:pt x="1870" y="197"/>
                  </a:lnTo>
                  <a:lnTo>
                    <a:pt x="2272" y="196"/>
                  </a:lnTo>
                  <a:lnTo>
                    <a:pt x="3073" y="201"/>
                  </a:lnTo>
                  <a:lnTo>
                    <a:pt x="3475" y="206"/>
                  </a:lnTo>
                  <a:lnTo>
                    <a:pt x="3475" y="248"/>
                  </a:lnTo>
                  <a:lnTo>
                    <a:pt x="3475" y="258"/>
                  </a:lnTo>
                  <a:lnTo>
                    <a:pt x="3485" y="277"/>
                  </a:lnTo>
                  <a:lnTo>
                    <a:pt x="3502" y="290"/>
                  </a:lnTo>
                  <a:lnTo>
                    <a:pt x="3523" y="294"/>
                  </a:lnTo>
                  <a:lnTo>
                    <a:pt x="3533" y="293"/>
                  </a:lnTo>
                  <a:lnTo>
                    <a:pt x="3584" y="276"/>
                  </a:lnTo>
                  <a:lnTo>
                    <a:pt x="3686" y="235"/>
                  </a:lnTo>
                  <a:lnTo>
                    <a:pt x="3733" y="207"/>
                  </a:lnTo>
                  <a:lnTo>
                    <a:pt x="3739" y="204"/>
                  </a:lnTo>
                  <a:lnTo>
                    <a:pt x="3745" y="200"/>
                  </a:lnTo>
                  <a:lnTo>
                    <a:pt x="3754" y="192"/>
                  </a:lnTo>
                  <a:lnTo>
                    <a:pt x="3764" y="185"/>
                  </a:lnTo>
                  <a:close/>
                </a:path>
              </a:pathLst>
            </a:custGeom>
            <a:solidFill>
              <a:srgbClr val="063951">
                <a:lumMod val="50000"/>
              </a:srgbClr>
            </a:solidFill>
            <a:ln w="9525">
              <a:noFill/>
              <a:round/>
              <a:headEnd/>
              <a:tailEnd/>
            </a:ln>
          </p:spPr>
          <p:txBody>
            <a:bodyPr vert="horz" wrap="square" lIns="68580" tIns="34290" rIns="68580" bIns="34290" numCol="1" anchor="t" anchorCtr="0" compatLnSpc="1">
              <a:prstTxWarp prst="textNoShape">
                <a:avLst/>
              </a:prstTxWarp>
            </a:bodyPr>
            <a:lstStyle/>
            <a:p>
              <a:pPr>
                <a:defRPr/>
              </a:pPr>
              <a:endParaRPr lang="es-MX" sz="1050" kern="0">
                <a:solidFill>
                  <a:prstClr val="black"/>
                </a:solidFill>
                <a:latin typeface="Calibri" panose="020F0502020204030204"/>
              </a:endParaRPr>
            </a:p>
          </p:txBody>
        </p:sp>
        <p:sp>
          <p:nvSpPr>
            <p:cNvPr id="51" name="Freeform 298">
              <a:extLst>
                <a:ext uri="{FF2B5EF4-FFF2-40B4-BE49-F238E27FC236}">
                  <a16:creationId xmlns:a16="http://schemas.microsoft.com/office/drawing/2014/main" id="{7195855D-7E80-491F-865A-EBB9D2257848}"/>
                </a:ext>
              </a:extLst>
            </p:cNvPr>
            <p:cNvSpPr>
              <a:spLocks/>
            </p:cNvSpPr>
            <p:nvPr/>
          </p:nvSpPr>
          <p:spPr bwMode="auto">
            <a:xfrm rot="19731793">
              <a:off x="4371518" y="2879496"/>
              <a:ext cx="471788" cy="744781"/>
            </a:xfrm>
            <a:custGeom>
              <a:avLst/>
              <a:gdLst>
                <a:gd name="T0" fmla="*/ 2357 w 2370"/>
                <a:gd name="T1" fmla="*/ 2563 h 2934"/>
                <a:gd name="T2" fmla="*/ 2340 w 2370"/>
                <a:gd name="T3" fmla="*/ 2527 h 2934"/>
                <a:gd name="T4" fmla="*/ 2312 w 2370"/>
                <a:gd name="T5" fmla="*/ 2518 h 2934"/>
                <a:gd name="T6" fmla="*/ 2225 w 2370"/>
                <a:gd name="T7" fmla="*/ 2528 h 2934"/>
                <a:gd name="T8" fmla="*/ 2032 w 2370"/>
                <a:gd name="T9" fmla="*/ 1993 h 2934"/>
                <a:gd name="T10" fmla="*/ 1852 w 2370"/>
                <a:gd name="T11" fmla="*/ 1574 h 2934"/>
                <a:gd name="T12" fmla="*/ 1635 w 2370"/>
                <a:gd name="T13" fmla="*/ 1175 h 2934"/>
                <a:gd name="T14" fmla="*/ 1441 w 2370"/>
                <a:gd name="T15" fmla="*/ 895 h 2934"/>
                <a:gd name="T16" fmla="*/ 1233 w 2370"/>
                <a:gd name="T17" fmla="*/ 651 h 2934"/>
                <a:gd name="T18" fmla="*/ 909 w 2370"/>
                <a:gd name="T19" fmla="*/ 365 h 2934"/>
                <a:gd name="T20" fmla="*/ 541 w 2370"/>
                <a:gd name="T21" fmla="*/ 144 h 2934"/>
                <a:gd name="T22" fmla="*/ 291 w 2370"/>
                <a:gd name="T23" fmla="*/ 52 h 2934"/>
                <a:gd name="T24" fmla="*/ 81 w 2370"/>
                <a:gd name="T25" fmla="*/ 7 h 2934"/>
                <a:gd name="T26" fmla="*/ 16 w 2370"/>
                <a:gd name="T27" fmla="*/ 0 h 2934"/>
                <a:gd name="T28" fmla="*/ 0 w 2370"/>
                <a:gd name="T29" fmla="*/ 34 h 2934"/>
                <a:gd name="T30" fmla="*/ 20 w 2370"/>
                <a:gd name="T31" fmla="*/ 56 h 2934"/>
                <a:gd name="T32" fmla="*/ 330 w 2370"/>
                <a:gd name="T33" fmla="*/ 148 h 2934"/>
                <a:gd name="T34" fmla="*/ 707 w 2370"/>
                <a:gd name="T35" fmla="*/ 336 h 2934"/>
                <a:gd name="T36" fmla="*/ 1044 w 2370"/>
                <a:gd name="T37" fmla="*/ 591 h 2934"/>
                <a:gd name="T38" fmla="*/ 1336 w 2370"/>
                <a:gd name="T39" fmla="*/ 903 h 2934"/>
                <a:gd name="T40" fmla="*/ 1464 w 2370"/>
                <a:gd name="T41" fmla="*/ 1076 h 2934"/>
                <a:gd name="T42" fmla="*/ 1685 w 2370"/>
                <a:gd name="T43" fmla="*/ 1446 h 2934"/>
                <a:gd name="T44" fmla="*/ 1869 w 2370"/>
                <a:gd name="T45" fmla="*/ 1834 h 2934"/>
                <a:gd name="T46" fmla="*/ 2062 w 2370"/>
                <a:gd name="T47" fmla="*/ 2337 h 2934"/>
                <a:gd name="T48" fmla="*/ 2085 w 2370"/>
                <a:gd name="T49" fmla="*/ 2549 h 2934"/>
                <a:gd name="T50" fmla="*/ 2025 w 2370"/>
                <a:gd name="T51" fmla="*/ 2562 h 2934"/>
                <a:gd name="T52" fmla="*/ 2005 w 2370"/>
                <a:gd name="T53" fmla="*/ 2601 h 2934"/>
                <a:gd name="T54" fmla="*/ 2016 w 2370"/>
                <a:gd name="T55" fmla="*/ 2633 h 2934"/>
                <a:gd name="T56" fmla="*/ 2018 w 2370"/>
                <a:gd name="T57" fmla="*/ 2635 h 2934"/>
                <a:gd name="T58" fmla="*/ 2204 w 2370"/>
                <a:gd name="T59" fmla="*/ 2851 h 2934"/>
                <a:gd name="T60" fmla="*/ 2279 w 2370"/>
                <a:gd name="T61" fmla="*/ 2931 h 2934"/>
                <a:gd name="T62" fmla="*/ 2325 w 2370"/>
                <a:gd name="T63" fmla="*/ 2923 h 2934"/>
                <a:gd name="T64" fmla="*/ 2342 w 2370"/>
                <a:gd name="T65" fmla="*/ 2891 h 2934"/>
                <a:gd name="T66" fmla="*/ 2369 w 2370"/>
                <a:gd name="T67" fmla="*/ 2606 h 2934"/>
                <a:gd name="T68" fmla="*/ 2362 w 2370"/>
                <a:gd name="T69" fmla="*/ 2578 h 29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70" h="2934">
                  <a:moveTo>
                    <a:pt x="2356" y="2573"/>
                  </a:moveTo>
                  <a:lnTo>
                    <a:pt x="2357" y="2563"/>
                  </a:lnTo>
                  <a:lnTo>
                    <a:pt x="2353" y="2543"/>
                  </a:lnTo>
                  <a:lnTo>
                    <a:pt x="2340" y="2527"/>
                  </a:lnTo>
                  <a:lnTo>
                    <a:pt x="2322" y="2518"/>
                  </a:lnTo>
                  <a:lnTo>
                    <a:pt x="2312" y="2518"/>
                  </a:lnTo>
                  <a:lnTo>
                    <a:pt x="2269" y="2523"/>
                  </a:lnTo>
                  <a:lnTo>
                    <a:pt x="2225" y="2528"/>
                  </a:lnTo>
                  <a:lnTo>
                    <a:pt x="2151" y="2313"/>
                  </a:lnTo>
                  <a:lnTo>
                    <a:pt x="2032" y="1993"/>
                  </a:lnTo>
                  <a:lnTo>
                    <a:pt x="1946" y="1781"/>
                  </a:lnTo>
                  <a:lnTo>
                    <a:pt x="1852" y="1574"/>
                  </a:lnTo>
                  <a:lnTo>
                    <a:pt x="1749" y="1372"/>
                  </a:lnTo>
                  <a:lnTo>
                    <a:pt x="1635" y="1175"/>
                  </a:lnTo>
                  <a:lnTo>
                    <a:pt x="1510" y="986"/>
                  </a:lnTo>
                  <a:lnTo>
                    <a:pt x="1441" y="895"/>
                  </a:lnTo>
                  <a:lnTo>
                    <a:pt x="1376" y="811"/>
                  </a:lnTo>
                  <a:lnTo>
                    <a:pt x="1233" y="651"/>
                  </a:lnTo>
                  <a:lnTo>
                    <a:pt x="1078" y="501"/>
                  </a:lnTo>
                  <a:lnTo>
                    <a:pt x="909" y="365"/>
                  </a:lnTo>
                  <a:lnTo>
                    <a:pt x="731" y="245"/>
                  </a:lnTo>
                  <a:lnTo>
                    <a:pt x="541" y="144"/>
                  </a:lnTo>
                  <a:lnTo>
                    <a:pt x="394" y="85"/>
                  </a:lnTo>
                  <a:lnTo>
                    <a:pt x="291" y="52"/>
                  </a:lnTo>
                  <a:lnTo>
                    <a:pt x="187" y="26"/>
                  </a:lnTo>
                  <a:lnTo>
                    <a:pt x="81" y="7"/>
                  </a:lnTo>
                  <a:lnTo>
                    <a:pt x="28" y="0"/>
                  </a:lnTo>
                  <a:lnTo>
                    <a:pt x="16" y="0"/>
                  </a:lnTo>
                  <a:lnTo>
                    <a:pt x="2" y="15"/>
                  </a:lnTo>
                  <a:lnTo>
                    <a:pt x="0" y="34"/>
                  </a:lnTo>
                  <a:lnTo>
                    <a:pt x="10" y="52"/>
                  </a:lnTo>
                  <a:lnTo>
                    <a:pt x="20" y="56"/>
                  </a:lnTo>
                  <a:lnTo>
                    <a:pt x="125" y="81"/>
                  </a:lnTo>
                  <a:lnTo>
                    <a:pt x="330" y="148"/>
                  </a:lnTo>
                  <a:lnTo>
                    <a:pt x="523" y="232"/>
                  </a:lnTo>
                  <a:lnTo>
                    <a:pt x="707" y="336"/>
                  </a:lnTo>
                  <a:lnTo>
                    <a:pt x="881" y="455"/>
                  </a:lnTo>
                  <a:lnTo>
                    <a:pt x="1044" y="591"/>
                  </a:lnTo>
                  <a:lnTo>
                    <a:pt x="1196" y="741"/>
                  </a:lnTo>
                  <a:lnTo>
                    <a:pt x="1336" y="903"/>
                  </a:lnTo>
                  <a:lnTo>
                    <a:pt x="1401" y="988"/>
                  </a:lnTo>
                  <a:lnTo>
                    <a:pt x="1464" y="1076"/>
                  </a:lnTo>
                  <a:lnTo>
                    <a:pt x="1580" y="1258"/>
                  </a:lnTo>
                  <a:lnTo>
                    <a:pt x="1685" y="1446"/>
                  </a:lnTo>
                  <a:lnTo>
                    <a:pt x="1780" y="1637"/>
                  </a:lnTo>
                  <a:lnTo>
                    <a:pt x="1869" y="1834"/>
                  </a:lnTo>
                  <a:lnTo>
                    <a:pt x="1949" y="2034"/>
                  </a:lnTo>
                  <a:lnTo>
                    <a:pt x="2062" y="2337"/>
                  </a:lnTo>
                  <a:lnTo>
                    <a:pt x="2132" y="2541"/>
                  </a:lnTo>
                  <a:lnTo>
                    <a:pt x="2085" y="2549"/>
                  </a:lnTo>
                  <a:lnTo>
                    <a:pt x="2037" y="2558"/>
                  </a:lnTo>
                  <a:lnTo>
                    <a:pt x="2025" y="2562"/>
                  </a:lnTo>
                  <a:lnTo>
                    <a:pt x="2010" y="2578"/>
                  </a:lnTo>
                  <a:lnTo>
                    <a:pt x="2005" y="2601"/>
                  </a:lnTo>
                  <a:lnTo>
                    <a:pt x="2010" y="2624"/>
                  </a:lnTo>
                  <a:lnTo>
                    <a:pt x="2016" y="2633"/>
                  </a:lnTo>
                  <a:lnTo>
                    <a:pt x="2016" y="2634"/>
                  </a:lnTo>
                  <a:lnTo>
                    <a:pt x="2018" y="2635"/>
                  </a:lnTo>
                  <a:lnTo>
                    <a:pt x="2077" y="2709"/>
                  </a:lnTo>
                  <a:lnTo>
                    <a:pt x="2204" y="2851"/>
                  </a:lnTo>
                  <a:lnTo>
                    <a:pt x="2269" y="2921"/>
                  </a:lnTo>
                  <a:lnTo>
                    <a:pt x="2279" y="2931"/>
                  </a:lnTo>
                  <a:lnTo>
                    <a:pt x="2303" y="2934"/>
                  </a:lnTo>
                  <a:lnTo>
                    <a:pt x="2325" y="2923"/>
                  </a:lnTo>
                  <a:lnTo>
                    <a:pt x="2339" y="2904"/>
                  </a:lnTo>
                  <a:lnTo>
                    <a:pt x="2342" y="2891"/>
                  </a:lnTo>
                  <a:lnTo>
                    <a:pt x="2356" y="2748"/>
                  </a:lnTo>
                  <a:lnTo>
                    <a:pt x="2369" y="2606"/>
                  </a:lnTo>
                  <a:lnTo>
                    <a:pt x="2370" y="2595"/>
                  </a:lnTo>
                  <a:lnTo>
                    <a:pt x="2362" y="2578"/>
                  </a:lnTo>
                  <a:lnTo>
                    <a:pt x="2356" y="2573"/>
                  </a:lnTo>
                  <a:close/>
                </a:path>
              </a:pathLst>
            </a:custGeom>
            <a:solidFill>
              <a:srgbClr val="063951">
                <a:lumMod val="50000"/>
              </a:srgbClr>
            </a:solidFill>
            <a:ln w="9525">
              <a:noFill/>
              <a:round/>
              <a:headEnd/>
              <a:tailEnd/>
            </a:ln>
          </p:spPr>
          <p:txBody>
            <a:bodyPr vert="horz" wrap="square" lIns="68580" tIns="34290" rIns="68580" bIns="34290" numCol="1" anchor="t" anchorCtr="0" compatLnSpc="1">
              <a:prstTxWarp prst="textNoShape">
                <a:avLst/>
              </a:prstTxWarp>
            </a:bodyPr>
            <a:lstStyle/>
            <a:p>
              <a:pPr>
                <a:defRPr/>
              </a:pPr>
              <a:endParaRPr lang="es-MX" sz="1050" kern="0">
                <a:solidFill>
                  <a:prstClr val="black"/>
                </a:solidFill>
                <a:latin typeface="Calibri" panose="020F0502020204030204"/>
              </a:endParaRPr>
            </a:p>
          </p:txBody>
        </p:sp>
        <p:sp>
          <p:nvSpPr>
            <p:cNvPr id="52" name="Freeform 299">
              <a:extLst>
                <a:ext uri="{FF2B5EF4-FFF2-40B4-BE49-F238E27FC236}">
                  <a16:creationId xmlns:a16="http://schemas.microsoft.com/office/drawing/2014/main" id="{30431266-3B79-4B71-AD27-971293A454C6}"/>
                </a:ext>
              </a:extLst>
            </p:cNvPr>
            <p:cNvSpPr>
              <a:spLocks/>
            </p:cNvSpPr>
            <p:nvPr/>
          </p:nvSpPr>
          <p:spPr bwMode="auto">
            <a:xfrm>
              <a:off x="5081627" y="2504363"/>
              <a:ext cx="516621" cy="850992"/>
            </a:xfrm>
            <a:custGeom>
              <a:avLst/>
              <a:gdLst>
                <a:gd name="T0" fmla="*/ 2126 w 2209"/>
                <a:gd name="T1" fmla="*/ 4181 h 4506"/>
                <a:gd name="T2" fmla="*/ 2074 w 2209"/>
                <a:gd name="T3" fmla="*/ 4062 h 4506"/>
                <a:gd name="T4" fmla="*/ 1984 w 2209"/>
                <a:gd name="T5" fmla="*/ 3599 h 4506"/>
                <a:gd name="T6" fmla="*/ 1860 w 2209"/>
                <a:gd name="T7" fmla="*/ 3145 h 4506"/>
                <a:gd name="T8" fmla="*/ 1707 w 2209"/>
                <a:gd name="T9" fmla="*/ 2700 h 4506"/>
                <a:gd name="T10" fmla="*/ 1480 w 2209"/>
                <a:gd name="T11" fmla="*/ 2155 h 4506"/>
                <a:gd name="T12" fmla="*/ 1051 w 2209"/>
                <a:gd name="T13" fmla="*/ 1311 h 4506"/>
                <a:gd name="T14" fmla="*/ 696 w 2209"/>
                <a:gd name="T15" fmla="*/ 700 h 4506"/>
                <a:gd name="T16" fmla="*/ 533 w 2209"/>
                <a:gd name="T17" fmla="*/ 444 h 4506"/>
                <a:gd name="T18" fmla="*/ 381 w 2209"/>
                <a:gd name="T19" fmla="*/ 255 h 4506"/>
                <a:gd name="T20" fmla="*/ 202 w 2209"/>
                <a:gd name="T21" fmla="*/ 94 h 4506"/>
                <a:gd name="T22" fmla="*/ 43 w 2209"/>
                <a:gd name="T23" fmla="*/ 4 h 4506"/>
                <a:gd name="T24" fmla="*/ 12 w 2209"/>
                <a:gd name="T25" fmla="*/ 7 h 4506"/>
                <a:gd name="T26" fmla="*/ 5 w 2209"/>
                <a:gd name="T27" fmla="*/ 44 h 4506"/>
                <a:gd name="T28" fmla="*/ 78 w 2209"/>
                <a:gd name="T29" fmla="*/ 90 h 4506"/>
                <a:gd name="T30" fmla="*/ 296 w 2209"/>
                <a:gd name="T31" fmla="*/ 278 h 4506"/>
                <a:gd name="T32" fmla="*/ 516 w 2209"/>
                <a:gd name="T33" fmla="*/ 567 h 4506"/>
                <a:gd name="T34" fmla="*/ 738 w 2209"/>
                <a:gd name="T35" fmla="*/ 943 h 4506"/>
                <a:gd name="T36" fmla="*/ 1112 w 2209"/>
                <a:gd name="T37" fmla="*/ 1619 h 4506"/>
                <a:gd name="T38" fmla="*/ 1320 w 2209"/>
                <a:gd name="T39" fmla="*/ 2033 h 4506"/>
                <a:gd name="T40" fmla="*/ 1495 w 2209"/>
                <a:gd name="T41" fmla="*/ 2420 h 4506"/>
                <a:gd name="T42" fmla="*/ 1698 w 2209"/>
                <a:gd name="T43" fmla="*/ 2948 h 4506"/>
                <a:gd name="T44" fmla="*/ 1861 w 2209"/>
                <a:gd name="T45" fmla="*/ 3489 h 4506"/>
                <a:gd name="T46" fmla="*/ 1978 w 2209"/>
                <a:gd name="T47" fmla="*/ 4042 h 4506"/>
                <a:gd name="T48" fmla="*/ 1949 w 2209"/>
                <a:gd name="T49" fmla="*/ 4187 h 4506"/>
                <a:gd name="T50" fmla="*/ 1894 w 2209"/>
                <a:gd name="T51" fmla="*/ 4199 h 4506"/>
                <a:gd name="T52" fmla="*/ 1870 w 2209"/>
                <a:gd name="T53" fmla="*/ 4225 h 4506"/>
                <a:gd name="T54" fmla="*/ 1870 w 2209"/>
                <a:gd name="T55" fmla="*/ 4251 h 4506"/>
                <a:gd name="T56" fmla="*/ 1916 w 2209"/>
                <a:gd name="T57" fmla="*/ 4352 h 4506"/>
                <a:gd name="T58" fmla="*/ 2003 w 2209"/>
                <a:gd name="T59" fmla="*/ 4470 h 4506"/>
                <a:gd name="T60" fmla="*/ 2038 w 2209"/>
                <a:gd name="T61" fmla="*/ 4502 h 4506"/>
                <a:gd name="T62" fmla="*/ 2071 w 2209"/>
                <a:gd name="T63" fmla="*/ 4502 h 4506"/>
                <a:gd name="T64" fmla="*/ 2088 w 2209"/>
                <a:gd name="T65" fmla="*/ 4486 h 4506"/>
                <a:gd name="T66" fmla="*/ 2141 w 2209"/>
                <a:gd name="T67" fmla="*/ 4409 h 4506"/>
                <a:gd name="T68" fmla="*/ 2183 w 2209"/>
                <a:gd name="T69" fmla="*/ 4312 h 4506"/>
                <a:gd name="T70" fmla="*/ 2209 w 2209"/>
                <a:gd name="T71" fmla="*/ 4232 h 4506"/>
                <a:gd name="T72" fmla="*/ 2191 w 2209"/>
                <a:gd name="T73" fmla="*/ 4197 h 4506"/>
                <a:gd name="T74" fmla="*/ 2162 w 2209"/>
                <a:gd name="T75" fmla="*/ 4185 h 4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09" h="4506">
                  <a:moveTo>
                    <a:pt x="2162" y="4185"/>
                  </a:moveTo>
                  <a:lnTo>
                    <a:pt x="2126" y="4181"/>
                  </a:lnTo>
                  <a:lnTo>
                    <a:pt x="2089" y="4180"/>
                  </a:lnTo>
                  <a:lnTo>
                    <a:pt x="2074" y="4062"/>
                  </a:lnTo>
                  <a:lnTo>
                    <a:pt x="2034" y="3830"/>
                  </a:lnTo>
                  <a:lnTo>
                    <a:pt x="1984" y="3599"/>
                  </a:lnTo>
                  <a:lnTo>
                    <a:pt x="1926" y="3371"/>
                  </a:lnTo>
                  <a:lnTo>
                    <a:pt x="1860" y="3145"/>
                  </a:lnTo>
                  <a:lnTo>
                    <a:pt x="1787" y="2921"/>
                  </a:lnTo>
                  <a:lnTo>
                    <a:pt x="1707" y="2700"/>
                  </a:lnTo>
                  <a:lnTo>
                    <a:pt x="1620" y="2480"/>
                  </a:lnTo>
                  <a:lnTo>
                    <a:pt x="1480" y="2155"/>
                  </a:lnTo>
                  <a:lnTo>
                    <a:pt x="1274" y="1729"/>
                  </a:lnTo>
                  <a:lnTo>
                    <a:pt x="1051" y="1311"/>
                  </a:lnTo>
                  <a:lnTo>
                    <a:pt x="817" y="902"/>
                  </a:lnTo>
                  <a:lnTo>
                    <a:pt x="696" y="700"/>
                  </a:lnTo>
                  <a:lnTo>
                    <a:pt x="634" y="597"/>
                  </a:lnTo>
                  <a:lnTo>
                    <a:pt x="533" y="444"/>
                  </a:lnTo>
                  <a:lnTo>
                    <a:pt x="460" y="347"/>
                  </a:lnTo>
                  <a:lnTo>
                    <a:pt x="381" y="255"/>
                  </a:lnTo>
                  <a:lnTo>
                    <a:pt x="296" y="171"/>
                  </a:lnTo>
                  <a:lnTo>
                    <a:pt x="202" y="94"/>
                  </a:lnTo>
                  <a:lnTo>
                    <a:pt x="99" y="31"/>
                  </a:lnTo>
                  <a:lnTo>
                    <a:pt x="43" y="4"/>
                  </a:lnTo>
                  <a:lnTo>
                    <a:pt x="31" y="0"/>
                  </a:lnTo>
                  <a:lnTo>
                    <a:pt x="12" y="7"/>
                  </a:lnTo>
                  <a:lnTo>
                    <a:pt x="0" y="24"/>
                  </a:lnTo>
                  <a:lnTo>
                    <a:pt x="5" y="44"/>
                  </a:lnTo>
                  <a:lnTo>
                    <a:pt x="14" y="52"/>
                  </a:lnTo>
                  <a:lnTo>
                    <a:pt x="78" y="90"/>
                  </a:lnTo>
                  <a:lnTo>
                    <a:pt x="193" y="179"/>
                  </a:lnTo>
                  <a:lnTo>
                    <a:pt x="296" y="278"/>
                  </a:lnTo>
                  <a:lnTo>
                    <a:pt x="390" y="389"/>
                  </a:lnTo>
                  <a:lnTo>
                    <a:pt x="516" y="567"/>
                  </a:lnTo>
                  <a:lnTo>
                    <a:pt x="666" y="819"/>
                  </a:lnTo>
                  <a:lnTo>
                    <a:pt x="738" y="943"/>
                  </a:lnTo>
                  <a:lnTo>
                    <a:pt x="892" y="1210"/>
                  </a:lnTo>
                  <a:lnTo>
                    <a:pt x="1112" y="1619"/>
                  </a:lnTo>
                  <a:lnTo>
                    <a:pt x="1252" y="1893"/>
                  </a:lnTo>
                  <a:lnTo>
                    <a:pt x="1320" y="2033"/>
                  </a:lnTo>
                  <a:lnTo>
                    <a:pt x="1380" y="2162"/>
                  </a:lnTo>
                  <a:lnTo>
                    <a:pt x="1495" y="2420"/>
                  </a:lnTo>
                  <a:lnTo>
                    <a:pt x="1601" y="2683"/>
                  </a:lnTo>
                  <a:lnTo>
                    <a:pt x="1698" y="2948"/>
                  </a:lnTo>
                  <a:lnTo>
                    <a:pt x="1785" y="3217"/>
                  </a:lnTo>
                  <a:lnTo>
                    <a:pt x="1861" y="3489"/>
                  </a:lnTo>
                  <a:lnTo>
                    <a:pt x="1926" y="3764"/>
                  </a:lnTo>
                  <a:lnTo>
                    <a:pt x="1978" y="4042"/>
                  </a:lnTo>
                  <a:lnTo>
                    <a:pt x="1999" y="4182"/>
                  </a:lnTo>
                  <a:lnTo>
                    <a:pt x="1949" y="4187"/>
                  </a:lnTo>
                  <a:lnTo>
                    <a:pt x="1902" y="4197"/>
                  </a:lnTo>
                  <a:lnTo>
                    <a:pt x="1894" y="4199"/>
                  </a:lnTo>
                  <a:lnTo>
                    <a:pt x="1879" y="4210"/>
                  </a:lnTo>
                  <a:lnTo>
                    <a:pt x="1870" y="4225"/>
                  </a:lnTo>
                  <a:lnTo>
                    <a:pt x="1868" y="4242"/>
                  </a:lnTo>
                  <a:lnTo>
                    <a:pt x="1870" y="4251"/>
                  </a:lnTo>
                  <a:lnTo>
                    <a:pt x="1883" y="4286"/>
                  </a:lnTo>
                  <a:lnTo>
                    <a:pt x="1916" y="4352"/>
                  </a:lnTo>
                  <a:lnTo>
                    <a:pt x="1956" y="4413"/>
                  </a:lnTo>
                  <a:lnTo>
                    <a:pt x="2003" y="4470"/>
                  </a:lnTo>
                  <a:lnTo>
                    <a:pt x="2029" y="4496"/>
                  </a:lnTo>
                  <a:lnTo>
                    <a:pt x="2038" y="4502"/>
                  </a:lnTo>
                  <a:lnTo>
                    <a:pt x="2054" y="4506"/>
                  </a:lnTo>
                  <a:lnTo>
                    <a:pt x="2071" y="4502"/>
                  </a:lnTo>
                  <a:lnTo>
                    <a:pt x="2084" y="4492"/>
                  </a:lnTo>
                  <a:lnTo>
                    <a:pt x="2088" y="4486"/>
                  </a:lnTo>
                  <a:lnTo>
                    <a:pt x="2110" y="4464"/>
                  </a:lnTo>
                  <a:lnTo>
                    <a:pt x="2141" y="4409"/>
                  </a:lnTo>
                  <a:lnTo>
                    <a:pt x="2154" y="4379"/>
                  </a:lnTo>
                  <a:lnTo>
                    <a:pt x="2183" y="4312"/>
                  </a:lnTo>
                  <a:lnTo>
                    <a:pt x="2206" y="4242"/>
                  </a:lnTo>
                  <a:lnTo>
                    <a:pt x="2209" y="4232"/>
                  </a:lnTo>
                  <a:lnTo>
                    <a:pt x="2204" y="4212"/>
                  </a:lnTo>
                  <a:lnTo>
                    <a:pt x="2191" y="4197"/>
                  </a:lnTo>
                  <a:lnTo>
                    <a:pt x="2172" y="4187"/>
                  </a:lnTo>
                  <a:lnTo>
                    <a:pt x="2162" y="4185"/>
                  </a:lnTo>
                  <a:close/>
                </a:path>
              </a:pathLst>
            </a:custGeom>
            <a:solidFill>
              <a:srgbClr val="063951">
                <a:lumMod val="50000"/>
              </a:srgbClr>
            </a:solidFill>
            <a:ln w="9525">
              <a:noFill/>
              <a:round/>
              <a:headEnd/>
              <a:tailEnd/>
            </a:ln>
          </p:spPr>
          <p:txBody>
            <a:bodyPr vert="horz" wrap="square" lIns="68580" tIns="34290" rIns="68580" bIns="34290" numCol="1" anchor="t" anchorCtr="0" compatLnSpc="1">
              <a:prstTxWarp prst="textNoShape">
                <a:avLst/>
              </a:prstTxWarp>
            </a:bodyPr>
            <a:lstStyle/>
            <a:p>
              <a:pPr>
                <a:defRPr/>
              </a:pPr>
              <a:endParaRPr lang="es-MX" sz="1050" kern="0">
                <a:solidFill>
                  <a:prstClr val="black"/>
                </a:solidFill>
                <a:latin typeface="Calibri" panose="020F0502020204030204"/>
              </a:endParaRPr>
            </a:p>
          </p:txBody>
        </p:sp>
        <p:sp>
          <p:nvSpPr>
            <p:cNvPr id="53" name="Freeform 295">
              <a:extLst>
                <a:ext uri="{FF2B5EF4-FFF2-40B4-BE49-F238E27FC236}">
                  <a16:creationId xmlns:a16="http://schemas.microsoft.com/office/drawing/2014/main" id="{3B1DBB3D-21BA-4815-829A-7E7D793E1187}"/>
                </a:ext>
              </a:extLst>
            </p:cNvPr>
            <p:cNvSpPr>
              <a:spLocks/>
            </p:cNvSpPr>
            <p:nvPr/>
          </p:nvSpPr>
          <p:spPr bwMode="auto">
            <a:xfrm flipH="1">
              <a:off x="6700653" y="4508364"/>
              <a:ext cx="480666" cy="230241"/>
            </a:xfrm>
            <a:custGeom>
              <a:avLst/>
              <a:gdLst>
                <a:gd name="T0" fmla="*/ 1392 w 1460"/>
                <a:gd name="T1" fmla="*/ 10 h 959"/>
                <a:gd name="T2" fmla="*/ 1384 w 1460"/>
                <a:gd name="T3" fmla="*/ 10 h 959"/>
                <a:gd name="T4" fmla="*/ 1377 w 1460"/>
                <a:gd name="T5" fmla="*/ 11 h 959"/>
                <a:gd name="T6" fmla="*/ 1370 w 1460"/>
                <a:gd name="T7" fmla="*/ 6 h 959"/>
                <a:gd name="T8" fmla="*/ 1359 w 1460"/>
                <a:gd name="T9" fmla="*/ 6 h 959"/>
                <a:gd name="T10" fmla="*/ 1233 w 1460"/>
                <a:gd name="T11" fmla="*/ 23 h 959"/>
                <a:gd name="T12" fmla="*/ 1109 w 1460"/>
                <a:gd name="T13" fmla="*/ 48 h 959"/>
                <a:gd name="T14" fmla="*/ 1100 w 1460"/>
                <a:gd name="T15" fmla="*/ 50 h 959"/>
                <a:gd name="T16" fmla="*/ 1086 w 1460"/>
                <a:gd name="T17" fmla="*/ 65 h 959"/>
                <a:gd name="T18" fmla="*/ 1078 w 1460"/>
                <a:gd name="T19" fmla="*/ 83 h 959"/>
                <a:gd name="T20" fmla="*/ 1079 w 1460"/>
                <a:gd name="T21" fmla="*/ 102 h 959"/>
                <a:gd name="T22" fmla="*/ 1083 w 1460"/>
                <a:gd name="T23" fmla="*/ 111 h 959"/>
                <a:gd name="T24" fmla="*/ 1106 w 1460"/>
                <a:gd name="T25" fmla="*/ 145 h 959"/>
                <a:gd name="T26" fmla="*/ 1130 w 1460"/>
                <a:gd name="T27" fmla="*/ 180 h 959"/>
                <a:gd name="T28" fmla="*/ 996 w 1460"/>
                <a:gd name="T29" fmla="*/ 282 h 959"/>
                <a:gd name="T30" fmla="*/ 723 w 1460"/>
                <a:gd name="T31" fmla="*/ 474 h 959"/>
                <a:gd name="T32" fmla="*/ 443 w 1460"/>
                <a:gd name="T33" fmla="*/ 656 h 959"/>
                <a:gd name="T34" fmla="*/ 156 w 1460"/>
                <a:gd name="T35" fmla="*/ 829 h 959"/>
                <a:gd name="T36" fmla="*/ 11 w 1460"/>
                <a:gd name="T37" fmla="*/ 915 h 959"/>
                <a:gd name="T38" fmla="*/ 2 w 1460"/>
                <a:gd name="T39" fmla="*/ 921 h 959"/>
                <a:gd name="T40" fmla="*/ 0 w 1460"/>
                <a:gd name="T41" fmla="*/ 938 h 959"/>
                <a:gd name="T42" fmla="*/ 7 w 1460"/>
                <a:gd name="T43" fmla="*/ 952 h 959"/>
                <a:gd name="T44" fmla="*/ 24 w 1460"/>
                <a:gd name="T45" fmla="*/ 959 h 959"/>
                <a:gd name="T46" fmla="*/ 34 w 1460"/>
                <a:gd name="T47" fmla="*/ 956 h 959"/>
                <a:gd name="T48" fmla="*/ 111 w 1460"/>
                <a:gd name="T49" fmla="*/ 923 h 959"/>
                <a:gd name="T50" fmla="*/ 263 w 1460"/>
                <a:gd name="T51" fmla="*/ 849 h 959"/>
                <a:gd name="T52" fmla="*/ 484 w 1460"/>
                <a:gd name="T53" fmla="*/ 728 h 959"/>
                <a:gd name="T54" fmla="*/ 769 w 1460"/>
                <a:gd name="T55" fmla="*/ 549 h 959"/>
                <a:gd name="T56" fmla="*/ 1044 w 1460"/>
                <a:gd name="T57" fmla="*/ 352 h 959"/>
                <a:gd name="T58" fmla="*/ 1176 w 1460"/>
                <a:gd name="T59" fmla="*/ 249 h 959"/>
                <a:gd name="T60" fmla="*/ 1182 w 1460"/>
                <a:gd name="T61" fmla="*/ 256 h 959"/>
                <a:gd name="T62" fmla="*/ 1185 w 1460"/>
                <a:gd name="T63" fmla="*/ 263 h 959"/>
                <a:gd name="T64" fmla="*/ 1201 w 1460"/>
                <a:gd name="T65" fmla="*/ 285 h 959"/>
                <a:gd name="T66" fmla="*/ 1231 w 1460"/>
                <a:gd name="T67" fmla="*/ 308 h 959"/>
                <a:gd name="T68" fmla="*/ 1254 w 1460"/>
                <a:gd name="T69" fmla="*/ 316 h 959"/>
                <a:gd name="T70" fmla="*/ 1268 w 1460"/>
                <a:gd name="T71" fmla="*/ 315 h 959"/>
                <a:gd name="T72" fmla="*/ 1284 w 1460"/>
                <a:gd name="T73" fmla="*/ 312 h 959"/>
                <a:gd name="T74" fmla="*/ 1310 w 1460"/>
                <a:gd name="T75" fmla="*/ 295 h 959"/>
                <a:gd name="T76" fmla="*/ 1340 w 1460"/>
                <a:gd name="T77" fmla="*/ 259 h 959"/>
                <a:gd name="T78" fmla="*/ 1357 w 1460"/>
                <a:gd name="T79" fmla="*/ 233 h 959"/>
                <a:gd name="T80" fmla="*/ 1384 w 1460"/>
                <a:gd name="T81" fmla="*/ 192 h 959"/>
                <a:gd name="T82" fmla="*/ 1433 w 1460"/>
                <a:gd name="T83" fmla="*/ 103 h 959"/>
                <a:gd name="T84" fmla="*/ 1455 w 1460"/>
                <a:gd name="T85" fmla="*/ 59 h 959"/>
                <a:gd name="T86" fmla="*/ 1460 w 1460"/>
                <a:gd name="T87" fmla="*/ 43 h 959"/>
                <a:gd name="T88" fmla="*/ 1451 w 1460"/>
                <a:gd name="T89" fmla="*/ 17 h 959"/>
                <a:gd name="T90" fmla="*/ 1429 w 1460"/>
                <a:gd name="T91" fmla="*/ 0 h 959"/>
                <a:gd name="T92" fmla="*/ 1403 w 1460"/>
                <a:gd name="T93" fmla="*/ 0 h 959"/>
                <a:gd name="T94" fmla="*/ 1392 w 1460"/>
                <a:gd name="T95" fmla="*/ 10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60" h="959">
                  <a:moveTo>
                    <a:pt x="1392" y="10"/>
                  </a:moveTo>
                  <a:lnTo>
                    <a:pt x="1384" y="10"/>
                  </a:lnTo>
                  <a:lnTo>
                    <a:pt x="1377" y="11"/>
                  </a:lnTo>
                  <a:lnTo>
                    <a:pt x="1370" y="6"/>
                  </a:lnTo>
                  <a:lnTo>
                    <a:pt x="1359" y="6"/>
                  </a:lnTo>
                  <a:lnTo>
                    <a:pt x="1233" y="23"/>
                  </a:lnTo>
                  <a:lnTo>
                    <a:pt x="1109" y="48"/>
                  </a:lnTo>
                  <a:lnTo>
                    <a:pt x="1100" y="50"/>
                  </a:lnTo>
                  <a:lnTo>
                    <a:pt x="1086" y="65"/>
                  </a:lnTo>
                  <a:lnTo>
                    <a:pt x="1078" y="83"/>
                  </a:lnTo>
                  <a:lnTo>
                    <a:pt x="1079" y="102"/>
                  </a:lnTo>
                  <a:lnTo>
                    <a:pt x="1083" y="111"/>
                  </a:lnTo>
                  <a:lnTo>
                    <a:pt x="1106" y="145"/>
                  </a:lnTo>
                  <a:lnTo>
                    <a:pt x="1130" y="180"/>
                  </a:lnTo>
                  <a:lnTo>
                    <a:pt x="996" y="282"/>
                  </a:lnTo>
                  <a:lnTo>
                    <a:pt x="723" y="474"/>
                  </a:lnTo>
                  <a:lnTo>
                    <a:pt x="443" y="656"/>
                  </a:lnTo>
                  <a:lnTo>
                    <a:pt x="156" y="829"/>
                  </a:lnTo>
                  <a:lnTo>
                    <a:pt x="11" y="915"/>
                  </a:lnTo>
                  <a:lnTo>
                    <a:pt x="2" y="921"/>
                  </a:lnTo>
                  <a:lnTo>
                    <a:pt x="0" y="938"/>
                  </a:lnTo>
                  <a:lnTo>
                    <a:pt x="7" y="952"/>
                  </a:lnTo>
                  <a:lnTo>
                    <a:pt x="24" y="959"/>
                  </a:lnTo>
                  <a:lnTo>
                    <a:pt x="34" y="956"/>
                  </a:lnTo>
                  <a:lnTo>
                    <a:pt x="111" y="923"/>
                  </a:lnTo>
                  <a:lnTo>
                    <a:pt x="263" y="849"/>
                  </a:lnTo>
                  <a:lnTo>
                    <a:pt x="484" y="728"/>
                  </a:lnTo>
                  <a:lnTo>
                    <a:pt x="769" y="549"/>
                  </a:lnTo>
                  <a:lnTo>
                    <a:pt x="1044" y="352"/>
                  </a:lnTo>
                  <a:lnTo>
                    <a:pt x="1176" y="249"/>
                  </a:lnTo>
                  <a:lnTo>
                    <a:pt x="1182" y="256"/>
                  </a:lnTo>
                  <a:lnTo>
                    <a:pt x="1185" y="263"/>
                  </a:lnTo>
                  <a:lnTo>
                    <a:pt x="1201" y="285"/>
                  </a:lnTo>
                  <a:lnTo>
                    <a:pt x="1231" y="308"/>
                  </a:lnTo>
                  <a:lnTo>
                    <a:pt x="1254" y="316"/>
                  </a:lnTo>
                  <a:lnTo>
                    <a:pt x="1268" y="315"/>
                  </a:lnTo>
                  <a:lnTo>
                    <a:pt x="1284" y="312"/>
                  </a:lnTo>
                  <a:lnTo>
                    <a:pt x="1310" y="295"/>
                  </a:lnTo>
                  <a:lnTo>
                    <a:pt x="1340" y="259"/>
                  </a:lnTo>
                  <a:lnTo>
                    <a:pt x="1357" y="233"/>
                  </a:lnTo>
                  <a:lnTo>
                    <a:pt x="1384" y="192"/>
                  </a:lnTo>
                  <a:lnTo>
                    <a:pt x="1433" y="103"/>
                  </a:lnTo>
                  <a:lnTo>
                    <a:pt x="1455" y="59"/>
                  </a:lnTo>
                  <a:lnTo>
                    <a:pt x="1460" y="43"/>
                  </a:lnTo>
                  <a:lnTo>
                    <a:pt x="1451" y="17"/>
                  </a:lnTo>
                  <a:lnTo>
                    <a:pt x="1429" y="0"/>
                  </a:lnTo>
                  <a:lnTo>
                    <a:pt x="1403" y="0"/>
                  </a:lnTo>
                  <a:lnTo>
                    <a:pt x="1392" y="10"/>
                  </a:lnTo>
                  <a:close/>
                </a:path>
              </a:pathLst>
            </a:custGeom>
            <a:solidFill>
              <a:srgbClr val="063951">
                <a:lumMod val="50000"/>
              </a:srgbClr>
            </a:solidFill>
            <a:ln w="9525">
              <a:noFill/>
              <a:round/>
              <a:headEnd/>
              <a:tailEnd/>
            </a:ln>
          </p:spPr>
          <p:txBody>
            <a:bodyPr vert="horz" wrap="square" lIns="68580" tIns="34290" rIns="68580" bIns="34290" numCol="1" anchor="t" anchorCtr="0" compatLnSpc="1">
              <a:prstTxWarp prst="textNoShape">
                <a:avLst/>
              </a:prstTxWarp>
            </a:bodyPr>
            <a:lstStyle/>
            <a:p>
              <a:pPr>
                <a:defRPr/>
              </a:pPr>
              <a:endParaRPr lang="es-MX" sz="1050" kern="0">
                <a:solidFill>
                  <a:prstClr val="black"/>
                </a:solidFill>
                <a:latin typeface="Calibri" panose="020F0502020204030204"/>
              </a:endParaRPr>
            </a:p>
          </p:txBody>
        </p:sp>
        <p:sp>
          <p:nvSpPr>
            <p:cNvPr id="54" name="Rectangle 102">
              <a:extLst>
                <a:ext uri="{FF2B5EF4-FFF2-40B4-BE49-F238E27FC236}">
                  <a16:creationId xmlns:a16="http://schemas.microsoft.com/office/drawing/2014/main" id="{D8590481-2FAA-49C8-A1C6-02896D63FC80}"/>
                </a:ext>
              </a:extLst>
            </p:cNvPr>
            <p:cNvSpPr/>
            <p:nvPr/>
          </p:nvSpPr>
          <p:spPr>
            <a:xfrm>
              <a:off x="7323036" y="2157981"/>
              <a:ext cx="1013419" cy="461665"/>
            </a:xfrm>
            <a:prstGeom prst="rect">
              <a:avLst/>
            </a:prstGeom>
          </p:spPr>
          <p:txBody>
            <a:bodyPr wrap="none">
              <a:spAutoFit/>
            </a:bodyPr>
            <a:lstStyle/>
            <a:p>
              <a:pPr algn="ctr"/>
              <a:r>
                <a:rPr lang="es-MX" sz="1200" b="1" dirty="0">
                  <a:solidFill>
                    <a:srgbClr val="063951">
                      <a:lumMod val="50000"/>
                    </a:srgbClr>
                  </a:solidFill>
                  <a:latin typeface="Calibri" panose="020F0502020204030204"/>
                </a:rPr>
                <a:t>Crecimiento</a:t>
              </a:r>
            </a:p>
            <a:p>
              <a:pPr algn="ctr"/>
              <a:r>
                <a:rPr lang="es-MX" sz="1200" b="1" dirty="0">
                  <a:solidFill>
                    <a:srgbClr val="063951">
                      <a:lumMod val="50000"/>
                    </a:srgbClr>
                  </a:solidFill>
                  <a:latin typeface="Calibri" panose="020F0502020204030204"/>
                </a:rPr>
                <a:t>de población</a:t>
              </a:r>
            </a:p>
          </p:txBody>
        </p:sp>
        <p:sp>
          <p:nvSpPr>
            <p:cNvPr id="55" name="Rectangle 103">
              <a:extLst>
                <a:ext uri="{FF2B5EF4-FFF2-40B4-BE49-F238E27FC236}">
                  <a16:creationId xmlns:a16="http://schemas.microsoft.com/office/drawing/2014/main" id="{4943662F-8139-466B-A2EE-60FE2C59E5B8}"/>
                </a:ext>
              </a:extLst>
            </p:cNvPr>
            <p:cNvSpPr/>
            <p:nvPr/>
          </p:nvSpPr>
          <p:spPr>
            <a:xfrm>
              <a:off x="7809575" y="3059396"/>
              <a:ext cx="993926" cy="461665"/>
            </a:xfrm>
            <a:prstGeom prst="rect">
              <a:avLst/>
            </a:prstGeom>
          </p:spPr>
          <p:txBody>
            <a:bodyPr wrap="none">
              <a:spAutoFit/>
            </a:bodyPr>
            <a:lstStyle/>
            <a:p>
              <a:pPr algn="ctr"/>
              <a:r>
                <a:rPr lang="es-MX" sz="1200" b="1" dirty="0">
                  <a:solidFill>
                    <a:srgbClr val="063951">
                      <a:lumMod val="50000"/>
                    </a:srgbClr>
                  </a:solidFill>
                  <a:latin typeface="Calibri" panose="020F0502020204030204"/>
                </a:rPr>
                <a:t>Prosperidad </a:t>
              </a:r>
            </a:p>
            <a:p>
              <a:pPr algn="ctr"/>
              <a:r>
                <a:rPr lang="es-MX" sz="1200" b="1" dirty="0">
                  <a:solidFill>
                    <a:srgbClr val="063951">
                      <a:lumMod val="50000"/>
                    </a:srgbClr>
                  </a:solidFill>
                  <a:latin typeface="Calibri" panose="020F0502020204030204"/>
                </a:rPr>
                <a:t>económica</a:t>
              </a:r>
            </a:p>
          </p:txBody>
        </p:sp>
        <p:sp>
          <p:nvSpPr>
            <p:cNvPr id="56" name="Rectangle 104">
              <a:extLst>
                <a:ext uri="{FF2B5EF4-FFF2-40B4-BE49-F238E27FC236}">
                  <a16:creationId xmlns:a16="http://schemas.microsoft.com/office/drawing/2014/main" id="{3FCC4BE3-6C51-47E3-9901-E1C3EA178067}"/>
                </a:ext>
              </a:extLst>
            </p:cNvPr>
            <p:cNvSpPr/>
            <p:nvPr/>
          </p:nvSpPr>
          <p:spPr>
            <a:xfrm>
              <a:off x="7337432" y="4476825"/>
              <a:ext cx="1065074" cy="430887"/>
            </a:xfrm>
            <a:prstGeom prst="rect">
              <a:avLst/>
            </a:prstGeom>
          </p:spPr>
          <p:txBody>
            <a:bodyPr wrap="square">
              <a:spAutoFit/>
            </a:bodyPr>
            <a:lstStyle/>
            <a:p>
              <a:pPr algn="ctr"/>
              <a:r>
                <a:rPr lang="es-MX" sz="1100" b="1" dirty="0">
                  <a:solidFill>
                    <a:srgbClr val="063951">
                      <a:lumMod val="50000"/>
                    </a:srgbClr>
                  </a:solidFill>
                  <a:latin typeface="Calibri" panose="020F0502020204030204"/>
                </a:rPr>
                <a:t>Degradación</a:t>
              </a:r>
            </a:p>
            <a:p>
              <a:pPr algn="ctr"/>
              <a:r>
                <a:rPr lang="es-MX" sz="1100" b="1" dirty="0">
                  <a:solidFill>
                    <a:srgbClr val="063951">
                      <a:lumMod val="50000"/>
                    </a:srgbClr>
                  </a:solidFill>
                  <a:latin typeface="Calibri" panose="020F0502020204030204"/>
                </a:rPr>
                <a:t>ecosistémica</a:t>
              </a:r>
            </a:p>
          </p:txBody>
        </p:sp>
        <p:sp>
          <p:nvSpPr>
            <p:cNvPr id="57" name="Rectangle 105">
              <a:extLst>
                <a:ext uri="{FF2B5EF4-FFF2-40B4-BE49-F238E27FC236}">
                  <a16:creationId xmlns:a16="http://schemas.microsoft.com/office/drawing/2014/main" id="{18EE2BB3-1CDE-4B9B-91BA-93F6366802E1}"/>
                </a:ext>
              </a:extLst>
            </p:cNvPr>
            <p:cNvSpPr/>
            <p:nvPr/>
          </p:nvSpPr>
          <p:spPr>
            <a:xfrm>
              <a:off x="3159858" y="4285183"/>
              <a:ext cx="1003383" cy="430887"/>
            </a:xfrm>
            <a:prstGeom prst="rect">
              <a:avLst/>
            </a:prstGeom>
          </p:spPr>
          <p:txBody>
            <a:bodyPr wrap="square">
              <a:spAutoFit/>
            </a:bodyPr>
            <a:lstStyle/>
            <a:p>
              <a:pPr algn="ctr"/>
              <a:r>
                <a:rPr lang="es-MX" sz="1100" b="1" dirty="0">
                  <a:solidFill>
                    <a:srgbClr val="063951">
                      <a:lumMod val="50000"/>
                    </a:srgbClr>
                  </a:solidFill>
                  <a:latin typeface="Calibri" panose="020F0502020204030204"/>
                </a:rPr>
                <a:t>Escasez de</a:t>
              </a:r>
            </a:p>
            <a:p>
              <a:pPr algn="ctr"/>
              <a:r>
                <a:rPr lang="es-MX" sz="1100" b="1" dirty="0">
                  <a:solidFill>
                    <a:srgbClr val="063951">
                      <a:lumMod val="50000"/>
                    </a:srgbClr>
                  </a:solidFill>
                  <a:latin typeface="Calibri" panose="020F0502020204030204"/>
                </a:rPr>
                <a:t>recursos</a:t>
              </a:r>
            </a:p>
          </p:txBody>
        </p:sp>
        <p:grpSp>
          <p:nvGrpSpPr>
            <p:cNvPr id="63" name="Grupo 62">
              <a:extLst>
                <a:ext uri="{FF2B5EF4-FFF2-40B4-BE49-F238E27FC236}">
                  <a16:creationId xmlns:a16="http://schemas.microsoft.com/office/drawing/2014/main" id="{3C28C81E-2791-4E13-8374-34981BE49B84}"/>
                </a:ext>
              </a:extLst>
            </p:cNvPr>
            <p:cNvGrpSpPr/>
            <p:nvPr/>
          </p:nvGrpSpPr>
          <p:grpSpPr>
            <a:xfrm>
              <a:off x="3914751" y="1962068"/>
              <a:ext cx="1107829" cy="648296"/>
              <a:chOff x="2298806" y="1765578"/>
              <a:chExt cx="1369190" cy="707360"/>
            </a:xfrm>
          </p:grpSpPr>
          <p:sp>
            <p:nvSpPr>
              <p:cNvPr id="38" name="Freeform 139">
                <a:extLst>
                  <a:ext uri="{FF2B5EF4-FFF2-40B4-BE49-F238E27FC236}">
                    <a16:creationId xmlns:a16="http://schemas.microsoft.com/office/drawing/2014/main" id="{D9ED2F31-5343-441B-A755-595A28798490}"/>
                  </a:ext>
                </a:extLst>
              </p:cNvPr>
              <p:cNvSpPr>
                <a:spLocks/>
              </p:cNvSpPr>
              <p:nvPr/>
            </p:nvSpPr>
            <p:spPr bwMode="auto">
              <a:xfrm>
                <a:off x="2298806" y="1772913"/>
                <a:ext cx="1369190" cy="700025"/>
              </a:xfrm>
              <a:custGeom>
                <a:avLst/>
                <a:gdLst>
                  <a:gd name="T0" fmla="*/ 2722 w 2821"/>
                  <a:gd name="T1" fmla="*/ 170 h 1620"/>
                  <a:gd name="T2" fmla="*/ 2722 w 2821"/>
                  <a:gd name="T3" fmla="*/ 159 h 1620"/>
                  <a:gd name="T4" fmla="*/ 2697 w 2821"/>
                  <a:gd name="T5" fmla="*/ 131 h 1620"/>
                  <a:gd name="T6" fmla="*/ 2517 w 2821"/>
                  <a:gd name="T7" fmla="*/ 106 h 1620"/>
                  <a:gd name="T8" fmla="*/ 1863 w 2821"/>
                  <a:gd name="T9" fmla="*/ 42 h 1620"/>
                  <a:gd name="T10" fmla="*/ 1206 w 2821"/>
                  <a:gd name="T11" fmla="*/ 7 h 1620"/>
                  <a:gd name="T12" fmla="*/ 548 w 2821"/>
                  <a:gd name="T13" fmla="*/ 0 h 1620"/>
                  <a:gd name="T14" fmla="*/ 55 w 2821"/>
                  <a:gd name="T15" fmla="*/ 17 h 1620"/>
                  <a:gd name="T16" fmla="*/ 30 w 2821"/>
                  <a:gd name="T17" fmla="*/ 25 h 1620"/>
                  <a:gd name="T18" fmla="*/ 16 w 2821"/>
                  <a:gd name="T19" fmla="*/ 75 h 1620"/>
                  <a:gd name="T20" fmla="*/ 46 w 2821"/>
                  <a:gd name="T21" fmla="*/ 100 h 1620"/>
                  <a:gd name="T22" fmla="*/ 217 w 2821"/>
                  <a:gd name="T23" fmla="*/ 93 h 1620"/>
                  <a:gd name="T24" fmla="*/ 865 w 2821"/>
                  <a:gd name="T25" fmla="*/ 84 h 1620"/>
                  <a:gd name="T26" fmla="*/ 1511 w 2821"/>
                  <a:gd name="T27" fmla="*/ 104 h 1620"/>
                  <a:gd name="T28" fmla="*/ 2157 w 2821"/>
                  <a:gd name="T29" fmla="*/ 150 h 1620"/>
                  <a:gd name="T30" fmla="*/ 2640 w 2821"/>
                  <a:gd name="T31" fmla="*/ 205 h 1620"/>
                  <a:gd name="T32" fmla="*/ 2639 w 2821"/>
                  <a:gd name="T33" fmla="*/ 482 h 1620"/>
                  <a:gd name="T34" fmla="*/ 2614 w 2821"/>
                  <a:gd name="T35" fmla="*/ 989 h 1620"/>
                  <a:gd name="T36" fmla="*/ 2591 w 2821"/>
                  <a:gd name="T37" fmla="*/ 1336 h 1620"/>
                  <a:gd name="T38" fmla="*/ 2587 w 2821"/>
                  <a:gd name="T39" fmla="*/ 1336 h 1620"/>
                  <a:gd name="T40" fmla="*/ 2573 w 2821"/>
                  <a:gd name="T41" fmla="*/ 1335 h 1620"/>
                  <a:gd name="T42" fmla="*/ 1635 w 2821"/>
                  <a:gd name="T43" fmla="*/ 1371 h 1620"/>
                  <a:gd name="T44" fmla="*/ 1019 w 2821"/>
                  <a:gd name="T45" fmla="*/ 1378 h 1620"/>
                  <a:gd name="T46" fmla="*/ 263 w 2821"/>
                  <a:gd name="T47" fmla="*/ 1374 h 1620"/>
                  <a:gd name="T48" fmla="*/ 113 w 2821"/>
                  <a:gd name="T49" fmla="*/ 1369 h 1620"/>
                  <a:gd name="T50" fmla="*/ 97 w 2821"/>
                  <a:gd name="T51" fmla="*/ 1327 h 1620"/>
                  <a:gd name="T52" fmla="*/ 90 w 2821"/>
                  <a:gd name="T53" fmla="*/ 1139 h 1620"/>
                  <a:gd name="T54" fmla="*/ 91 w 2821"/>
                  <a:gd name="T55" fmla="*/ 909 h 1620"/>
                  <a:gd name="T56" fmla="*/ 91 w 2821"/>
                  <a:gd name="T57" fmla="*/ 596 h 1620"/>
                  <a:gd name="T58" fmla="*/ 77 w 2821"/>
                  <a:gd name="T59" fmla="*/ 136 h 1620"/>
                  <a:gd name="T60" fmla="*/ 64 w 2821"/>
                  <a:gd name="T61" fmla="*/ 118 h 1620"/>
                  <a:gd name="T62" fmla="*/ 38 w 2821"/>
                  <a:gd name="T63" fmla="*/ 128 h 1620"/>
                  <a:gd name="T64" fmla="*/ 24 w 2821"/>
                  <a:gd name="T65" fmla="*/ 316 h 1620"/>
                  <a:gd name="T66" fmla="*/ 17 w 2821"/>
                  <a:gd name="T67" fmla="*/ 855 h 1620"/>
                  <a:gd name="T68" fmla="*/ 16 w 2821"/>
                  <a:gd name="T69" fmla="*/ 1194 h 1620"/>
                  <a:gd name="T70" fmla="*/ 16 w 2821"/>
                  <a:gd name="T71" fmla="*/ 1296 h 1620"/>
                  <a:gd name="T72" fmla="*/ 27 w 2821"/>
                  <a:gd name="T73" fmla="*/ 1354 h 1620"/>
                  <a:gd name="T74" fmla="*/ 1 w 2821"/>
                  <a:gd name="T75" fmla="*/ 1386 h 1620"/>
                  <a:gd name="T76" fmla="*/ 4 w 2821"/>
                  <a:gd name="T77" fmla="*/ 1428 h 1620"/>
                  <a:gd name="T78" fmla="*/ 47 w 2821"/>
                  <a:gd name="T79" fmla="*/ 1518 h 1620"/>
                  <a:gd name="T80" fmla="*/ 125 w 2821"/>
                  <a:gd name="T81" fmla="*/ 1576 h 1620"/>
                  <a:gd name="T82" fmla="*/ 248 w 2821"/>
                  <a:gd name="T83" fmla="*/ 1612 h 1620"/>
                  <a:gd name="T84" fmla="*/ 396 w 2821"/>
                  <a:gd name="T85" fmla="*/ 1620 h 1620"/>
                  <a:gd name="T86" fmla="*/ 883 w 2821"/>
                  <a:gd name="T87" fmla="*/ 1594 h 1620"/>
                  <a:gd name="T88" fmla="*/ 1480 w 2821"/>
                  <a:gd name="T89" fmla="*/ 1561 h 1620"/>
                  <a:gd name="T90" fmla="*/ 2694 w 2821"/>
                  <a:gd name="T91" fmla="*/ 1505 h 1620"/>
                  <a:gd name="T92" fmla="*/ 2743 w 2821"/>
                  <a:gd name="T93" fmla="*/ 1489 h 1620"/>
                  <a:gd name="T94" fmla="*/ 2780 w 2821"/>
                  <a:gd name="T95" fmla="*/ 1435 h 1620"/>
                  <a:gd name="T96" fmla="*/ 2800 w 2821"/>
                  <a:gd name="T97" fmla="*/ 1125 h 1620"/>
                  <a:gd name="T98" fmla="*/ 2821 w 2821"/>
                  <a:gd name="T99" fmla="*/ 249 h 1620"/>
                  <a:gd name="T100" fmla="*/ 2802 w 2821"/>
                  <a:gd name="T101" fmla="*/ 194 h 1620"/>
                  <a:gd name="T102" fmla="*/ 2740 w 2821"/>
                  <a:gd name="T103" fmla="*/ 169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21" h="1620">
                    <a:moveTo>
                      <a:pt x="2722" y="171"/>
                    </a:moveTo>
                    <a:lnTo>
                      <a:pt x="2722" y="170"/>
                    </a:lnTo>
                    <a:lnTo>
                      <a:pt x="2722" y="169"/>
                    </a:lnTo>
                    <a:lnTo>
                      <a:pt x="2722" y="159"/>
                    </a:lnTo>
                    <a:lnTo>
                      <a:pt x="2716" y="145"/>
                    </a:lnTo>
                    <a:lnTo>
                      <a:pt x="2697" y="131"/>
                    </a:lnTo>
                    <a:lnTo>
                      <a:pt x="2681" y="127"/>
                    </a:lnTo>
                    <a:lnTo>
                      <a:pt x="2517" y="106"/>
                    </a:lnTo>
                    <a:lnTo>
                      <a:pt x="2191" y="70"/>
                    </a:lnTo>
                    <a:lnTo>
                      <a:pt x="1863" y="42"/>
                    </a:lnTo>
                    <a:lnTo>
                      <a:pt x="1535" y="19"/>
                    </a:lnTo>
                    <a:lnTo>
                      <a:pt x="1206" y="7"/>
                    </a:lnTo>
                    <a:lnTo>
                      <a:pt x="878" y="0"/>
                    </a:lnTo>
                    <a:lnTo>
                      <a:pt x="548" y="0"/>
                    </a:lnTo>
                    <a:lnTo>
                      <a:pt x="219" y="9"/>
                    </a:lnTo>
                    <a:lnTo>
                      <a:pt x="55" y="17"/>
                    </a:lnTo>
                    <a:lnTo>
                      <a:pt x="46" y="17"/>
                    </a:lnTo>
                    <a:lnTo>
                      <a:pt x="30" y="25"/>
                    </a:lnTo>
                    <a:lnTo>
                      <a:pt x="16" y="44"/>
                    </a:lnTo>
                    <a:lnTo>
                      <a:pt x="16" y="75"/>
                    </a:lnTo>
                    <a:lnTo>
                      <a:pt x="30" y="93"/>
                    </a:lnTo>
                    <a:lnTo>
                      <a:pt x="46" y="100"/>
                    </a:lnTo>
                    <a:lnTo>
                      <a:pt x="55" y="100"/>
                    </a:lnTo>
                    <a:lnTo>
                      <a:pt x="217" y="93"/>
                    </a:lnTo>
                    <a:lnTo>
                      <a:pt x="541" y="86"/>
                    </a:lnTo>
                    <a:lnTo>
                      <a:pt x="865" y="84"/>
                    </a:lnTo>
                    <a:lnTo>
                      <a:pt x="1187" y="91"/>
                    </a:lnTo>
                    <a:lnTo>
                      <a:pt x="1511" y="104"/>
                    </a:lnTo>
                    <a:lnTo>
                      <a:pt x="1834" y="124"/>
                    </a:lnTo>
                    <a:lnTo>
                      <a:pt x="2157" y="150"/>
                    </a:lnTo>
                    <a:lnTo>
                      <a:pt x="2480" y="184"/>
                    </a:lnTo>
                    <a:lnTo>
                      <a:pt x="2640" y="205"/>
                    </a:lnTo>
                    <a:lnTo>
                      <a:pt x="2642" y="344"/>
                    </a:lnTo>
                    <a:lnTo>
                      <a:pt x="2639" y="482"/>
                    </a:lnTo>
                    <a:lnTo>
                      <a:pt x="2625" y="735"/>
                    </a:lnTo>
                    <a:lnTo>
                      <a:pt x="2614" y="989"/>
                    </a:lnTo>
                    <a:lnTo>
                      <a:pt x="2603" y="1163"/>
                    </a:lnTo>
                    <a:lnTo>
                      <a:pt x="2591" y="1336"/>
                    </a:lnTo>
                    <a:lnTo>
                      <a:pt x="2589" y="1336"/>
                    </a:lnTo>
                    <a:lnTo>
                      <a:pt x="2587" y="1336"/>
                    </a:lnTo>
                    <a:lnTo>
                      <a:pt x="2581" y="1335"/>
                    </a:lnTo>
                    <a:lnTo>
                      <a:pt x="2573" y="1335"/>
                    </a:lnTo>
                    <a:lnTo>
                      <a:pt x="2261" y="1351"/>
                    </a:lnTo>
                    <a:lnTo>
                      <a:pt x="1635" y="1371"/>
                    </a:lnTo>
                    <a:lnTo>
                      <a:pt x="1321" y="1377"/>
                    </a:lnTo>
                    <a:lnTo>
                      <a:pt x="1019" y="1378"/>
                    </a:lnTo>
                    <a:lnTo>
                      <a:pt x="565" y="1373"/>
                    </a:lnTo>
                    <a:lnTo>
                      <a:pt x="263" y="1374"/>
                    </a:lnTo>
                    <a:lnTo>
                      <a:pt x="113" y="1378"/>
                    </a:lnTo>
                    <a:lnTo>
                      <a:pt x="113" y="1369"/>
                    </a:lnTo>
                    <a:lnTo>
                      <a:pt x="110" y="1360"/>
                    </a:lnTo>
                    <a:lnTo>
                      <a:pt x="97" y="1327"/>
                    </a:lnTo>
                    <a:lnTo>
                      <a:pt x="87" y="1255"/>
                    </a:lnTo>
                    <a:lnTo>
                      <a:pt x="90" y="1139"/>
                    </a:lnTo>
                    <a:lnTo>
                      <a:pt x="92" y="1067"/>
                    </a:lnTo>
                    <a:lnTo>
                      <a:pt x="91" y="909"/>
                    </a:lnTo>
                    <a:lnTo>
                      <a:pt x="91" y="750"/>
                    </a:lnTo>
                    <a:lnTo>
                      <a:pt x="91" y="596"/>
                    </a:lnTo>
                    <a:lnTo>
                      <a:pt x="86" y="289"/>
                    </a:lnTo>
                    <a:lnTo>
                      <a:pt x="77" y="136"/>
                    </a:lnTo>
                    <a:lnTo>
                      <a:pt x="75" y="128"/>
                    </a:lnTo>
                    <a:lnTo>
                      <a:pt x="64" y="118"/>
                    </a:lnTo>
                    <a:lnTo>
                      <a:pt x="49" y="118"/>
                    </a:lnTo>
                    <a:lnTo>
                      <a:pt x="38" y="128"/>
                    </a:lnTo>
                    <a:lnTo>
                      <a:pt x="36" y="136"/>
                    </a:lnTo>
                    <a:lnTo>
                      <a:pt x="24" y="316"/>
                    </a:lnTo>
                    <a:lnTo>
                      <a:pt x="17" y="677"/>
                    </a:lnTo>
                    <a:lnTo>
                      <a:pt x="17" y="855"/>
                    </a:lnTo>
                    <a:lnTo>
                      <a:pt x="16" y="1025"/>
                    </a:lnTo>
                    <a:lnTo>
                      <a:pt x="16" y="1194"/>
                    </a:lnTo>
                    <a:lnTo>
                      <a:pt x="16" y="1234"/>
                    </a:lnTo>
                    <a:lnTo>
                      <a:pt x="16" y="1296"/>
                    </a:lnTo>
                    <a:lnTo>
                      <a:pt x="22" y="1336"/>
                    </a:lnTo>
                    <a:lnTo>
                      <a:pt x="27" y="1354"/>
                    </a:lnTo>
                    <a:lnTo>
                      <a:pt x="16" y="1362"/>
                    </a:lnTo>
                    <a:lnTo>
                      <a:pt x="1" y="1386"/>
                    </a:lnTo>
                    <a:lnTo>
                      <a:pt x="0" y="1400"/>
                    </a:lnTo>
                    <a:lnTo>
                      <a:pt x="4" y="1428"/>
                    </a:lnTo>
                    <a:lnTo>
                      <a:pt x="20" y="1478"/>
                    </a:lnTo>
                    <a:lnTo>
                      <a:pt x="47" y="1518"/>
                    </a:lnTo>
                    <a:lnTo>
                      <a:pt x="82" y="1551"/>
                    </a:lnTo>
                    <a:lnTo>
                      <a:pt x="125" y="1576"/>
                    </a:lnTo>
                    <a:lnTo>
                      <a:pt x="171" y="1594"/>
                    </a:lnTo>
                    <a:lnTo>
                      <a:pt x="248" y="1612"/>
                    </a:lnTo>
                    <a:lnTo>
                      <a:pt x="300" y="1616"/>
                    </a:lnTo>
                    <a:lnTo>
                      <a:pt x="396" y="1620"/>
                    </a:lnTo>
                    <a:lnTo>
                      <a:pt x="590" y="1615"/>
                    </a:lnTo>
                    <a:lnTo>
                      <a:pt x="883" y="1594"/>
                    </a:lnTo>
                    <a:lnTo>
                      <a:pt x="1076" y="1581"/>
                    </a:lnTo>
                    <a:lnTo>
                      <a:pt x="1480" y="1561"/>
                    </a:lnTo>
                    <a:lnTo>
                      <a:pt x="2289" y="1518"/>
                    </a:lnTo>
                    <a:lnTo>
                      <a:pt x="2694" y="1505"/>
                    </a:lnTo>
                    <a:lnTo>
                      <a:pt x="2712" y="1504"/>
                    </a:lnTo>
                    <a:lnTo>
                      <a:pt x="2743" y="1489"/>
                    </a:lnTo>
                    <a:lnTo>
                      <a:pt x="2766" y="1466"/>
                    </a:lnTo>
                    <a:lnTo>
                      <a:pt x="2780" y="1435"/>
                    </a:lnTo>
                    <a:lnTo>
                      <a:pt x="2782" y="1417"/>
                    </a:lnTo>
                    <a:lnTo>
                      <a:pt x="2800" y="1125"/>
                    </a:lnTo>
                    <a:lnTo>
                      <a:pt x="2817" y="541"/>
                    </a:lnTo>
                    <a:lnTo>
                      <a:pt x="2821" y="249"/>
                    </a:lnTo>
                    <a:lnTo>
                      <a:pt x="2818" y="227"/>
                    </a:lnTo>
                    <a:lnTo>
                      <a:pt x="2802" y="194"/>
                    </a:lnTo>
                    <a:lnTo>
                      <a:pt x="2774" y="175"/>
                    </a:lnTo>
                    <a:lnTo>
                      <a:pt x="2740" y="169"/>
                    </a:lnTo>
                    <a:lnTo>
                      <a:pt x="2722" y="171"/>
                    </a:lnTo>
                    <a:close/>
                  </a:path>
                </a:pathLst>
              </a:custGeom>
              <a:solidFill>
                <a:srgbClr val="063951">
                  <a:lumMod val="50000"/>
                </a:srgbClr>
              </a:solidFill>
              <a:ln w="9525">
                <a:noFill/>
                <a:round/>
                <a:headEnd/>
                <a:tailEnd/>
              </a:ln>
            </p:spPr>
            <p:txBody>
              <a:bodyPr vert="horz" wrap="square" lIns="68580" tIns="34290" rIns="68580" bIns="34290" numCol="1" anchor="t" anchorCtr="0" compatLnSpc="1">
                <a:prstTxWarp prst="textNoShape">
                  <a:avLst/>
                </a:prstTxWarp>
              </a:bodyPr>
              <a:lstStyle/>
              <a:p>
                <a:pPr>
                  <a:defRPr/>
                </a:pPr>
                <a:endParaRPr lang="es-MX" sz="1050" kern="0">
                  <a:solidFill>
                    <a:prstClr val="black"/>
                  </a:solidFill>
                  <a:latin typeface="Calibri" panose="020F0502020204030204"/>
                </a:endParaRPr>
              </a:p>
            </p:txBody>
          </p:sp>
          <p:sp>
            <p:nvSpPr>
              <p:cNvPr id="58" name="Rectangle 106">
                <a:extLst>
                  <a:ext uri="{FF2B5EF4-FFF2-40B4-BE49-F238E27FC236}">
                    <a16:creationId xmlns:a16="http://schemas.microsoft.com/office/drawing/2014/main" id="{A1908BA3-B8F9-4429-8C30-A32F890F11A9}"/>
                  </a:ext>
                </a:extLst>
              </p:cNvPr>
              <p:cNvSpPr/>
              <p:nvPr/>
            </p:nvSpPr>
            <p:spPr>
              <a:xfrm>
                <a:off x="2363298" y="1765578"/>
                <a:ext cx="1218560" cy="570889"/>
              </a:xfrm>
              <a:prstGeom prst="rect">
                <a:avLst/>
              </a:prstGeom>
            </p:spPr>
            <p:txBody>
              <a:bodyPr wrap="square">
                <a:spAutoFit/>
              </a:bodyPr>
              <a:lstStyle/>
              <a:p>
                <a:pPr algn="ctr"/>
                <a:r>
                  <a:rPr lang="es-MX" sz="1400" b="1" dirty="0">
                    <a:solidFill>
                      <a:srgbClr val="063951">
                        <a:lumMod val="50000"/>
                      </a:srgbClr>
                    </a:solidFill>
                    <a:latin typeface="Calibri" panose="020F0502020204030204"/>
                  </a:rPr>
                  <a:t>Cambio Climático</a:t>
                </a:r>
              </a:p>
            </p:txBody>
          </p:sp>
        </p:grpSp>
        <p:sp>
          <p:nvSpPr>
            <p:cNvPr id="59" name="Rectangle 107">
              <a:extLst>
                <a:ext uri="{FF2B5EF4-FFF2-40B4-BE49-F238E27FC236}">
                  <a16:creationId xmlns:a16="http://schemas.microsoft.com/office/drawing/2014/main" id="{6E389790-D568-41A6-9C94-18F7203CD1C1}"/>
                </a:ext>
              </a:extLst>
            </p:cNvPr>
            <p:cNvSpPr/>
            <p:nvPr/>
          </p:nvSpPr>
          <p:spPr>
            <a:xfrm>
              <a:off x="3293661" y="2799243"/>
              <a:ext cx="683366" cy="430887"/>
            </a:xfrm>
            <a:prstGeom prst="rect">
              <a:avLst/>
            </a:prstGeom>
          </p:spPr>
          <p:txBody>
            <a:bodyPr wrap="square">
              <a:spAutoFit/>
            </a:bodyPr>
            <a:lstStyle/>
            <a:p>
              <a:pPr algn="ctr"/>
              <a:r>
                <a:rPr lang="es-MX" sz="1100" b="1" dirty="0">
                  <a:solidFill>
                    <a:srgbClr val="063951">
                      <a:lumMod val="50000"/>
                    </a:srgbClr>
                  </a:solidFill>
                  <a:latin typeface="Calibri" panose="020F0502020204030204"/>
                </a:rPr>
                <a:t>Escasez</a:t>
              </a:r>
            </a:p>
            <a:p>
              <a:pPr algn="ctr"/>
              <a:r>
                <a:rPr lang="es-MX" sz="1100" b="1" dirty="0">
                  <a:solidFill>
                    <a:srgbClr val="063951">
                      <a:lumMod val="50000"/>
                    </a:srgbClr>
                  </a:solidFill>
                  <a:latin typeface="Calibri" panose="020F0502020204030204"/>
                </a:rPr>
                <a:t>de agua</a:t>
              </a:r>
            </a:p>
          </p:txBody>
        </p:sp>
        <p:sp>
          <p:nvSpPr>
            <p:cNvPr id="60" name="Rectangle 108">
              <a:extLst>
                <a:ext uri="{FF2B5EF4-FFF2-40B4-BE49-F238E27FC236}">
                  <a16:creationId xmlns:a16="http://schemas.microsoft.com/office/drawing/2014/main" id="{E071B12E-063D-4B7B-A8CA-329232A38E5C}"/>
                </a:ext>
              </a:extLst>
            </p:cNvPr>
            <p:cNvSpPr/>
            <p:nvPr/>
          </p:nvSpPr>
          <p:spPr>
            <a:xfrm>
              <a:off x="5579232" y="2140738"/>
              <a:ext cx="1339234" cy="430887"/>
            </a:xfrm>
            <a:prstGeom prst="rect">
              <a:avLst/>
            </a:prstGeom>
          </p:spPr>
          <p:txBody>
            <a:bodyPr wrap="square">
              <a:spAutoFit/>
            </a:bodyPr>
            <a:lstStyle/>
            <a:p>
              <a:pPr algn="ctr"/>
              <a:r>
                <a:rPr lang="es-MX" sz="1100" b="1" dirty="0">
                  <a:solidFill>
                    <a:srgbClr val="063951">
                      <a:lumMod val="50000"/>
                    </a:srgbClr>
                  </a:solidFill>
                  <a:latin typeface="Calibri" panose="020F0502020204030204"/>
                </a:rPr>
                <a:t>Energía y</a:t>
              </a:r>
            </a:p>
            <a:p>
              <a:pPr algn="ctr"/>
              <a:r>
                <a:rPr lang="es-MX" sz="1100" b="1" dirty="0">
                  <a:solidFill>
                    <a:srgbClr val="063951">
                      <a:lumMod val="50000"/>
                    </a:srgbClr>
                  </a:solidFill>
                  <a:latin typeface="Calibri" panose="020F0502020204030204"/>
                </a:rPr>
                <a:t>combustibles</a:t>
              </a:r>
            </a:p>
          </p:txBody>
        </p:sp>
        <p:sp>
          <p:nvSpPr>
            <p:cNvPr id="61" name="Rectangle 109">
              <a:extLst>
                <a:ext uri="{FF2B5EF4-FFF2-40B4-BE49-F238E27FC236}">
                  <a16:creationId xmlns:a16="http://schemas.microsoft.com/office/drawing/2014/main" id="{5709B691-7F14-42E6-B4A4-E6A9D3FD3EB2}"/>
                </a:ext>
              </a:extLst>
            </p:cNvPr>
            <p:cNvSpPr/>
            <p:nvPr/>
          </p:nvSpPr>
          <p:spPr>
            <a:xfrm>
              <a:off x="3347864" y="3522468"/>
              <a:ext cx="945144" cy="430887"/>
            </a:xfrm>
            <a:prstGeom prst="rect">
              <a:avLst/>
            </a:prstGeom>
          </p:spPr>
          <p:txBody>
            <a:bodyPr wrap="square">
              <a:spAutoFit/>
            </a:bodyPr>
            <a:lstStyle/>
            <a:p>
              <a:pPr algn="ctr"/>
              <a:r>
                <a:rPr lang="es-MX" sz="1100" b="1" dirty="0">
                  <a:solidFill>
                    <a:srgbClr val="063951">
                      <a:lumMod val="50000"/>
                    </a:srgbClr>
                  </a:solidFill>
                  <a:latin typeface="Calibri" panose="020F0502020204030204"/>
                </a:rPr>
                <a:t>Seguridad</a:t>
              </a:r>
            </a:p>
            <a:p>
              <a:pPr algn="ctr"/>
              <a:r>
                <a:rPr lang="es-MX" sz="1100" b="1" dirty="0">
                  <a:solidFill>
                    <a:srgbClr val="063951">
                      <a:lumMod val="50000"/>
                    </a:srgbClr>
                  </a:solidFill>
                  <a:latin typeface="Calibri" panose="020F0502020204030204"/>
                </a:rPr>
                <a:t>alimentaria</a:t>
              </a:r>
            </a:p>
          </p:txBody>
        </p:sp>
        <p:sp>
          <p:nvSpPr>
            <p:cNvPr id="62" name="Rectangle 110">
              <a:extLst>
                <a:ext uri="{FF2B5EF4-FFF2-40B4-BE49-F238E27FC236}">
                  <a16:creationId xmlns:a16="http://schemas.microsoft.com/office/drawing/2014/main" id="{FF199E02-64D1-496F-81FE-87176D3679AE}"/>
                </a:ext>
              </a:extLst>
            </p:cNvPr>
            <p:cNvSpPr/>
            <p:nvPr/>
          </p:nvSpPr>
          <p:spPr>
            <a:xfrm>
              <a:off x="7083870" y="3853742"/>
              <a:ext cx="999495" cy="261610"/>
            </a:xfrm>
            <a:prstGeom prst="rect">
              <a:avLst/>
            </a:prstGeom>
          </p:spPr>
          <p:txBody>
            <a:bodyPr wrap="square">
              <a:spAutoFit/>
            </a:bodyPr>
            <a:lstStyle/>
            <a:p>
              <a:pPr algn="ctr"/>
              <a:r>
                <a:rPr lang="es-MX" sz="1100" b="1" dirty="0">
                  <a:solidFill>
                    <a:srgbClr val="063951">
                      <a:lumMod val="50000"/>
                    </a:srgbClr>
                  </a:solidFill>
                  <a:latin typeface="Calibri" panose="020F0502020204030204"/>
                </a:rPr>
                <a:t>Urbanización</a:t>
              </a:r>
            </a:p>
          </p:txBody>
        </p:sp>
        <p:sp>
          <p:nvSpPr>
            <p:cNvPr id="64" name="Freeform 228">
              <a:extLst>
                <a:ext uri="{FF2B5EF4-FFF2-40B4-BE49-F238E27FC236}">
                  <a16:creationId xmlns:a16="http://schemas.microsoft.com/office/drawing/2014/main" id="{2750875F-A2A4-41D3-ADB5-739E6D95504C}"/>
                </a:ext>
              </a:extLst>
            </p:cNvPr>
            <p:cNvSpPr>
              <a:spLocks/>
            </p:cNvSpPr>
            <p:nvPr/>
          </p:nvSpPr>
          <p:spPr bwMode="auto">
            <a:xfrm>
              <a:off x="3837040" y="5016501"/>
              <a:ext cx="1185539" cy="481675"/>
            </a:xfrm>
            <a:custGeom>
              <a:avLst/>
              <a:gdLst>
                <a:gd name="T0" fmla="*/ 3692 w 3861"/>
                <a:gd name="T1" fmla="*/ 26 h 2000"/>
                <a:gd name="T2" fmla="*/ 3667 w 3861"/>
                <a:gd name="T3" fmla="*/ 17 h 2000"/>
                <a:gd name="T4" fmla="*/ 3545 w 3861"/>
                <a:gd name="T5" fmla="*/ 4 h 2000"/>
                <a:gd name="T6" fmla="*/ 3003 w 3861"/>
                <a:gd name="T7" fmla="*/ 10 h 2000"/>
                <a:gd name="T8" fmla="*/ 2357 w 3861"/>
                <a:gd name="T9" fmla="*/ 18 h 2000"/>
                <a:gd name="T10" fmla="*/ 1495 w 3861"/>
                <a:gd name="T11" fmla="*/ 23 h 2000"/>
                <a:gd name="T12" fmla="*/ 200 w 3861"/>
                <a:gd name="T13" fmla="*/ 47 h 2000"/>
                <a:gd name="T14" fmla="*/ 178 w 3861"/>
                <a:gd name="T15" fmla="*/ 60 h 2000"/>
                <a:gd name="T16" fmla="*/ 170 w 3861"/>
                <a:gd name="T17" fmla="*/ 72 h 2000"/>
                <a:gd name="T18" fmla="*/ 158 w 3861"/>
                <a:gd name="T19" fmla="*/ 97 h 2000"/>
                <a:gd name="T20" fmla="*/ 79 w 3861"/>
                <a:gd name="T21" fmla="*/ 889 h 2000"/>
                <a:gd name="T22" fmla="*/ 21 w 3861"/>
                <a:gd name="T23" fmla="*/ 1484 h 2000"/>
                <a:gd name="T24" fmla="*/ 11 w 3861"/>
                <a:gd name="T25" fmla="*/ 1694 h 2000"/>
                <a:gd name="T26" fmla="*/ 46 w 3861"/>
                <a:gd name="T27" fmla="*/ 1711 h 2000"/>
                <a:gd name="T28" fmla="*/ 65 w 3861"/>
                <a:gd name="T29" fmla="*/ 1690 h 2000"/>
                <a:gd name="T30" fmla="*/ 135 w 3861"/>
                <a:gd name="T31" fmla="*/ 1106 h 2000"/>
                <a:gd name="T32" fmla="*/ 201 w 3861"/>
                <a:gd name="T33" fmla="*/ 505 h 2000"/>
                <a:gd name="T34" fmla="*/ 661 w 3861"/>
                <a:gd name="T35" fmla="*/ 105 h 2000"/>
                <a:gd name="T36" fmla="*/ 1926 w 3861"/>
                <a:gd name="T37" fmla="*/ 102 h 2000"/>
                <a:gd name="T38" fmla="*/ 2767 w 3861"/>
                <a:gd name="T39" fmla="*/ 97 h 2000"/>
                <a:gd name="T40" fmla="*/ 3198 w 3861"/>
                <a:gd name="T41" fmla="*/ 95 h 2000"/>
                <a:gd name="T42" fmla="*/ 3498 w 3861"/>
                <a:gd name="T43" fmla="*/ 97 h 2000"/>
                <a:gd name="T44" fmla="*/ 3594 w 3861"/>
                <a:gd name="T45" fmla="*/ 100 h 2000"/>
                <a:gd name="T46" fmla="*/ 3590 w 3861"/>
                <a:gd name="T47" fmla="*/ 212 h 2000"/>
                <a:gd name="T48" fmla="*/ 3593 w 3861"/>
                <a:gd name="T49" fmla="*/ 527 h 2000"/>
                <a:gd name="T50" fmla="*/ 3559 w 3861"/>
                <a:gd name="T51" fmla="*/ 848 h 2000"/>
                <a:gd name="T52" fmla="*/ 3510 w 3861"/>
                <a:gd name="T53" fmla="*/ 1137 h 2000"/>
                <a:gd name="T54" fmla="*/ 3392 w 3861"/>
                <a:gd name="T55" fmla="*/ 1682 h 2000"/>
                <a:gd name="T56" fmla="*/ 2136 w 3861"/>
                <a:gd name="T57" fmla="*/ 1724 h 2000"/>
                <a:gd name="T58" fmla="*/ 1301 w 3861"/>
                <a:gd name="T59" fmla="*/ 1728 h 2000"/>
                <a:gd name="T60" fmla="*/ 673 w 3861"/>
                <a:gd name="T61" fmla="*/ 1716 h 2000"/>
                <a:gd name="T62" fmla="*/ 139 w 3861"/>
                <a:gd name="T63" fmla="*/ 1708 h 2000"/>
                <a:gd name="T64" fmla="*/ 26 w 3861"/>
                <a:gd name="T65" fmla="*/ 1715 h 2000"/>
                <a:gd name="T66" fmla="*/ 14 w 3861"/>
                <a:gd name="T67" fmla="*/ 1730 h 2000"/>
                <a:gd name="T68" fmla="*/ 0 w 3861"/>
                <a:gd name="T69" fmla="*/ 1756 h 2000"/>
                <a:gd name="T70" fmla="*/ 11 w 3861"/>
                <a:gd name="T71" fmla="*/ 1774 h 2000"/>
                <a:gd name="T72" fmla="*/ 106 w 3861"/>
                <a:gd name="T73" fmla="*/ 1859 h 2000"/>
                <a:gd name="T74" fmla="*/ 125 w 3861"/>
                <a:gd name="T75" fmla="*/ 1879 h 2000"/>
                <a:gd name="T76" fmla="*/ 136 w 3861"/>
                <a:gd name="T77" fmla="*/ 1883 h 2000"/>
                <a:gd name="T78" fmla="*/ 140 w 3861"/>
                <a:gd name="T79" fmla="*/ 1884 h 2000"/>
                <a:gd name="T80" fmla="*/ 187 w 3861"/>
                <a:gd name="T81" fmla="*/ 1923 h 2000"/>
                <a:gd name="T82" fmla="*/ 233 w 3861"/>
                <a:gd name="T83" fmla="*/ 1965 h 2000"/>
                <a:gd name="T84" fmla="*/ 252 w 3861"/>
                <a:gd name="T85" fmla="*/ 1986 h 2000"/>
                <a:gd name="T86" fmla="*/ 388 w 3861"/>
                <a:gd name="T87" fmla="*/ 2000 h 2000"/>
                <a:gd name="T88" fmla="*/ 618 w 3861"/>
                <a:gd name="T89" fmla="*/ 1988 h 2000"/>
                <a:gd name="T90" fmla="*/ 1021 w 3861"/>
                <a:gd name="T91" fmla="*/ 1969 h 2000"/>
                <a:gd name="T92" fmla="*/ 1627 w 3861"/>
                <a:gd name="T93" fmla="*/ 1949 h 2000"/>
                <a:gd name="T94" fmla="*/ 2031 w 3861"/>
                <a:gd name="T95" fmla="*/ 1945 h 2000"/>
                <a:gd name="T96" fmla="*/ 3040 w 3861"/>
                <a:gd name="T97" fmla="*/ 1971 h 2000"/>
                <a:gd name="T98" fmla="*/ 3457 w 3861"/>
                <a:gd name="T99" fmla="*/ 1992 h 2000"/>
                <a:gd name="T100" fmla="*/ 3496 w 3861"/>
                <a:gd name="T101" fmla="*/ 1969 h 2000"/>
                <a:gd name="T102" fmla="*/ 3507 w 3861"/>
                <a:gd name="T103" fmla="*/ 1938 h 2000"/>
                <a:gd name="T104" fmla="*/ 3549 w 3861"/>
                <a:gd name="T105" fmla="*/ 1848 h 2000"/>
                <a:gd name="T106" fmla="*/ 3596 w 3861"/>
                <a:gd name="T107" fmla="*/ 1669 h 2000"/>
                <a:gd name="T108" fmla="*/ 3693 w 3861"/>
                <a:gd name="T109" fmla="*/ 1230 h 2000"/>
                <a:gd name="T110" fmla="*/ 3785 w 3861"/>
                <a:gd name="T111" fmla="*/ 798 h 2000"/>
                <a:gd name="T112" fmla="*/ 3855 w 3861"/>
                <a:gd name="T113" fmla="*/ 447 h 2000"/>
                <a:gd name="T114" fmla="*/ 3861 w 3861"/>
                <a:gd name="T115" fmla="*/ 325 h 2000"/>
                <a:gd name="T116" fmla="*/ 3821 w 3861"/>
                <a:gd name="T117" fmla="*/ 162 h 2000"/>
                <a:gd name="T118" fmla="*/ 3765 w 3861"/>
                <a:gd name="T119" fmla="*/ 83 h 2000"/>
                <a:gd name="T120" fmla="*/ 3707 w 3861"/>
                <a:gd name="T121" fmla="*/ 35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61" h="2000">
                  <a:moveTo>
                    <a:pt x="3707" y="35"/>
                  </a:moveTo>
                  <a:lnTo>
                    <a:pt x="3692" y="26"/>
                  </a:lnTo>
                  <a:lnTo>
                    <a:pt x="3677" y="25"/>
                  </a:lnTo>
                  <a:lnTo>
                    <a:pt x="3667" y="17"/>
                  </a:lnTo>
                  <a:lnTo>
                    <a:pt x="3651" y="13"/>
                  </a:lnTo>
                  <a:lnTo>
                    <a:pt x="3545" y="4"/>
                  </a:lnTo>
                  <a:lnTo>
                    <a:pt x="3329" y="0"/>
                  </a:lnTo>
                  <a:lnTo>
                    <a:pt x="3003" y="10"/>
                  </a:lnTo>
                  <a:lnTo>
                    <a:pt x="2788" y="14"/>
                  </a:lnTo>
                  <a:lnTo>
                    <a:pt x="2357" y="18"/>
                  </a:lnTo>
                  <a:lnTo>
                    <a:pt x="1926" y="21"/>
                  </a:lnTo>
                  <a:lnTo>
                    <a:pt x="1495" y="23"/>
                  </a:lnTo>
                  <a:lnTo>
                    <a:pt x="631" y="35"/>
                  </a:lnTo>
                  <a:lnTo>
                    <a:pt x="200" y="47"/>
                  </a:lnTo>
                  <a:lnTo>
                    <a:pt x="191" y="48"/>
                  </a:lnTo>
                  <a:lnTo>
                    <a:pt x="178" y="60"/>
                  </a:lnTo>
                  <a:lnTo>
                    <a:pt x="176" y="67"/>
                  </a:lnTo>
                  <a:lnTo>
                    <a:pt x="170" y="72"/>
                  </a:lnTo>
                  <a:lnTo>
                    <a:pt x="161" y="87"/>
                  </a:lnTo>
                  <a:lnTo>
                    <a:pt x="158" y="97"/>
                  </a:lnTo>
                  <a:lnTo>
                    <a:pt x="115" y="492"/>
                  </a:lnTo>
                  <a:lnTo>
                    <a:pt x="79" y="889"/>
                  </a:lnTo>
                  <a:lnTo>
                    <a:pt x="60" y="1087"/>
                  </a:lnTo>
                  <a:lnTo>
                    <a:pt x="21" y="1484"/>
                  </a:lnTo>
                  <a:lnTo>
                    <a:pt x="9" y="1682"/>
                  </a:lnTo>
                  <a:lnTo>
                    <a:pt x="11" y="1694"/>
                  </a:lnTo>
                  <a:lnTo>
                    <a:pt x="25" y="1707"/>
                  </a:lnTo>
                  <a:lnTo>
                    <a:pt x="46" y="1711"/>
                  </a:lnTo>
                  <a:lnTo>
                    <a:pt x="62" y="1700"/>
                  </a:lnTo>
                  <a:lnTo>
                    <a:pt x="65" y="1690"/>
                  </a:lnTo>
                  <a:lnTo>
                    <a:pt x="93" y="1496"/>
                  </a:lnTo>
                  <a:lnTo>
                    <a:pt x="135" y="1106"/>
                  </a:lnTo>
                  <a:lnTo>
                    <a:pt x="156" y="911"/>
                  </a:lnTo>
                  <a:lnTo>
                    <a:pt x="201" y="505"/>
                  </a:lnTo>
                  <a:lnTo>
                    <a:pt x="239" y="100"/>
                  </a:lnTo>
                  <a:lnTo>
                    <a:pt x="661" y="105"/>
                  </a:lnTo>
                  <a:lnTo>
                    <a:pt x="1504" y="105"/>
                  </a:lnTo>
                  <a:lnTo>
                    <a:pt x="1926" y="102"/>
                  </a:lnTo>
                  <a:lnTo>
                    <a:pt x="2346" y="100"/>
                  </a:lnTo>
                  <a:lnTo>
                    <a:pt x="2767" y="97"/>
                  </a:lnTo>
                  <a:lnTo>
                    <a:pt x="2983" y="96"/>
                  </a:lnTo>
                  <a:lnTo>
                    <a:pt x="3198" y="95"/>
                  </a:lnTo>
                  <a:lnTo>
                    <a:pt x="3297" y="96"/>
                  </a:lnTo>
                  <a:lnTo>
                    <a:pt x="3498" y="97"/>
                  </a:lnTo>
                  <a:lnTo>
                    <a:pt x="3598" y="92"/>
                  </a:lnTo>
                  <a:lnTo>
                    <a:pt x="3594" y="100"/>
                  </a:lnTo>
                  <a:lnTo>
                    <a:pt x="3593" y="109"/>
                  </a:lnTo>
                  <a:lnTo>
                    <a:pt x="3590" y="212"/>
                  </a:lnTo>
                  <a:lnTo>
                    <a:pt x="3596" y="422"/>
                  </a:lnTo>
                  <a:lnTo>
                    <a:pt x="3593" y="527"/>
                  </a:lnTo>
                  <a:lnTo>
                    <a:pt x="3585" y="635"/>
                  </a:lnTo>
                  <a:lnTo>
                    <a:pt x="3559" y="848"/>
                  </a:lnTo>
                  <a:lnTo>
                    <a:pt x="3542" y="954"/>
                  </a:lnTo>
                  <a:lnTo>
                    <a:pt x="3510" y="1137"/>
                  </a:lnTo>
                  <a:lnTo>
                    <a:pt x="3430" y="1500"/>
                  </a:lnTo>
                  <a:lnTo>
                    <a:pt x="3392" y="1682"/>
                  </a:lnTo>
                  <a:lnTo>
                    <a:pt x="2973" y="1700"/>
                  </a:lnTo>
                  <a:lnTo>
                    <a:pt x="2136" y="1724"/>
                  </a:lnTo>
                  <a:lnTo>
                    <a:pt x="1718" y="1726"/>
                  </a:lnTo>
                  <a:lnTo>
                    <a:pt x="1301" y="1728"/>
                  </a:lnTo>
                  <a:lnTo>
                    <a:pt x="885" y="1721"/>
                  </a:lnTo>
                  <a:lnTo>
                    <a:pt x="673" y="1716"/>
                  </a:lnTo>
                  <a:lnTo>
                    <a:pt x="353" y="1707"/>
                  </a:lnTo>
                  <a:lnTo>
                    <a:pt x="139" y="1708"/>
                  </a:lnTo>
                  <a:lnTo>
                    <a:pt x="33" y="1713"/>
                  </a:lnTo>
                  <a:lnTo>
                    <a:pt x="26" y="1715"/>
                  </a:lnTo>
                  <a:lnTo>
                    <a:pt x="17" y="1724"/>
                  </a:lnTo>
                  <a:lnTo>
                    <a:pt x="14" y="1730"/>
                  </a:lnTo>
                  <a:lnTo>
                    <a:pt x="4" y="1738"/>
                  </a:lnTo>
                  <a:lnTo>
                    <a:pt x="0" y="1756"/>
                  </a:lnTo>
                  <a:lnTo>
                    <a:pt x="5" y="1769"/>
                  </a:lnTo>
                  <a:lnTo>
                    <a:pt x="11" y="1774"/>
                  </a:lnTo>
                  <a:lnTo>
                    <a:pt x="58" y="1817"/>
                  </a:lnTo>
                  <a:lnTo>
                    <a:pt x="106" y="1859"/>
                  </a:lnTo>
                  <a:lnTo>
                    <a:pt x="112" y="1866"/>
                  </a:lnTo>
                  <a:lnTo>
                    <a:pt x="125" y="1879"/>
                  </a:lnTo>
                  <a:lnTo>
                    <a:pt x="134" y="1882"/>
                  </a:lnTo>
                  <a:lnTo>
                    <a:pt x="136" y="1883"/>
                  </a:lnTo>
                  <a:lnTo>
                    <a:pt x="138" y="1883"/>
                  </a:lnTo>
                  <a:lnTo>
                    <a:pt x="140" y="1884"/>
                  </a:lnTo>
                  <a:lnTo>
                    <a:pt x="141" y="1887"/>
                  </a:lnTo>
                  <a:lnTo>
                    <a:pt x="187" y="1923"/>
                  </a:lnTo>
                  <a:lnTo>
                    <a:pt x="235" y="1956"/>
                  </a:lnTo>
                  <a:lnTo>
                    <a:pt x="233" y="1965"/>
                  </a:lnTo>
                  <a:lnTo>
                    <a:pt x="241" y="1982"/>
                  </a:lnTo>
                  <a:lnTo>
                    <a:pt x="252" y="1986"/>
                  </a:lnTo>
                  <a:lnTo>
                    <a:pt x="296" y="1995"/>
                  </a:lnTo>
                  <a:lnTo>
                    <a:pt x="388" y="2000"/>
                  </a:lnTo>
                  <a:lnTo>
                    <a:pt x="528" y="1993"/>
                  </a:lnTo>
                  <a:lnTo>
                    <a:pt x="618" y="1988"/>
                  </a:lnTo>
                  <a:lnTo>
                    <a:pt x="819" y="1979"/>
                  </a:lnTo>
                  <a:lnTo>
                    <a:pt x="1021" y="1969"/>
                  </a:lnTo>
                  <a:lnTo>
                    <a:pt x="1224" y="1961"/>
                  </a:lnTo>
                  <a:lnTo>
                    <a:pt x="1627" y="1949"/>
                  </a:lnTo>
                  <a:lnTo>
                    <a:pt x="1829" y="1947"/>
                  </a:lnTo>
                  <a:lnTo>
                    <a:pt x="2031" y="1945"/>
                  </a:lnTo>
                  <a:lnTo>
                    <a:pt x="2434" y="1951"/>
                  </a:lnTo>
                  <a:lnTo>
                    <a:pt x="3040" y="1971"/>
                  </a:lnTo>
                  <a:lnTo>
                    <a:pt x="3443" y="1992"/>
                  </a:lnTo>
                  <a:lnTo>
                    <a:pt x="3457" y="1992"/>
                  </a:lnTo>
                  <a:lnTo>
                    <a:pt x="3480" y="1983"/>
                  </a:lnTo>
                  <a:lnTo>
                    <a:pt x="3496" y="1969"/>
                  </a:lnTo>
                  <a:lnTo>
                    <a:pt x="3505" y="1949"/>
                  </a:lnTo>
                  <a:lnTo>
                    <a:pt x="3507" y="1938"/>
                  </a:lnTo>
                  <a:lnTo>
                    <a:pt x="3526" y="1910"/>
                  </a:lnTo>
                  <a:lnTo>
                    <a:pt x="3549" y="1848"/>
                  </a:lnTo>
                  <a:lnTo>
                    <a:pt x="3558" y="1814"/>
                  </a:lnTo>
                  <a:lnTo>
                    <a:pt x="3596" y="1669"/>
                  </a:lnTo>
                  <a:lnTo>
                    <a:pt x="3629" y="1523"/>
                  </a:lnTo>
                  <a:lnTo>
                    <a:pt x="3693" y="1230"/>
                  </a:lnTo>
                  <a:lnTo>
                    <a:pt x="3754" y="936"/>
                  </a:lnTo>
                  <a:lnTo>
                    <a:pt x="3785" y="798"/>
                  </a:lnTo>
                  <a:lnTo>
                    <a:pt x="3833" y="587"/>
                  </a:lnTo>
                  <a:lnTo>
                    <a:pt x="3855" y="447"/>
                  </a:lnTo>
                  <a:lnTo>
                    <a:pt x="3860" y="377"/>
                  </a:lnTo>
                  <a:lnTo>
                    <a:pt x="3861" y="325"/>
                  </a:lnTo>
                  <a:lnTo>
                    <a:pt x="3847" y="228"/>
                  </a:lnTo>
                  <a:lnTo>
                    <a:pt x="3821" y="162"/>
                  </a:lnTo>
                  <a:lnTo>
                    <a:pt x="3797" y="120"/>
                  </a:lnTo>
                  <a:lnTo>
                    <a:pt x="3765" y="83"/>
                  </a:lnTo>
                  <a:lnTo>
                    <a:pt x="3728" y="49"/>
                  </a:lnTo>
                  <a:lnTo>
                    <a:pt x="3707" y="35"/>
                  </a:lnTo>
                  <a:close/>
                </a:path>
              </a:pathLst>
            </a:custGeom>
            <a:solidFill>
              <a:srgbClr val="92D050"/>
            </a:solidFill>
            <a:ln w="9525">
              <a:noFill/>
              <a:round/>
              <a:headEnd/>
              <a:tailEnd/>
            </a:ln>
          </p:spPr>
          <p:txBody>
            <a:bodyPr vert="horz" wrap="square" lIns="68580" tIns="34290" rIns="68580" bIns="34290" numCol="1" anchor="ctr" anchorCtr="0" compatLnSpc="1">
              <a:prstTxWarp prst="textNoShape">
                <a:avLst/>
              </a:prstTxWarp>
            </a:bodyPr>
            <a:lstStyle/>
            <a:p>
              <a:pPr>
                <a:defRPr/>
              </a:pPr>
              <a:r>
                <a:rPr lang="es-MX" sz="1100" b="1" dirty="0">
                  <a:solidFill>
                    <a:srgbClr val="063951">
                      <a:lumMod val="50000"/>
                    </a:srgbClr>
                  </a:solidFill>
                  <a:latin typeface="Calibri" panose="020F0502020204030204"/>
                </a:rPr>
                <a:t> Deforestación</a:t>
              </a:r>
            </a:p>
          </p:txBody>
        </p:sp>
        <p:sp>
          <p:nvSpPr>
            <p:cNvPr id="65" name="Freeform 295">
              <a:extLst>
                <a:ext uri="{FF2B5EF4-FFF2-40B4-BE49-F238E27FC236}">
                  <a16:creationId xmlns:a16="http://schemas.microsoft.com/office/drawing/2014/main" id="{C594A181-A558-47E2-8D23-84B0434EAAC0}"/>
                </a:ext>
              </a:extLst>
            </p:cNvPr>
            <p:cNvSpPr>
              <a:spLocks/>
            </p:cNvSpPr>
            <p:nvPr/>
          </p:nvSpPr>
          <p:spPr bwMode="auto">
            <a:xfrm>
              <a:off x="4875554" y="4623767"/>
              <a:ext cx="703679" cy="343909"/>
            </a:xfrm>
            <a:custGeom>
              <a:avLst/>
              <a:gdLst>
                <a:gd name="T0" fmla="*/ 1392 w 1460"/>
                <a:gd name="T1" fmla="*/ 10 h 959"/>
                <a:gd name="T2" fmla="*/ 1384 w 1460"/>
                <a:gd name="T3" fmla="*/ 10 h 959"/>
                <a:gd name="T4" fmla="*/ 1377 w 1460"/>
                <a:gd name="T5" fmla="*/ 11 h 959"/>
                <a:gd name="T6" fmla="*/ 1370 w 1460"/>
                <a:gd name="T7" fmla="*/ 6 h 959"/>
                <a:gd name="T8" fmla="*/ 1359 w 1460"/>
                <a:gd name="T9" fmla="*/ 6 h 959"/>
                <a:gd name="T10" fmla="*/ 1233 w 1460"/>
                <a:gd name="T11" fmla="*/ 23 h 959"/>
                <a:gd name="T12" fmla="*/ 1109 w 1460"/>
                <a:gd name="T13" fmla="*/ 48 h 959"/>
                <a:gd name="T14" fmla="*/ 1100 w 1460"/>
                <a:gd name="T15" fmla="*/ 50 h 959"/>
                <a:gd name="T16" fmla="*/ 1086 w 1460"/>
                <a:gd name="T17" fmla="*/ 65 h 959"/>
                <a:gd name="T18" fmla="*/ 1078 w 1460"/>
                <a:gd name="T19" fmla="*/ 83 h 959"/>
                <a:gd name="T20" fmla="*/ 1079 w 1460"/>
                <a:gd name="T21" fmla="*/ 102 h 959"/>
                <a:gd name="T22" fmla="*/ 1083 w 1460"/>
                <a:gd name="T23" fmla="*/ 111 h 959"/>
                <a:gd name="T24" fmla="*/ 1106 w 1460"/>
                <a:gd name="T25" fmla="*/ 145 h 959"/>
                <a:gd name="T26" fmla="*/ 1130 w 1460"/>
                <a:gd name="T27" fmla="*/ 180 h 959"/>
                <a:gd name="T28" fmla="*/ 996 w 1460"/>
                <a:gd name="T29" fmla="*/ 282 h 959"/>
                <a:gd name="T30" fmla="*/ 723 w 1460"/>
                <a:gd name="T31" fmla="*/ 474 h 959"/>
                <a:gd name="T32" fmla="*/ 443 w 1460"/>
                <a:gd name="T33" fmla="*/ 656 h 959"/>
                <a:gd name="T34" fmla="*/ 156 w 1460"/>
                <a:gd name="T35" fmla="*/ 829 h 959"/>
                <a:gd name="T36" fmla="*/ 11 w 1460"/>
                <a:gd name="T37" fmla="*/ 915 h 959"/>
                <a:gd name="T38" fmla="*/ 2 w 1460"/>
                <a:gd name="T39" fmla="*/ 921 h 959"/>
                <a:gd name="T40" fmla="*/ 0 w 1460"/>
                <a:gd name="T41" fmla="*/ 938 h 959"/>
                <a:gd name="T42" fmla="*/ 7 w 1460"/>
                <a:gd name="T43" fmla="*/ 952 h 959"/>
                <a:gd name="T44" fmla="*/ 24 w 1460"/>
                <a:gd name="T45" fmla="*/ 959 h 959"/>
                <a:gd name="T46" fmla="*/ 34 w 1460"/>
                <a:gd name="T47" fmla="*/ 956 h 959"/>
                <a:gd name="T48" fmla="*/ 111 w 1460"/>
                <a:gd name="T49" fmla="*/ 923 h 959"/>
                <a:gd name="T50" fmla="*/ 263 w 1460"/>
                <a:gd name="T51" fmla="*/ 849 h 959"/>
                <a:gd name="T52" fmla="*/ 484 w 1460"/>
                <a:gd name="T53" fmla="*/ 728 h 959"/>
                <a:gd name="T54" fmla="*/ 769 w 1460"/>
                <a:gd name="T55" fmla="*/ 549 h 959"/>
                <a:gd name="T56" fmla="*/ 1044 w 1460"/>
                <a:gd name="T57" fmla="*/ 352 h 959"/>
                <a:gd name="T58" fmla="*/ 1176 w 1460"/>
                <a:gd name="T59" fmla="*/ 249 h 959"/>
                <a:gd name="T60" fmla="*/ 1182 w 1460"/>
                <a:gd name="T61" fmla="*/ 256 h 959"/>
                <a:gd name="T62" fmla="*/ 1185 w 1460"/>
                <a:gd name="T63" fmla="*/ 263 h 959"/>
                <a:gd name="T64" fmla="*/ 1201 w 1460"/>
                <a:gd name="T65" fmla="*/ 285 h 959"/>
                <a:gd name="T66" fmla="*/ 1231 w 1460"/>
                <a:gd name="T67" fmla="*/ 308 h 959"/>
                <a:gd name="T68" fmla="*/ 1254 w 1460"/>
                <a:gd name="T69" fmla="*/ 316 h 959"/>
                <a:gd name="T70" fmla="*/ 1268 w 1460"/>
                <a:gd name="T71" fmla="*/ 315 h 959"/>
                <a:gd name="T72" fmla="*/ 1284 w 1460"/>
                <a:gd name="T73" fmla="*/ 312 h 959"/>
                <a:gd name="T74" fmla="*/ 1310 w 1460"/>
                <a:gd name="T75" fmla="*/ 295 h 959"/>
                <a:gd name="T76" fmla="*/ 1340 w 1460"/>
                <a:gd name="T77" fmla="*/ 259 h 959"/>
                <a:gd name="T78" fmla="*/ 1357 w 1460"/>
                <a:gd name="T79" fmla="*/ 233 h 959"/>
                <a:gd name="T80" fmla="*/ 1384 w 1460"/>
                <a:gd name="T81" fmla="*/ 192 h 959"/>
                <a:gd name="T82" fmla="*/ 1433 w 1460"/>
                <a:gd name="T83" fmla="*/ 103 h 959"/>
                <a:gd name="T84" fmla="*/ 1455 w 1460"/>
                <a:gd name="T85" fmla="*/ 59 h 959"/>
                <a:gd name="T86" fmla="*/ 1460 w 1460"/>
                <a:gd name="T87" fmla="*/ 43 h 959"/>
                <a:gd name="T88" fmla="*/ 1451 w 1460"/>
                <a:gd name="T89" fmla="*/ 17 h 959"/>
                <a:gd name="T90" fmla="*/ 1429 w 1460"/>
                <a:gd name="T91" fmla="*/ 0 h 959"/>
                <a:gd name="T92" fmla="*/ 1403 w 1460"/>
                <a:gd name="T93" fmla="*/ 0 h 959"/>
                <a:gd name="T94" fmla="*/ 1392 w 1460"/>
                <a:gd name="T95" fmla="*/ 10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60" h="959">
                  <a:moveTo>
                    <a:pt x="1392" y="10"/>
                  </a:moveTo>
                  <a:lnTo>
                    <a:pt x="1384" y="10"/>
                  </a:lnTo>
                  <a:lnTo>
                    <a:pt x="1377" y="11"/>
                  </a:lnTo>
                  <a:lnTo>
                    <a:pt x="1370" y="6"/>
                  </a:lnTo>
                  <a:lnTo>
                    <a:pt x="1359" y="6"/>
                  </a:lnTo>
                  <a:lnTo>
                    <a:pt x="1233" y="23"/>
                  </a:lnTo>
                  <a:lnTo>
                    <a:pt x="1109" y="48"/>
                  </a:lnTo>
                  <a:lnTo>
                    <a:pt x="1100" y="50"/>
                  </a:lnTo>
                  <a:lnTo>
                    <a:pt x="1086" y="65"/>
                  </a:lnTo>
                  <a:lnTo>
                    <a:pt x="1078" y="83"/>
                  </a:lnTo>
                  <a:lnTo>
                    <a:pt x="1079" y="102"/>
                  </a:lnTo>
                  <a:lnTo>
                    <a:pt x="1083" y="111"/>
                  </a:lnTo>
                  <a:lnTo>
                    <a:pt x="1106" y="145"/>
                  </a:lnTo>
                  <a:lnTo>
                    <a:pt x="1130" y="180"/>
                  </a:lnTo>
                  <a:lnTo>
                    <a:pt x="996" y="282"/>
                  </a:lnTo>
                  <a:lnTo>
                    <a:pt x="723" y="474"/>
                  </a:lnTo>
                  <a:lnTo>
                    <a:pt x="443" y="656"/>
                  </a:lnTo>
                  <a:lnTo>
                    <a:pt x="156" y="829"/>
                  </a:lnTo>
                  <a:lnTo>
                    <a:pt x="11" y="915"/>
                  </a:lnTo>
                  <a:lnTo>
                    <a:pt x="2" y="921"/>
                  </a:lnTo>
                  <a:lnTo>
                    <a:pt x="0" y="938"/>
                  </a:lnTo>
                  <a:lnTo>
                    <a:pt x="7" y="952"/>
                  </a:lnTo>
                  <a:lnTo>
                    <a:pt x="24" y="959"/>
                  </a:lnTo>
                  <a:lnTo>
                    <a:pt x="34" y="956"/>
                  </a:lnTo>
                  <a:lnTo>
                    <a:pt x="111" y="923"/>
                  </a:lnTo>
                  <a:lnTo>
                    <a:pt x="263" y="849"/>
                  </a:lnTo>
                  <a:lnTo>
                    <a:pt x="484" y="728"/>
                  </a:lnTo>
                  <a:lnTo>
                    <a:pt x="769" y="549"/>
                  </a:lnTo>
                  <a:lnTo>
                    <a:pt x="1044" y="352"/>
                  </a:lnTo>
                  <a:lnTo>
                    <a:pt x="1176" y="249"/>
                  </a:lnTo>
                  <a:lnTo>
                    <a:pt x="1182" y="256"/>
                  </a:lnTo>
                  <a:lnTo>
                    <a:pt x="1185" y="263"/>
                  </a:lnTo>
                  <a:lnTo>
                    <a:pt x="1201" y="285"/>
                  </a:lnTo>
                  <a:lnTo>
                    <a:pt x="1231" y="308"/>
                  </a:lnTo>
                  <a:lnTo>
                    <a:pt x="1254" y="316"/>
                  </a:lnTo>
                  <a:lnTo>
                    <a:pt x="1268" y="315"/>
                  </a:lnTo>
                  <a:lnTo>
                    <a:pt x="1284" y="312"/>
                  </a:lnTo>
                  <a:lnTo>
                    <a:pt x="1310" y="295"/>
                  </a:lnTo>
                  <a:lnTo>
                    <a:pt x="1340" y="259"/>
                  </a:lnTo>
                  <a:lnTo>
                    <a:pt x="1357" y="233"/>
                  </a:lnTo>
                  <a:lnTo>
                    <a:pt x="1384" y="192"/>
                  </a:lnTo>
                  <a:lnTo>
                    <a:pt x="1433" y="103"/>
                  </a:lnTo>
                  <a:lnTo>
                    <a:pt x="1455" y="59"/>
                  </a:lnTo>
                  <a:lnTo>
                    <a:pt x="1460" y="43"/>
                  </a:lnTo>
                  <a:lnTo>
                    <a:pt x="1451" y="17"/>
                  </a:lnTo>
                  <a:lnTo>
                    <a:pt x="1429" y="0"/>
                  </a:lnTo>
                  <a:lnTo>
                    <a:pt x="1403" y="0"/>
                  </a:lnTo>
                  <a:lnTo>
                    <a:pt x="1392" y="10"/>
                  </a:lnTo>
                  <a:close/>
                </a:path>
              </a:pathLst>
            </a:custGeom>
            <a:solidFill>
              <a:srgbClr val="063951">
                <a:lumMod val="50000"/>
              </a:srgbClr>
            </a:solidFill>
            <a:ln w="9525">
              <a:noFill/>
              <a:round/>
              <a:headEnd/>
              <a:tailEnd/>
            </a:ln>
          </p:spPr>
          <p:txBody>
            <a:bodyPr vert="horz" wrap="square" lIns="68580" tIns="34290" rIns="68580" bIns="34290" numCol="1" anchor="t" anchorCtr="0" compatLnSpc="1">
              <a:prstTxWarp prst="textNoShape">
                <a:avLst/>
              </a:prstTxWarp>
            </a:bodyPr>
            <a:lstStyle/>
            <a:p>
              <a:pPr>
                <a:defRPr/>
              </a:pPr>
              <a:endParaRPr lang="es-MX" sz="1050" kern="0">
                <a:solidFill>
                  <a:prstClr val="black"/>
                </a:solidFill>
                <a:latin typeface="Calibri" panose="020F0502020204030204"/>
              </a:endParaRPr>
            </a:p>
          </p:txBody>
        </p:sp>
      </p:grpSp>
      <p:sp>
        <p:nvSpPr>
          <p:cNvPr id="2" name="Titel 4">
            <a:extLst>
              <a:ext uri="{FF2B5EF4-FFF2-40B4-BE49-F238E27FC236}">
                <a16:creationId xmlns:a16="http://schemas.microsoft.com/office/drawing/2014/main" id="{DE7DA0CC-9B1B-43A7-99B5-17C8A5C783CE}"/>
              </a:ext>
            </a:extLst>
          </p:cNvPr>
          <p:cNvSpPr txBox="1">
            <a:spLocks/>
          </p:cNvSpPr>
          <p:nvPr/>
        </p:nvSpPr>
        <p:spPr>
          <a:xfrm>
            <a:off x="2067423" y="696866"/>
            <a:ext cx="7237411" cy="461665"/>
          </a:xfrm>
          <a:prstGeom prst="rect">
            <a:avLst/>
          </a:prstGeom>
        </p:spPr>
        <p:txBody>
          <a:bodyPr/>
          <a:lstStyle>
            <a:lvl1pPr algn="l" defTabSz="914400" rtl="0" eaLnBrk="1" latinLnBrk="0" hangingPunct="1">
              <a:spcBef>
                <a:spcPct val="0"/>
              </a:spcBef>
              <a:buNone/>
              <a:defRPr sz="3000" kern="1200">
                <a:solidFill>
                  <a:schemeClr val="tx1"/>
                </a:solidFill>
                <a:latin typeface="Times" pitchFamily="18" charset="0"/>
                <a:ea typeface="+mj-ea"/>
                <a:cs typeface="Times" pitchFamily="18" charset="0"/>
              </a:defRPr>
            </a:lvl1pPr>
          </a:lstStyle>
          <a:p>
            <a:pPr>
              <a:spcBef>
                <a:spcPct val="20000"/>
              </a:spcBef>
            </a:pPr>
            <a:r>
              <a:rPr lang="de-DE" dirty="0">
                <a:solidFill>
                  <a:srgbClr val="1F497D"/>
                </a:solidFill>
                <a:latin typeface="Times"/>
                <a:cs typeface="Times"/>
              </a:rPr>
              <a:t>¿Por qué es importante la sostenibilidad para las empresas?</a:t>
            </a:r>
          </a:p>
        </p:txBody>
      </p:sp>
      <p:sp>
        <p:nvSpPr>
          <p:cNvPr id="66" name="CuadroTexto 65">
            <a:extLst>
              <a:ext uri="{FF2B5EF4-FFF2-40B4-BE49-F238E27FC236}">
                <a16:creationId xmlns:a16="http://schemas.microsoft.com/office/drawing/2014/main" id="{228B9AC7-F704-4082-8770-71C2124586A7}"/>
              </a:ext>
            </a:extLst>
          </p:cNvPr>
          <p:cNvSpPr txBox="1"/>
          <p:nvPr/>
        </p:nvSpPr>
        <p:spPr>
          <a:xfrm>
            <a:off x="5483208" y="5947586"/>
            <a:ext cx="4847791" cy="461665"/>
          </a:xfrm>
          <a:prstGeom prst="rect">
            <a:avLst/>
          </a:prstGeom>
          <a:noFill/>
        </p:spPr>
        <p:txBody>
          <a:bodyPr wrap="square" rtlCol="0">
            <a:spAutoFit/>
          </a:bodyPr>
          <a:lstStyle/>
          <a:p>
            <a:r>
              <a:rPr lang="es-ES" sz="1200" dirty="0">
                <a:solidFill>
                  <a:schemeClr val="accent1"/>
                </a:solidFill>
                <a:latin typeface="Arial" panose="020B0604020202020204" pitchFamily="34" charset="0"/>
                <a:cs typeface="Arial" panose="020B0604020202020204" pitchFamily="34" charset="0"/>
              </a:rPr>
              <a:t>10 mega tendencias de sustentabilidad impactarán los negocios de todo el mundo durante los próximos 20 años.</a:t>
            </a:r>
            <a:endParaRPr lang="es-MX" sz="1200" dirty="0">
              <a:solidFill>
                <a:schemeClr val="accent1"/>
              </a:solidFill>
              <a:latin typeface="Arial" panose="020B0604020202020204" pitchFamily="34" charset="0"/>
              <a:cs typeface="Arial" panose="020B0604020202020204" pitchFamily="34" charset="0"/>
            </a:endParaRPr>
          </a:p>
        </p:txBody>
      </p:sp>
      <p:sp>
        <p:nvSpPr>
          <p:cNvPr id="68" name="CuadroTexto 67">
            <a:extLst>
              <a:ext uri="{FF2B5EF4-FFF2-40B4-BE49-F238E27FC236}">
                <a16:creationId xmlns:a16="http://schemas.microsoft.com/office/drawing/2014/main" id="{18B84DBE-EA89-45DE-8B32-1ECB27B3D691}"/>
              </a:ext>
            </a:extLst>
          </p:cNvPr>
          <p:cNvSpPr txBox="1"/>
          <p:nvPr/>
        </p:nvSpPr>
        <p:spPr>
          <a:xfrm>
            <a:off x="1703515" y="1750763"/>
            <a:ext cx="3144871" cy="4401205"/>
          </a:xfrm>
          <a:prstGeom prst="rect">
            <a:avLst/>
          </a:prstGeom>
          <a:noFill/>
        </p:spPr>
        <p:txBody>
          <a:bodyPr wrap="square" rtlCol="0">
            <a:spAutoFit/>
          </a:bodyPr>
          <a:lstStyle/>
          <a:p>
            <a:r>
              <a:rPr lang="es-ES" sz="1400" b="1" dirty="0">
                <a:solidFill>
                  <a:schemeClr val="accent1"/>
                </a:solidFill>
                <a:latin typeface="Arial" panose="020B0604020202020204" pitchFamily="34" charset="0"/>
                <a:cs typeface="Arial" panose="020B0604020202020204" pitchFamily="34" charset="0"/>
              </a:rPr>
              <a:t>Las tendencias actuales de </a:t>
            </a:r>
            <a:r>
              <a:rPr lang="es-ES" sz="1400" b="1" u="sng" dirty="0">
                <a:solidFill>
                  <a:schemeClr val="accent1"/>
                </a:solidFill>
                <a:latin typeface="Arial" panose="020B0604020202020204" pitchFamily="34" charset="0"/>
                <a:cs typeface="Arial" panose="020B0604020202020204" pitchFamily="34" charset="0"/>
              </a:rPr>
              <a:t>sostenibilidad a nivel empresarial </a:t>
            </a:r>
            <a:r>
              <a:rPr lang="es-ES" sz="1400" b="1" dirty="0">
                <a:solidFill>
                  <a:schemeClr val="accent1"/>
                </a:solidFill>
                <a:latin typeface="Arial" panose="020B0604020202020204" pitchFamily="34" charset="0"/>
                <a:cs typeface="Arial" panose="020B0604020202020204" pitchFamily="34" charset="0"/>
              </a:rPr>
              <a:t>indican cuatro  necesidades fundamentales: </a:t>
            </a:r>
          </a:p>
          <a:p>
            <a:endParaRPr lang="es-ES" sz="1400" dirty="0">
              <a:solidFill>
                <a:schemeClr val="accent1"/>
              </a:solidFill>
              <a:latin typeface="Arial" panose="020B0604020202020204" pitchFamily="34" charset="0"/>
              <a:cs typeface="Arial" panose="020B0604020202020204" pitchFamily="34" charset="0"/>
            </a:endParaRPr>
          </a:p>
          <a:p>
            <a:pPr marL="198438" indent="-198438">
              <a:buFont typeface="Arial" panose="020B0604020202020204" pitchFamily="34" charset="0"/>
              <a:buChar char="•"/>
            </a:pPr>
            <a:r>
              <a:rPr lang="es-ES" sz="1400" dirty="0">
                <a:solidFill>
                  <a:schemeClr val="accent1"/>
                </a:solidFill>
                <a:latin typeface="Arial" panose="020B0604020202020204" pitchFamily="34" charset="0"/>
                <a:cs typeface="Arial" panose="020B0604020202020204" pitchFamily="34" charset="0"/>
              </a:rPr>
              <a:t>Asegurar la </a:t>
            </a:r>
            <a:r>
              <a:rPr lang="es-ES" sz="1400" b="1" dirty="0">
                <a:solidFill>
                  <a:schemeClr val="accent2"/>
                </a:solidFill>
                <a:latin typeface="Arial" panose="020B0604020202020204" pitchFamily="34" charset="0"/>
                <a:cs typeface="Arial" panose="020B0604020202020204" pitchFamily="34" charset="0"/>
              </a:rPr>
              <a:t>continuidad del negocio</a:t>
            </a:r>
            <a:r>
              <a:rPr lang="es-ES" sz="1400" dirty="0">
                <a:solidFill>
                  <a:schemeClr val="accent1"/>
                </a:solidFill>
                <a:latin typeface="Arial" panose="020B0604020202020204" pitchFamily="34" charset="0"/>
                <a:cs typeface="Arial" panose="020B0604020202020204" pitchFamily="34" charset="0"/>
              </a:rPr>
              <a:t> a largo plazo. </a:t>
            </a:r>
          </a:p>
          <a:p>
            <a:pPr marL="198438" indent="-198438">
              <a:buFont typeface="Arial" panose="020B0604020202020204" pitchFamily="34" charset="0"/>
              <a:buChar char="•"/>
            </a:pPr>
            <a:endParaRPr lang="es-ES" sz="1400" dirty="0">
              <a:solidFill>
                <a:schemeClr val="accent1"/>
              </a:solidFill>
              <a:latin typeface="Arial" panose="020B0604020202020204" pitchFamily="34" charset="0"/>
              <a:cs typeface="Arial" panose="020B0604020202020204" pitchFamily="34" charset="0"/>
            </a:endParaRPr>
          </a:p>
          <a:p>
            <a:pPr marL="198438" indent="-198438">
              <a:buFont typeface="Arial" panose="020B0604020202020204" pitchFamily="34" charset="0"/>
              <a:buChar char="•"/>
            </a:pPr>
            <a:r>
              <a:rPr lang="es-ES" sz="1400" dirty="0">
                <a:solidFill>
                  <a:schemeClr val="accent1"/>
                </a:solidFill>
                <a:latin typeface="Arial" panose="020B0604020202020204" pitchFamily="34" charset="0"/>
                <a:cs typeface="Arial" panose="020B0604020202020204" pitchFamily="34" charset="0"/>
              </a:rPr>
              <a:t>Fortalecer la </a:t>
            </a:r>
            <a:r>
              <a:rPr lang="es-ES" sz="1400" b="1" dirty="0">
                <a:solidFill>
                  <a:schemeClr val="accent2"/>
                </a:solidFill>
                <a:latin typeface="Arial" panose="020B0604020202020204" pitchFamily="34" charset="0"/>
                <a:cs typeface="Arial" panose="020B0604020202020204" pitchFamily="34" charset="0"/>
              </a:rPr>
              <a:t>reputación institucional </a:t>
            </a:r>
            <a:r>
              <a:rPr lang="es-ES" sz="1400" dirty="0">
                <a:solidFill>
                  <a:schemeClr val="accent1"/>
                </a:solidFill>
                <a:latin typeface="Arial" panose="020B0604020202020204" pitchFamily="34" charset="0"/>
                <a:cs typeface="Arial" panose="020B0604020202020204" pitchFamily="34" charset="0"/>
              </a:rPr>
              <a:t>hacia los grupos de interés. </a:t>
            </a:r>
          </a:p>
          <a:p>
            <a:pPr marL="198438" indent="-198438">
              <a:buFont typeface="Arial" panose="020B0604020202020204" pitchFamily="34" charset="0"/>
              <a:buChar char="•"/>
            </a:pPr>
            <a:endParaRPr lang="es-ES" sz="1400" dirty="0">
              <a:solidFill>
                <a:schemeClr val="accent1"/>
              </a:solidFill>
              <a:latin typeface="Arial" panose="020B0604020202020204" pitchFamily="34" charset="0"/>
              <a:cs typeface="Arial" panose="020B0604020202020204" pitchFamily="34" charset="0"/>
            </a:endParaRPr>
          </a:p>
          <a:p>
            <a:pPr marL="198438" indent="-198438">
              <a:buFont typeface="Arial" panose="020B0604020202020204" pitchFamily="34" charset="0"/>
              <a:buChar char="•"/>
            </a:pPr>
            <a:r>
              <a:rPr lang="es-ES" sz="1400" dirty="0">
                <a:solidFill>
                  <a:schemeClr val="accent1"/>
                </a:solidFill>
                <a:latin typeface="Arial" panose="020B0604020202020204" pitchFamily="34" charset="0"/>
                <a:cs typeface="Arial" panose="020B0604020202020204" pitchFamily="34" charset="0"/>
              </a:rPr>
              <a:t>Cumplir con las leyes y </a:t>
            </a:r>
            <a:r>
              <a:rPr lang="es-ES" sz="1400" b="1" dirty="0">
                <a:solidFill>
                  <a:schemeClr val="accent2"/>
                </a:solidFill>
                <a:latin typeface="Arial" panose="020B0604020202020204" pitchFamily="34" charset="0"/>
                <a:cs typeface="Arial" panose="020B0604020202020204" pitchFamily="34" charset="0"/>
              </a:rPr>
              <a:t>regulaciones</a:t>
            </a:r>
            <a:r>
              <a:rPr lang="es-ES" sz="1400" dirty="0">
                <a:solidFill>
                  <a:schemeClr val="accent1"/>
                </a:solidFill>
                <a:latin typeface="Arial" panose="020B0604020202020204" pitchFamily="34" charset="0"/>
                <a:cs typeface="Arial" panose="020B0604020202020204" pitchFamily="34" charset="0"/>
              </a:rPr>
              <a:t> locales, así como los tratados internacionales.</a:t>
            </a:r>
          </a:p>
          <a:p>
            <a:pPr marL="198438" indent="-198438">
              <a:buFont typeface="Arial" panose="020B0604020202020204" pitchFamily="34" charset="0"/>
              <a:buChar char="•"/>
            </a:pPr>
            <a:endParaRPr lang="es-ES" sz="1400" dirty="0">
              <a:solidFill>
                <a:schemeClr val="accent1"/>
              </a:solidFill>
              <a:latin typeface="Arial" panose="020B0604020202020204" pitchFamily="34" charset="0"/>
              <a:cs typeface="Arial" panose="020B0604020202020204" pitchFamily="34" charset="0"/>
            </a:endParaRPr>
          </a:p>
          <a:p>
            <a:pPr marL="198438" indent="-198438">
              <a:buFont typeface="Arial" panose="020B0604020202020204" pitchFamily="34" charset="0"/>
              <a:buChar char="•"/>
            </a:pPr>
            <a:r>
              <a:rPr lang="es-ES" sz="1400" dirty="0">
                <a:solidFill>
                  <a:schemeClr val="accent1"/>
                </a:solidFill>
                <a:latin typeface="Arial" panose="020B0604020202020204" pitchFamily="34" charset="0"/>
                <a:cs typeface="Arial" panose="020B0604020202020204" pitchFamily="34" charset="0"/>
              </a:rPr>
              <a:t>Considerar las mega tendencias de sostenibilidad en la </a:t>
            </a:r>
            <a:r>
              <a:rPr lang="es-ES" sz="1400" b="1" dirty="0">
                <a:solidFill>
                  <a:schemeClr val="accent2"/>
                </a:solidFill>
                <a:latin typeface="Arial" panose="020B0604020202020204" pitchFamily="34" charset="0"/>
                <a:cs typeface="Arial" panose="020B0604020202020204" pitchFamily="34" charset="0"/>
              </a:rPr>
              <a:t>diversificación del modelo de negocio.</a:t>
            </a:r>
            <a:endParaRPr lang="es-MX" sz="1400" b="1" dirty="0">
              <a:solidFill>
                <a:schemeClr val="accent2"/>
              </a:solidFill>
              <a:latin typeface="Arial" panose="020B0604020202020204" pitchFamily="34" charset="0"/>
              <a:cs typeface="Arial" panose="020B0604020202020204" pitchFamily="34" charset="0"/>
            </a:endParaRPr>
          </a:p>
        </p:txBody>
      </p:sp>
      <p:pic>
        <p:nvPicPr>
          <p:cNvPr id="67" name="Bildplatzhalter 1">
            <a:extLst>
              <a:ext uri="{FF2B5EF4-FFF2-40B4-BE49-F238E27FC236}">
                <a16:creationId xmlns:a16="http://schemas.microsoft.com/office/drawing/2014/main" id="{091D4EC1-2006-485B-AA5B-CE2C925153DE}"/>
              </a:ext>
            </a:extLst>
          </p:cNvPr>
          <p:cNvPicPr>
            <a:picLocks noChangeAspect="1"/>
          </p:cNvPicPr>
          <p:nvPr/>
        </p:nvPicPr>
        <p:blipFill>
          <a:blip r:embed="rId3">
            <a:extLst>
              <a:ext uri="{28A0092B-C50C-407E-A947-70E740481C1C}">
                <a14:useLocalDpi xmlns:a14="http://schemas.microsoft.com/office/drawing/2010/main" val="0"/>
              </a:ext>
            </a:extLst>
          </a:blip>
          <a:srcRect l="2240" r="2240"/>
          <a:stretch>
            <a:fillRect/>
          </a:stretch>
        </p:blipFill>
        <p:spPr>
          <a:xfrm>
            <a:off x="8904000" y="44624"/>
            <a:ext cx="1397000" cy="609600"/>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pic>
    </p:spTree>
    <p:extLst>
      <p:ext uri="{BB962C8B-B14F-4D97-AF65-F5344CB8AC3E}">
        <p14:creationId xmlns:p14="http://schemas.microsoft.com/office/powerpoint/2010/main" val="963225628"/>
      </p:ext>
    </p:extLst>
  </p:cSld>
  <p:clrMapOvr>
    <a:masterClrMapping/>
  </p:clrMapOvr>
  <mc:AlternateContent xmlns:mc="http://schemas.openxmlformats.org/markup-compatibility/2006" xmlns:p14="http://schemas.microsoft.com/office/powerpoint/2010/main">
    <mc:Choice Requires="p14">
      <p:transition spd="slow" p14:dur="20000" advClick="0" advTm="31144"/>
    </mc:Choice>
    <mc:Fallback xmlns="">
      <p:transition spd="slow" advClick="0" advTm="31144"/>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2243141" y="724959"/>
            <a:ext cx="7237411" cy="920508"/>
          </a:xfrm>
        </p:spPr>
        <p:txBody>
          <a:bodyPr/>
          <a:lstStyle/>
          <a:p>
            <a:pPr lvl="0"/>
            <a:r>
              <a:rPr lang="de-DE" dirty="0"/>
              <a:t>Líneas de acción para contribuir al desarrollo sostenible</a:t>
            </a:r>
          </a:p>
        </p:txBody>
      </p:sp>
      <p:pic>
        <p:nvPicPr>
          <p:cNvPr id="4" name="Bildplatzhalter 1"/>
          <p:cNvPicPr>
            <a:picLocks noChangeAspect="1"/>
          </p:cNvPicPr>
          <p:nvPr/>
        </p:nvPicPr>
        <p:blipFill>
          <a:blip r:embed="rId3">
            <a:extLst>
              <a:ext uri="{28A0092B-C50C-407E-A947-70E740481C1C}">
                <a14:useLocalDpi xmlns:a14="http://schemas.microsoft.com/office/drawing/2010/main" val="0"/>
              </a:ext>
            </a:extLst>
          </a:blip>
          <a:srcRect l="2240" r="2240"/>
          <a:stretch>
            <a:fillRect/>
          </a:stretch>
        </p:blipFill>
        <p:spPr>
          <a:xfrm>
            <a:off x="8904000" y="44624"/>
            <a:ext cx="1397000" cy="609600"/>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pic>
      <p:sp>
        <p:nvSpPr>
          <p:cNvPr id="52" name="Freeform: Shape 82">
            <a:extLst>
              <a:ext uri="{FF2B5EF4-FFF2-40B4-BE49-F238E27FC236}">
                <a16:creationId xmlns:a16="http://schemas.microsoft.com/office/drawing/2014/main" id="{5D3DC8E6-3ED7-433C-A0DB-1D3E57661F2F}"/>
              </a:ext>
            </a:extLst>
          </p:cNvPr>
          <p:cNvSpPr>
            <a:spLocks/>
          </p:cNvSpPr>
          <p:nvPr/>
        </p:nvSpPr>
        <p:spPr bwMode="auto">
          <a:xfrm>
            <a:off x="3572982" y="1753866"/>
            <a:ext cx="1118598" cy="2121757"/>
          </a:xfrm>
          <a:custGeom>
            <a:avLst/>
            <a:gdLst>
              <a:gd name="connsiteX0" fmla="*/ 1091813 w 1364969"/>
              <a:gd name="connsiteY0" fmla="*/ 0 h 2589076"/>
              <a:gd name="connsiteX1" fmla="*/ 1251937 w 1364969"/>
              <a:gd name="connsiteY1" fmla="*/ 0 h 2589076"/>
              <a:gd name="connsiteX2" fmla="*/ 1238657 w 1364969"/>
              <a:gd name="connsiteY2" fmla="*/ 30830 h 2589076"/>
              <a:gd name="connsiteX3" fmla="*/ 1204929 w 1364969"/>
              <a:gd name="connsiteY3" fmla="*/ 122734 h 2589076"/>
              <a:gd name="connsiteX4" fmla="*/ 1174508 w 1364969"/>
              <a:gd name="connsiteY4" fmla="*/ 215960 h 2589076"/>
              <a:gd name="connsiteX5" fmla="*/ 1148717 w 1364969"/>
              <a:gd name="connsiteY5" fmla="*/ 311169 h 2589076"/>
              <a:gd name="connsiteX6" fmla="*/ 1128216 w 1364969"/>
              <a:gd name="connsiteY6" fmla="*/ 407040 h 2589076"/>
              <a:gd name="connsiteX7" fmla="*/ 1112344 w 1364969"/>
              <a:gd name="connsiteY7" fmla="*/ 504233 h 2589076"/>
              <a:gd name="connsiteX8" fmla="*/ 1099779 w 1364969"/>
              <a:gd name="connsiteY8" fmla="*/ 601425 h 2589076"/>
              <a:gd name="connsiteX9" fmla="*/ 1093166 w 1364969"/>
              <a:gd name="connsiteY9" fmla="*/ 699941 h 2589076"/>
              <a:gd name="connsiteX10" fmla="*/ 1090520 w 1364969"/>
              <a:gd name="connsiteY10" fmla="*/ 798456 h 2589076"/>
              <a:gd name="connsiteX11" fmla="*/ 1093166 w 1364969"/>
              <a:gd name="connsiteY11" fmla="*/ 896971 h 2589076"/>
              <a:gd name="connsiteX12" fmla="*/ 1101101 w 1364969"/>
              <a:gd name="connsiteY12" fmla="*/ 996809 h 2589076"/>
              <a:gd name="connsiteX13" fmla="*/ 1113005 w 1364969"/>
              <a:gd name="connsiteY13" fmla="*/ 1095324 h 2589076"/>
              <a:gd name="connsiteX14" fmla="*/ 1130200 w 1364969"/>
              <a:gd name="connsiteY14" fmla="*/ 1193839 h 2589076"/>
              <a:gd name="connsiteX15" fmla="*/ 1152685 w 1364969"/>
              <a:gd name="connsiteY15" fmla="*/ 1292355 h 2589076"/>
              <a:gd name="connsiteX16" fmla="*/ 1179137 w 1364969"/>
              <a:gd name="connsiteY16" fmla="*/ 1390209 h 2589076"/>
              <a:gd name="connsiteX17" fmla="*/ 1211542 w 1364969"/>
              <a:gd name="connsiteY17" fmla="*/ 1486079 h 2589076"/>
              <a:gd name="connsiteX18" fmla="*/ 1248576 w 1364969"/>
              <a:gd name="connsiteY18" fmla="*/ 1581950 h 2589076"/>
              <a:gd name="connsiteX19" fmla="*/ 1290901 w 1364969"/>
              <a:gd name="connsiteY19" fmla="*/ 1676498 h 2589076"/>
              <a:gd name="connsiteX20" fmla="*/ 1338516 w 1364969"/>
              <a:gd name="connsiteY20" fmla="*/ 1769724 h 2589076"/>
              <a:gd name="connsiteX21" fmla="*/ 1364969 w 1364969"/>
              <a:gd name="connsiteY21" fmla="*/ 1815345 h 2589076"/>
              <a:gd name="connsiteX22" fmla="*/ 1364969 w 1364969"/>
              <a:gd name="connsiteY22" fmla="*/ 1816006 h 2589076"/>
              <a:gd name="connsiteX23" fmla="*/ 1364718 w 1364969"/>
              <a:gd name="connsiteY23" fmla="*/ 1816152 h 2589076"/>
              <a:gd name="connsiteX24" fmla="*/ 1364969 w 1364969"/>
              <a:gd name="connsiteY24" fmla="*/ 1816581 h 2589076"/>
              <a:gd name="connsiteX25" fmla="*/ 1270200 w 1364969"/>
              <a:gd name="connsiteY25" fmla="*/ 1871195 h 2589076"/>
              <a:gd name="connsiteX26" fmla="*/ 1236673 w 1364969"/>
              <a:gd name="connsiteY26" fmla="*/ 1890719 h 2589076"/>
              <a:gd name="connsiteX27" fmla="*/ 1236673 w 1364969"/>
              <a:gd name="connsiteY27" fmla="*/ 1890516 h 2589076"/>
              <a:gd name="connsiteX28" fmla="*/ 24481 w 1364969"/>
              <a:gd name="connsiteY28" fmla="*/ 2589076 h 2589076"/>
              <a:gd name="connsiteX29" fmla="*/ 0 w 1364969"/>
              <a:gd name="connsiteY29" fmla="*/ 2546160 h 2589076"/>
              <a:gd name="connsiteX30" fmla="*/ 1212183 w 1364969"/>
              <a:gd name="connsiteY30" fmla="*/ 1847260 h 2589076"/>
              <a:gd name="connsiteX31" fmla="*/ 1208236 w 1364969"/>
              <a:gd name="connsiteY31" fmla="*/ 1840470 h 2589076"/>
              <a:gd name="connsiteX32" fmla="*/ 1156652 w 1364969"/>
              <a:gd name="connsiteY32" fmla="*/ 1740632 h 2589076"/>
              <a:gd name="connsiteX33" fmla="*/ 1111021 w 1364969"/>
              <a:gd name="connsiteY33" fmla="*/ 1639472 h 2589076"/>
              <a:gd name="connsiteX34" fmla="*/ 1072003 w 1364969"/>
              <a:gd name="connsiteY34" fmla="*/ 1536329 h 2589076"/>
              <a:gd name="connsiteX35" fmla="*/ 1036953 w 1364969"/>
              <a:gd name="connsiteY35" fmla="*/ 1433185 h 2589076"/>
              <a:gd name="connsiteX36" fmla="*/ 1008516 w 1364969"/>
              <a:gd name="connsiteY36" fmla="*/ 1328058 h 2589076"/>
              <a:gd name="connsiteX37" fmla="*/ 984047 w 1364969"/>
              <a:gd name="connsiteY37" fmla="*/ 1222931 h 2589076"/>
              <a:gd name="connsiteX38" fmla="*/ 965530 w 1364969"/>
              <a:gd name="connsiteY38" fmla="*/ 1117804 h 2589076"/>
              <a:gd name="connsiteX39" fmla="*/ 952965 w 1364969"/>
              <a:gd name="connsiteY39" fmla="*/ 1011355 h 2589076"/>
              <a:gd name="connsiteX40" fmla="*/ 945029 w 1364969"/>
              <a:gd name="connsiteY40" fmla="*/ 904905 h 2589076"/>
              <a:gd name="connsiteX41" fmla="*/ 942384 w 1364969"/>
              <a:gd name="connsiteY41" fmla="*/ 798456 h 2589076"/>
              <a:gd name="connsiteX42" fmla="*/ 945029 w 1364969"/>
              <a:gd name="connsiteY42" fmla="*/ 693329 h 2589076"/>
              <a:gd name="connsiteX43" fmla="*/ 951643 w 1364969"/>
              <a:gd name="connsiteY43" fmla="*/ 588202 h 2589076"/>
              <a:gd name="connsiteX44" fmla="*/ 964869 w 1364969"/>
              <a:gd name="connsiteY44" fmla="*/ 483075 h 2589076"/>
              <a:gd name="connsiteX45" fmla="*/ 982063 w 1364969"/>
              <a:gd name="connsiteY45" fmla="*/ 378609 h 2589076"/>
              <a:gd name="connsiteX46" fmla="*/ 1005210 w 1364969"/>
              <a:gd name="connsiteY46" fmla="*/ 276127 h 2589076"/>
              <a:gd name="connsiteX47" fmla="*/ 1031663 w 1364969"/>
              <a:gd name="connsiteY47" fmla="*/ 174306 h 2589076"/>
              <a:gd name="connsiteX48" fmla="*/ 1064067 w 1364969"/>
              <a:gd name="connsiteY48" fmla="*/ 73807 h 2589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364969" h="2589076">
                <a:moveTo>
                  <a:pt x="1091813" y="0"/>
                </a:moveTo>
                <a:lnTo>
                  <a:pt x="1251937" y="0"/>
                </a:lnTo>
                <a:lnTo>
                  <a:pt x="1238657" y="30830"/>
                </a:lnTo>
                <a:lnTo>
                  <a:pt x="1204929" y="122734"/>
                </a:lnTo>
                <a:lnTo>
                  <a:pt x="1174508" y="215960"/>
                </a:lnTo>
                <a:lnTo>
                  <a:pt x="1148717" y="311169"/>
                </a:lnTo>
                <a:lnTo>
                  <a:pt x="1128216" y="407040"/>
                </a:lnTo>
                <a:lnTo>
                  <a:pt x="1112344" y="504233"/>
                </a:lnTo>
                <a:lnTo>
                  <a:pt x="1099779" y="601425"/>
                </a:lnTo>
                <a:lnTo>
                  <a:pt x="1093166" y="699941"/>
                </a:lnTo>
                <a:lnTo>
                  <a:pt x="1090520" y="798456"/>
                </a:lnTo>
                <a:lnTo>
                  <a:pt x="1093166" y="896971"/>
                </a:lnTo>
                <a:lnTo>
                  <a:pt x="1101101" y="996809"/>
                </a:lnTo>
                <a:lnTo>
                  <a:pt x="1113005" y="1095324"/>
                </a:lnTo>
                <a:lnTo>
                  <a:pt x="1130200" y="1193839"/>
                </a:lnTo>
                <a:lnTo>
                  <a:pt x="1152685" y="1292355"/>
                </a:lnTo>
                <a:lnTo>
                  <a:pt x="1179137" y="1390209"/>
                </a:lnTo>
                <a:lnTo>
                  <a:pt x="1211542" y="1486079"/>
                </a:lnTo>
                <a:lnTo>
                  <a:pt x="1248576" y="1581950"/>
                </a:lnTo>
                <a:lnTo>
                  <a:pt x="1290901" y="1676498"/>
                </a:lnTo>
                <a:lnTo>
                  <a:pt x="1338516" y="1769724"/>
                </a:lnTo>
                <a:lnTo>
                  <a:pt x="1364969" y="1815345"/>
                </a:lnTo>
                <a:lnTo>
                  <a:pt x="1364969" y="1816006"/>
                </a:lnTo>
                <a:lnTo>
                  <a:pt x="1364718" y="1816152"/>
                </a:lnTo>
                <a:lnTo>
                  <a:pt x="1364969" y="1816581"/>
                </a:lnTo>
                <a:lnTo>
                  <a:pt x="1270200" y="1871195"/>
                </a:lnTo>
                <a:lnTo>
                  <a:pt x="1236673" y="1890719"/>
                </a:lnTo>
                <a:lnTo>
                  <a:pt x="1236673" y="1890516"/>
                </a:lnTo>
                <a:lnTo>
                  <a:pt x="24481" y="2589076"/>
                </a:lnTo>
                <a:lnTo>
                  <a:pt x="0" y="2546160"/>
                </a:lnTo>
                <a:lnTo>
                  <a:pt x="1212183" y="1847260"/>
                </a:lnTo>
                <a:lnTo>
                  <a:pt x="1208236" y="1840470"/>
                </a:lnTo>
                <a:lnTo>
                  <a:pt x="1156652" y="1740632"/>
                </a:lnTo>
                <a:lnTo>
                  <a:pt x="1111021" y="1639472"/>
                </a:lnTo>
                <a:lnTo>
                  <a:pt x="1072003" y="1536329"/>
                </a:lnTo>
                <a:lnTo>
                  <a:pt x="1036953" y="1433185"/>
                </a:lnTo>
                <a:lnTo>
                  <a:pt x="1008516" y="1328058"/>
                </a:lnTo>
                <a:lnTo>
                  <a:pt x="984047" y="1222931"/>
                </a:lnTo>
                <a:lnTo>
                  <a:pt x="965530" y="1117804"/>
                </a:lnTo>
                <a:lnTo>
                  <a:pt x="952965" y="1011355"/>
                </a:lnTo>
                <a:lnTo>
                  <a:pt x="945029" y="904905"/>
                </a:lnTo>
                <a:lnTo>
                  <a:pt x="942384" y="798456"/>
                </a:lnTo>
                <a:lnTo>
                  <a:pt x="945029" y="693329"/>
                </a:lnTo>
                <a:lnTo>
                  <a:pt x="951643" y="588202"/>
                </a:lnTo>
                <a:lnTo>
                  <a:pt x="964869" y="483075"/>
                </a:lnTo>
                <a:lnTo>
                  <a:pt x="982063" y="378609"/>
                </a:lnTo>
                <a:lnTo>
                  <a:pt x="1005210" y="276127"/>
                </a:lnTo>
                <a:lnTo>
                  <a:pt x="1031663" y="174306"/>
                </a:lnTo>
                <a:lnTo>
                  <a:pt x="1064067" y="73807"/>
                </a:lnTo>
                <a:close/>
              </a:path>
            </a:pathLst>
          </a:custGeom>
          <a:solidFill>
            <a:srgbClr val="063951"/>
          </a:solidFill>
          <a:ln>
            <a:noFill/>
          </a:ln>
        </p:spPr>
        <p:txBody>
          <a:bodyPr vert="horz" wrap="square" lIns="68580" tIns="34290" rIns="68580" bIns="3429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350">
              <a:solidFill>
                <a:sysClr val="windowText" lastClr="000000"/>
              </a:solidFill>
              <a:latin typeface="Calibri" panose="020F0502020204030204"/>
            </a:endParaRPr>
          </a:p>
        </p:txBody>
      </p:sp>
      <p:sp>
        <p:nvSpPr>
          <p:cNvPr id="53" name="Freeform: Shape 83">
            <a:extLst>
              <a:ext uri="{FF2B5EF4-FFF2-40B4-BE49-F238E27FC236}">
                <a16:creationId xmlns:a16="http://schemas.microsoft.com/office/drawing/2014/main" id="{6ED4D7DB-C3A9-4882-8CC5-E9B46E8D8C1D}"/>
              </a:ext>
            </a:extLst>
          </p:cNvPr>
          <p:cNvSpPr>
            <a:spLocks/>
          </p:cNvSpPr>
          <p:nvPr/>
        </p:nvSpPr>
        <p:spPr bwMode="auto">
          <a:xfrm>
            <a:off x="4467208" y="1753863"/>
            <a:ext cx="899106" cy="3094026"/>
          </a:xfrm>
          <a:custGeom>
            <a:avLst/>
            <a:gdLst>
              <a:gd name="connsiteX0" fmla="*/ 161034 w 1097134"/>
              <a:gd name="connsiteY0" fmla="*/ 0 h 3775488"/>
              <a:gd name="connsiteX1" fmla="*/ 322580 w 1097134"/>
              <a:gd name="connsiteY1" fmla="*/ 0 h 3775488"/>
              <a:gd name="connsiteX2" fmla="*/ 319612 w 1097134"/>
              <a:gd name="connsiteY2" fmla="*/ 5896 h 3775488"/>
              <a:gd name="connsiteX3" fmla="*/ 271968 w 1097134"/>
              <a:gd name="connsiteY3" fmla="*/ 119616 h 3775488"/>
              <a:gd name="connsiteX4" fmla="*/ 232926 w 1097134"/>
              <a:gd name="connsiteY4" fmla="*/ 235320 h 3775488"/>
              <a:gd name="connsiteX5" fmla="*/ 201164 w 1097134"/>
              <a:gd name="connsiteY5" fmla="*/ 352347 h 3775488"/>
              <a:gd name="connsiteX6" fmla="*/ 176018 w 1097134"/>
              <a:gd name="connsiteY6" fmla="*/ 472679 h 3775488"/>
              <a:gd name="connsiteX7" fmla="*/ 158813 w 1097134"/>
              <a:gd name="connsiteY7" fmla="*/ 593011 h 3775488"/>
              <a:gd name="connsiteX8" fmla="*/ 150211 w 1097134"/>
              <a:gd name="connsiteY8" fmla="*/ 715988 h 3775488"/>
              <a:gd name="connsiteX9" fmla="*/ 148888 w 1097134"/>
              <a:gd name="connsiteY9" fmla="*/ 838304 h 3775488"/>
              <a:gd name="connsiteX10" fmla="*/ 155505 w 1097134"/>
              <a:gd name="connsiteY10" fmla="*/ 961942 h 3775488"/>
              <a:gd name="connsiteX11" fmla="*/ 170063 w 1097134"/>
              <a:gd name="connsiteY11" fmla="*/ 1084918 h 3775488"/>
              <a:gd name="connsiteX12" fmla="*/ 193223 w 1097134"/>
              <a:gd name="connsiteY12" fmla="*/ 1206573 h 3775488"/>
              <a:gd name="connsiteX13" fmla="*/ 224986 w 1097134"/>
              <a:gd name="connsiteY13" fmla="*/ 1328227 h 3775488"/>
              <a:gd name="connsiteX14" fmla="*/ 264689 w 1097134"/>
              <a:gd name="connsiteY14" fmla="*/ 1449221 h 3775488"/>
              <a:gd name="connsiteX15" fmla="*/ 313656 w 1097134"/>
              <a:gd name="connsiteY15" fmla="*/ 1567569 h 3775488"/>
              <a:gd name="connsiteX16" fmla="*/ 369902 w 1097134"/>
              <a:gd name="connsiteY16" fmla="*/ 1683935 h 3775488"/>
              <a:gd name="connsiteX17" fmla="*/ 402327 w 1097134"/>
              <a:gd name="connsiteY17" fmla="*/ 1741456 h 3775488"/>
              <a:gd name="connsiteX18" fmla="*/ 435413 w 1097134"/>
              <a:gd name="connsiteY18" fmla="*/ 1796333 h 3775488"/>
              <a:gd name="connsiteX19" fmla="*/ 506217 w 1097134"/>
              <a:gd name="connsiteY19" fmla="*/ 1902780 h 3775488"/>
              <a:gd name="connsiteX20" fmla="*/ 583638 w 1097134"/>
              <a:gd name="connsiteY20" fmla="*/ 2001955 h 3775488"/>
              <a:gd name="connsiteX21" fmla="*/ 665692 w 1097134"/>
              <a:gd name="connsiteY21" fmla="*/ 2095180 h 3775488"/>
              <a:gd name="connsiteX22" fmla="*/ 754363 w 1097134"/>
              <a:gd name="connsiteY22" fmla="*/ 2183115 h 3775488"/>
              <a:gd name="connsiteX23" fmla="*/ 847004 w 1097134"/>
              <a:gd name="connsiteY23" fmla="*/ 2263116 h 3775488"/>
              <a:gd name="connsiteX24" fmla="*/ 943615 w 1097134"/>
              <a:gd name="connsiteY24" fmla="*/ 2337166 h 3775488"/>
              <a:gd name="connsiteX25" fmla="*/ 1044858 w 1097134"/>
              <a:gd name="connsiteY25" fmla="*/ 2403944 h 3775488"/>
              <a:gd name="connsiteX26" fmla="*/ 1097134 w 1097134"/>
              <a:gd name="connsiteY26" fmla="*/ 2435019 h 3775488"/>
              <a:gd name="connsiteX27" fmla="*/ 1022360 w 1097134"/>
              <a:gd name="connsiteY27" fmla="*/ 2563285 h 3775488"/>
              <a:gd name="connsiteX28" fmla="*/ 1021767 w 1097134"/>
              <a:gd name="connsiteY28" fmla="*/ 2562933 h 3775488"/>
              <a:gd name="connsiteX29" fmla="*/ 322690 w 1097134"/>
              <a:gd name="connsiteY29" fmla="*/ 3775488 h 3775488"/>
              <a:gd name="connsiteX30" fmla="*/ 279739 w 1097134"/>
              <a:gd name="connsiteY30" fmla="*/ 3751681 h 3775488"/>
              <a:gd name="connsiteX31" fmla="*/ 979048 w 1097134"/>
              <a:gd name="connsiteY31" fmla="*/ 2537526 h 3775488"/>
              <a:gd name="connsiteX32" fmla="*/ 966775 w 1097134"/>
              <a:gd name="connsiteY32" fmla="*/ 2530227 h 3775488"/>
              <a:gd name="connsiteX33" fmla="*/ 856929 w 1097134"/>
              <a:gd name="connsiteY33" fmla="*/ 2458160 h 3775488"/>
              <a:gd name="connsiteX34" fmla="*/ 752377 w 1097134"/>
              <a:gd name="connsiteY34" fmla="*/ 2378159 h 3775488"/>
              <a:gd name="connsiteX35" fmla="*/ 653119 w 1097134"/>
              <a:gd name="connsiteY35" fmla="*/ 2291546 h 3775488"/>
              <a:gd name="connsiteX36" fmla="*/ 557831 w 1097134"/>
              <a:gd name="connsiteY36" fmla="*/ 2197660 h 3775488"/>
              <a:gd name="connsiteX37" fmla="*/ 468499 w 1097134"/>
              <a:gd name="connsiteY37" fmla="*/ 2097163 h 3775488"/>
              <a:gd name="connsiteX38" fmla="*/ 386446 w 1097134"/>
              <a:gd name="connsiteY38" fmla="*/ 1989393 h 3775488"/>
              <a:gd name="connsiteX39" fmla="*/ 309024 w 1097134"/>
              <a:gd name="connsiteY39" fmla="*/ 1875012 h 3775488"/>
              <a:gd name="connsiteX40" fmla="*/ 273953 w 1097134"/>
              <a:gd name="connsiteY40" fmla="*/ 1815507 h 3775488"/>
              <a:gd name="connsiteX41" fmla="*/ 238882 w 1097134"/>
              <a:gd name="connsiteY41" fmla="*/ 1753357 h 3775488"/>
              <a:gd name="connsiteX42" fmla="*/ 178003 w 1097134"/>
              <a:gd name="connsiteY42" fmla="*/ 1628397 h 3775488"/>
              <a:gd name="connsiteX43" fmla="*/ 125727 w 1097134"/>
              <a:gd name="connsiteY43" fmla="*/ 1500792 h 3775488"/>
              <a:gd name="connsiteX44" fmla="*/ 82715 w 1097134"/>
              <a:gd name="connsiteY44" fmla="*/ 1370542 h 3775488"/>
              <a:gd name="connsiteX45" fmla="*/ 48306 w 1097134"/>
              <a:gd name="connsiteY45" fmla="*/ 1239631 h 3775488"/>
              <a:gd name="connsiteX46" fmla="*/ 23160 w 1097134"/>
              <a:gd name="connsiteY46" fmla="*/ 1107398 h 3775488"/>
              <a:gd name="connsiteX47" fmla="*/ 7279 w 1097134"/>
              <a:gd name="connsiteY47" fmla="*/ 974504 h 3775488"/>
              <a:gd name="connsiteX48" fmla="*/ 0 w 1097134"/>
              <a:gd name="connsiteY48" fmla="*/ 842271 h 3775488"/>
              <a:gd name="connsiteX49" fmla="*/ 1324 w 1097134"/>
              <a:gd name="connsiteY49" fmla="*/ 710037 h 3775488"/>
              <a:gd name="connsiteX50" fmla="*/ 11249 w 1097134"/>
              <a:gd name="connsiteY50" fmla="*/ 577804 h 3775488"/>
              <a:gd name="connsiteX51" fmla="*/ 29778 w 1097134"/>
              <a:gd name="connsiteY51" fmla="*/ 447555 h 3775488"/>
              <a:gd name="connsiteX52" fmla="*/ 56246 w 1097134"/>
              <a:gd name="connsiteY52" fmla="*/ 317966 h 3775488"/>
              <a:gd name="connsiteX53" fmla="*/ 90656 w 1097134"/>
              <a:gd name="connsiteY53" fmla="*/ 191022 h 3775488"/>
              <a:gd name="connsiteX54" fmla="*/ 133006 w 1097134"/>
              <a:gd name="connsiteY54" fmla="*/ 66062 h 377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97134" h="3775488">
                <a:moveTo>
                  <a:pt x="161034" y="0"/>
                </a:moveTo>
                <a:lnTo>
                  <a:pt x="322580" y="0"/>
                </a:lnTo>
                <a:lnTo>
                  <a:pt x="319612" y="5896"/>
                </a:lnTo>
                <a:lnTo>
                  <a:pt x="271968" y="119616"/>
                </a:lnTo>
                <a:lnTo>
                  <a:pt x="232926" y="235320"/>
                </a:lnTo>
                <a:lnTo>
                  <a:pt x="201164" y="352347"/>
                </a:lnTo>
                <a:lnTo>
                  <a:pt x="176018" y="472679"/>
                </a:lnTo>
                <a:lnTo>
                  <a:pt x="158813" y="593011"/>
                </a:lnTo>
                <a:lnTo>
                  <a:pt x="150211" y="715988"/>
                </a:lnTo>
                <a:lnTo>
                  <a:pt x="148888" y="838304"/>
                </a:lnTo>
                <a:lnTo>
                  <a:pt x="155505" y="961942"/>
                </a:lnTo>
                <a:lnTo>
                  <a:pt x="170063" y="1084918"/>
                </a:lnTo>
                <a:lnTo>
                  <a:pt x="193223" y="1206573"/>
                </a:lnTo>
                <a:lnTo>
                  <a:pt x="224986" y="1328227"/>
                </a:lnTo>
                <a:lnTo>
                  <a:pt x="264689" y="1449221"/>
                </a:lnTo>
                <a:lnTo>
                  <a:pt x="313656" y="1567569"/>
                </a:lnTo>
                <a:lnTo>
                  <a:pt x="369902" y="1683935"/>
                </a:lnTo>
                <a:lnTo>
                  <a:pt x="402327" y="1741456"/>
                </a:lnTo>
                <a:lnTo>
                  <a:pt x="435413" y="1796333"/>
                </a:lnTo>
                <a:lnTo>
                  <a:pt x="506217" y="1902780"/>
                </a:lnTo>
                <a:lnTo>
                  <a:pt x="583638" y="2001955"/>
                </a:lnTo>
                <a:lnTo>
                  <a:pt x="665692" y="2095180"/>
                </a:lnTo>
                <a:lnTo>
                  <a:pt x="754363" y="2183115"/>
                </a:lnTo>
                <a:lnTo>
                  <a:pt x="847004" y="2263116"/>
                </a:lnTo>
                <a:lnTo>
                  <a:pt x="943615" y="2337166"/>
                </a:lnTo>
                <a:lnTo>
                  <a:pt x="1044858" y="2403944"/>
                </a:lnTo>
                <a:lnTo>
                  <a:pt x="1097134" y="2435019"/>
                </a:lnTo>
                <a:lnTo>
                  <a:pt x="1022360" y="2563285"/>
                </a:lnTo>
                <a:lnTo>
                  <a:pt x="1021767" y="2562933"/>
                </a:lnTo>
                <a:lnTo>
                  <a:pt x="322690" y="3775488"/>
                </a:lnTo>
                <a:lnTo>
                  <a:pt x="279739" y="3751681"/>
                </a:lnTo>
                <a:lnTo>
                  <a:pt x="979048" y="2537526"/>
                </a:lnTo>
                <a:lnTo>
                  <a:pt x="966775" y="2530227"/>
                </a:lnTo>
                <a:lnTo>
                  <a:pt x="856929" y="2458160"/>
                </a:lnTo>
                <a:lnTo>
                  <a:pt x="752377" y="2378159"/>
                </a:lnTo>
                <a:lnTo>
                  <a:pt x="653119" y="2291546"/>
                </a:lnTo>
                <a:lnTo>
                  <a:pt x="557831" y="2197660"/>
                </a:lnTo>
                <a:lnTo>
                  <a:pt x="468499" y="2097163"/>
                </a:lnTo>
                <a:lnTo>
                  <a:pt x="386446" y="1989393"/>
                </a:lnTo>
                <a:lnTo>
                  <a:pt x="309024" y="1875012"/>
                </a:lnTo>
                <a:lnTo>
                  <a:pt x="273953" y="1815507"/>
                </a:lnTo>
                <a:lnTo>
                  <a:pt x="238882" y="1753357"/>
                </a:lnTo>
                <a:lnTo>
                  <a:pt x="178003" y="1628397"/>
                </a:lnTo>
                <a:lnTo>
                  <a:pt x="125727" y="1500792"/>
                </a:lnTo>
                <a:lnTo>
                  <a:pt x="82715" y="1370542"/>
                </a:lnTo>
                <a:lnTo>
                  <a:pt x="48306" y="1239631"/>
                </a:lnTo>
                <a:lnTo>
                  <a:pt x="23160" y="1107398"/>
                </a:lnTo>
                <a:lnTo>
                  <a:pt x="7279" y="974504"/>
                </a:lnTo>
                <a:lnTo>
                  <a:pt x="0" y="842271"/>
                </a:lnTo>
                <a:lnTo>
                  <a:pt x="1324" y="710037"/>
                </a:lnTo>
                <a:lnTo>
                  <a:pt x="11249" y="577804"/>
                </a:lnTo>
                <a:lnTo>
                  <a:pt x="29778" y="447555"/>
                </a:lnTo>
                <a:lnTo>
                  <a:pt x="56246" y="317966"/>
                </a:lnTo>
                <a:lnTo>
                  <a:pt x="90656" y="191022"/>
                </a:lnTo>
                <a:lnTo>
                  <a:pt x="133006" y="66062"/>
                </a:lnTo>
                <a:close/>
              </a:path>
            </a:pathLst>
          </a:custGeom>
          <a:solidFill>
            <a:srgbClr val="F7931F"/>
          </a:solidFill>
          <a:ln>
            <a:noFill/>
          </a:ln>
        </p:spPr>
        <p:txBody>
          <a:bodyPr vert="horz" wrap="square" lIns="68580" tIns="34290" rIns="68580" bIns="3429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350">
              <a:solidFill>
                <a:sysClr val="windowText" lastClr="000000"/>
              </a:solidFill>
              <a:latin typeface="Calibri" panose="020F0502020204030204"/>
            </a:endParaRPr>
          </a:p>
        </p:txBody>
      </p:sp>
      <p:sp>
        <p:nvSpPr>
          <p:cNvPr id="54" name="Freeform: Shape 84">
            <a:extLst>
              <a:ext uri="{FF2B5EF4-FFF2-40B4-BE49-F238E27FC236}">
                <a16:creationId xmlns:a16="http://schemas.microsoft.com/office/drawing/2014/main" id="{F3CCE829-9F0B-4A3C-B2FF-9EA471EBCD23}"/>
              </a:ext>
            </a:extLst>
          </p:cNvPr>
          <p:cNvSpPr>
            <a:spLocks noChangeArrowheads="1"/>
          </p:cNvSpPr>
          <p:nvPr/>
        </p:nvSpPr>
        <p:spPr bwMode="auto">
          <a:xfrm>
            <a:off x="4589152" y="2400960"/>
            <a:ext cx="1554331" cy="2703818"/>
          </a:xfrm>
          <a:custGeom>
            <a:avLst/>
            <a:gdLst>
              <a:gd name="connsiteX0" fmla="*/ 0 w 1896673"/>
              <a:gd name="connsiteY0" fmla="*/ 0 h 3299336"/>
              <a:gd name="connsiteX1" fmla="*/ 148136 w 1896673"/>
              <a:gd name="connsiteY1" fmla="*/ 0 h 3299336"/>
              <a:gd name="connsiteX2" fmla="*/ 148797 w 1896673"/>
              <a:gd name="connsiteY2" fmla="*/ 55551 h 3299336"/>
              <a:gd name="connsiteX3" fmla="*/ 156072 w 1896673"/>
              <a:gd name="connsiteY3" fmla="*/ 167976 h 3299336"/>
              <a:gd name="connsiteX4" fmla="*/ 169298 w 1896673"/>
              <a:gd name="connsiteY4" fmla="*/ 280400 h 3299336"/>
              <a:gd name="connsiteX5" fmla="*/ 191122 w 1896673"/>
              <a:gd name="connsiteY5" fmla="*/ 391503 h 3299336"/>
              <a:gd name="connsiteX6" fmla="*/ 220220 w 1896673"/>
              <a:gd name="connsiteY6" fmla="*/ 502605 h 3299336"/>
              <a:gd name="connsiteX7" fmla="*/ 257254 w 1896673"/>
              <a:gd name="connsiteY7" fmla="*/ 612384 h 3299336"/>
              <a:gd name="connsiteX8" fmla="*/ 300901 w 1896673"/>
              <a:gd name="connsiteY8" fmla="*/ 719518 h 3299336"/>
              <a:gd name="connsiteX9" fmla="*/ 353146 w 1896673"/>
              <a:gd name="connsiteY9" fmla="*/ 825330 h 3299336"/>
              <a:gd name="connsiteX10" fmla="*/ 382244 w 1896673"/>
              <a:gd name="connsiteY10" fmla="*/ 877574 h 3299336"/>
              <a:gd name="connsiteX11" fmla="*/ 412665 w 1896673"/>
              <a:gd name="connsiteY11" fmla="*/ 929819 h 3299336"/>
              <a:gd name="connsiteX12" fmla="*/ 480120 w 1896673"/>
              <a:gd name="connsiteY12" fmla="*/ 1028356 h 3299336"/>
              <a:gd name="connsiteX13" fmla="*/ 551542 w 1896673"/>
              <a:gd name="connsiteY13" fmla="*/ 1122264 h 3299336"/>
              <a:gd name="connsiteX14" fmla="*/ 628917 w 1896673"/>
              <a:gd name="connsiteY14" fmla="*/ 1208897 h 3299336"/>
              <a:gd name="connsiteX15" fmla="*/ 712244 w 1896673"/>
              <a:gd name="connsiteY15" fmla="*/ 1290239 h 3299336"/>
              <a:gd name="connsiteX16" fmla="*/ 798877 w 1896673"/>
              <a:gd name="connsiteY16" fmla="*/ 1364969 h 3299336"/>
              <a:gd name="connsiteX17" fmla="*/ 890139 w 1896673"/>
              <a:gd name="connsiteY17" fmla="*/ 1433085 h 3299336"/>
              <a:gd name="connsiteX18" fmla="*/ 985370 w 1896673"/>
              <a:gd name="connsiteY18" fmla="*/ 1495911 h 3299336"/>
              <a:gd name="connsiteX19" fmla="*/ 1083246 w 1896673"/>
              <a:gd name="connsiteY19" fmla="*/ 1551462 h 3299336"/>
              <a:gd name="connsiteX20" fmla="*/ 1185089 w 1896673"/>
              <a:gd name="connsiteY20" fmla="*/ 1600400 h 3299336"/>
              <a:gd name="connsiteX21" fmla="*/ 1289578 w 1896673"/>
              <a:gd name="connsiteY21" fmla="*/ 1642724 h 3299336"/>
              <a:gd name="connsiteX22" fmla="*/ 1396051 w 1896673"/>
              <a:gd name="connsiteY22" fmla="*/ 1678436 h 3299336"/>
              <a:gd name="connsiteX23" fmla="*/ 1505169 w 1896673"/>
              <a:gd name="connsiteY23" fmla="*/ 1706872 h 3299336"/>
              <a:gd name="connsiteX24" fmla="*/ 1615610 w 1896673"/>
              <a:gd name="connsiteY24" fmla="*/ 1728696 h 3299336"/>
              <a:gd name="connsiteX25" fmla="*/ 1726712 w 1896673"/>
              <a:gd name="connsiteY25" fmla="*/ 1743245 h 3299336"/>
              <a:gd name="connsiteX26" fmla="*/ 1840459 w 1896673"/>
              <a:gd name="connsiteY26" fmla="*/ 1751181 h 3299336"/>
              <a:gd name="connsiteX27" fmla="*/ 1847073 w 1896673"/>
              <a:gd name="connsiteY27" fmla="*/ 1751181 h 3299336"/>
              <a:gd name="connsiteX28" fmla="*/ 1847073 w 1896673"/>
              <a:gd name="connsiteY28" fmla="*/ 1749858 h 3299336"/>
              <a:gd name="connsiteX29" fmla="*/ 1896673 w 1896673"/>
              <a:gd name="connsiteY29" fmla="*/ 1749858 h 3299336"/>
              <a:gd name="connsiteX30" fmla="*/ 1896673 w 1896673"/>
              <a:gd name="connsiteY30" fmla="*/ 3299336 h 3299336"/>
              <a:gd name="connsiteX31" fmla="*/ 1847073 w 1896673"/>
              <a:gd name="connsiteY31" fmla="*/ 3299336 h 3299336"/>
              <a:gd name="connsiteX32" fmla="*/ 1847073 w 1896673"/>
              <a:gd name="connsiteY32" fmla="*/ 1899574 h 3299336"/>
              <a:gd name="connsiteX33" fmla="*/ 1835169 w 1896673"/>
              <a:gd name="connsiteY33" fmla="*/ 1899318 h 3299336"/>
              <a:gd name="connsiteX34" fmla="*/ 1713486 w 1896673"/>
              <a:gd name="connsiteY34" fmla="*/ 1890720 h 3299336"/>
              <a:gd name="connsiteX35" fmla="*/ 1591802 w 1896673"/>
              <a:gd name="connsiteY35" fmla="*/ 1875510 h 3299336"/>
              <a:gd name="connsiteX36" fmla="*/ 1471442 w 1896673"/>
              <a:gd name="connsiteY36" fmla="*/ 1851702 h 3299336"/>
              <a:gd name="connsiteX37" fmla="*/ 1354388 w 1896673"/>
              <a:gd name="connsiteY37" fmla="*/ 1820620 h 3299336"/>
              <a:gd name="connsiteX38" fmla="*/ 1238656 w 1896673"/>
              <a:gd name="connsiteY38" fmla="*/ 1782264 h 3299336"/>
              <a:gd name="connsiteX39" fmla="*/ 1125570 w 1896673"/>
              <a:gd name="connsiteY39" fmla="*/ 1735971 h 3299336"/>
              <a:gd name="connsiteX40" fmla="*/ 1014468 w 1896673"/>
              <a:gd name="connsiteY40" fmla="*/ 1682403 h 3299336"/>
              <a:gd name="connsiteX41" fmla="*/ 907334 w 1896673"/>
              <a:gd name="connsiteY41" fmla="*/ 1622884 h 3299336"/>
              <a:gd name="connsiteX42" fmla="*/ 804829 w 1896673"/>
              <a:gd name="connsiteY42" fmla="*/ 1554768 h 3299336"/>
              <a:gd name="connsiteX43" fmla="*/ 704969 w 1896673"/>
              <a:gd name="connsiteY43" fmla="*/ 1480700 h 3299336"/>
              <a:gd name="connsiteX44" fmla="*/ 611061 w 1896673"/>
              <a:gd name="connsiteY44" fmla="*/ 1400019 h 3299336"/>
              <a:gd name="connsiteX45" fmla="*/ 521783 w 1896673"/>
              <a:gd name="connsiteY45" fmla="*/ 1311402 h 3299336"/>
              <a:gd name="connsiteX46" fmla="*/ 437795 w 1896673"/>
              <a:gd name="connsiteY46" fmla="*/ 1217494 h 3299336"/>
              <a:gd name="connsiteX47" fmla="*/ 359098 w 1896673"/>
              <a:gd name="connsiteY47" fmla="*/ 1116312 h 3299336"/>
              <a:gd name="connsiteX48" fmla="*/ 287014 w 1896673"/>
              <a:gd name="connsiteY48" fmla="*/ 1007855 h 3299336"/>
              <a:gd name="connsiteX49" fmla="*/ 253286 w 1896673"/>
              <a:gd name="connsiteY49" fmla="*/ 952304 h 3299336"/>
              <a:gd name="connsiteX50" fmla="*/ 221543 w 1896673"/>
              <a:gd name="connsiteY50" fmla="*/ 896091 h 3299336"/>
              <a:gd name="connsiteX51" fmla="*/ 165330 w 1896673"/>
              <a:gd name="connsiteY51" fmla="*/ 781021 h 3299336"/>
              <a:gd name="connsiteX52" fmla="*/ 117054 w 1896673"/>
              <a:gd name="connsiteY52" fmla="*/ 663306 h 3299336"/>
              <a:gd name="connsiteX53" fmla="*/ 78036 w 1896673"/>
              <a:gd name="connsiteY53" fmla="*/ 544929 h 3299336"/>
              <a:gd name="connsiteX54" fmla="*/ 46292 w 1896673"/>
              <a:gd name="connsiteY54" fmla="*/ 425230 h 3299336"/>
              <a:gd name="connsiteX55" fmla="*/ 23146 w 1896673"/>
              <a:gd name="connsiteY55" fmla="*/ 303547 h 3299336"/>
              <a:gd name="connsiteX56" fmla="*/ 7274 w 1896673"/>
              <a:gd name="connsiteY56" fmla="*/ 182525 h 3299336"/>
              <a:gd name="connsiteX57" fmla="*/ 661 w 1896673"/>
              <a:gd name="connsiteY57" fmla="*/ 60842 h 3299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896673" h="3299336">
                <a:moveTo>
                  <a:pt x="0" y="0"/>
                </a:moveTo>
                <a:lnTo>
                  <a:pt x="148136" y="0"/>
                </a:lnTo>
                <a:lnTo>
                  <a:pt x="148797" y="55551"/>
                </a:lnTo>
                <a:lnTo>
                  <a:pt x="156072" y="167976"/>
                </a:lnTo>
                <a:lnTo>
                  <a:pt x="169298" y="280400"/>
                </a:lnTo>
                <a:lnTo>
                  <a:pt x="191122" y="391503"/>
                </a:lnTo>
                <a:lnTo>
                  <a:pt x="220220" y="502605"/>
                </a:lnTo>
                <a:lnTo>
                  <a:pt x="257254" y="612384"/>
                </a:lnTo>
                <a:lnTo>
                  <a:pt x="300901" y="719518"/>
                </a:lnTo>
                <a:lnTo>
                  <a:pt x="353146" y="825330"/>
                </a:lnTo>
                <a:lnTo>
                  <a:pt x="382244" y="877574"/>
                </a:lnTo>
                <a:lnTo>
                  <a:pt x="412665" y="929819"/>
                </a:lnTo>
                <a:lnTo>
                  <a:pt x="480120" y="1028356"/>
                </a:lnTo>
                <a:lnTo>
                  <a:pt x="551542" y="1122264"/>
                </a:lnTo>
                <a:lnTo>
                  <a:pt x="628917" y="1208897"/>
                </a:lnTo>
                <a:lnTo>
                  <a:pt x="712244" y="1290239"/>
                </a:lnTo>
                <a:lnTo>
                  <a:pt x="798877" y="1364969"/>
                </a:lnTo>
                <a:lnTo>
                  <a:pt x="890139" y="1433085"/>
                </a:lnTo>
                <a:lnTo>
                  <a:pt x="985370" y="1495911"/>
                </a:lnTo>
                <a:lnTo>
                  <a:pt x="1083246" y="1551462"/>
                </a:lnTo>
                <a:lnTo>
                  <a:pt x="1185089" y="1600400"/>
                </a:lnTo>
                <a:lnTo>
                  <a:pt x="1289578" y="1642724"/>
                </a:lnTo>
                <a:lnTo>
                  <a:pt x="1396051" y="1678436"/>
                </a:lnTo>
                <a:lnTo>
                  <a:pt x="1505169" y="1706872"/>
                </a:lnTo>
                <a:lnTo>
                  <a:pt x="1615610" y="1728696"/>
                </a:lnTo>
                <a:lnTo>
                  <a:pt x="1726712" y="1743245"/>
                </a:lnTo>
                <a:lnTo>
                  <a:pt x="1840459" y="1751181"/>
                </a:lnTo>
                <a:lnTo>
                  <a:pt x="1847073" y="1751181"/>
                </a:lnTo>
                <a:lnTo>
                  <a:pt x="1847073" y="1749858"/>
                </a:lnTo>
                <a:lnTo>
                  <a:pt x="1896673" y="1749858"/>
                </a:lnTo>
                <a:lnTo>
                  <a:pt x="1896673" y="3299336"/>
                </a:lnTo>
                <a:lnTo>
                  <a:pt x="1847073" y="3299336"/>
                </a:lnTo>
                <a:lnTo>
                  <a:pt x="1847073" y="1899574"/>
                </a:lnTo>
                <a:lnTo>
                  <a:pt x="1835169" y="1899318"/>
                </a:lnTo>
                <a:lnTo>
                  <a:pt x="1713486" y="1890720"/>
                </a:lnTo>
                <a:lnTo>
                  <a:pt x="1591802" y="1875510"/>
                </a:lnTo>
                <a:lnTo>
                  <a:pt x="1471442" y="1851702"/>
                </a:lnTo>
                <a:lnTo>
                  <a:pt x="1354388" y="1820620"/>
                </a:lnTo>
                <a:lnTo>
                  <a:pt x="1238656" y="1782264"/>
                </a:lnTo>
                <a:lnTo>
                  <a:pt x="1125570" y="1735971"/>
                </a:lnTo>
                <a:lnTo>
                  <a:pt x="1014468" y="1682403"/>
                </a:lnTo>
                <a:lnTo>
                  <a:pt x="907334" y="1622884"/>
                </a:lnTo>
                <a:lnTo>
                  <a:pt x="804829" y="1554768"/>
                </a:lnTo>
                <a:lnTo>
                  <a:pt x="704969" y="1480700"/>
                </a:lnTo>
                <a:lnTo>
                  <a:pt x="611061" y="1400019"/>
                </a:lnTo>
                <a:lnTo>
                  <a:pt x="521783" y="1311402"/>
                </a:lnTo>
                <a:lnTo>
                  <a:pt x="437795" y="1217494"/>
                </a:lnTo>
                <a:lnTo>
                  <a:pt x="359098" y="1116312"/>
                </a:lnTo>
                <a:lnTo>
                  <a:pt x="287014" y="1007855"/>
                </a:lnTo>
                <a:lnTo>
                  <a:pt x="253286" y="952304"/>
                </a:lnTo>
                <a:lnTo>
                  <a:pt x="221543" y="896091"/>
                </a:lnTo>
                <a:lnTo>
                  <a:pt x="165330" y="781021"/>
                </a:lnTo>
                <a:lnTo>
                  <a:pt x="117054" y="663306"/>
                </a:lnTo>
                <a:lnTo>
                  <a:pt x="78036" y="544929"/>
                </a:lnTo>
                <a:lnTo>
                  <a:pt x="46292" y="425230"/>
                </a:lnTo>
                <a:lnTo>
                  <a:pt x="23146" y="303547"/>
                </a:lnTo>
                <a:lnTo>
                  <a:pt x="7274" y="182525"/>
                </a:lnTo>
                <a:lnTo>
                  <a:pt x="661" y="60842"/>
                </a:lnTo>
                <a:close/>
              </a:path>
            </a:pathLst>
          </a:custGeom>
          <a:solidFill>
            <a:srgbClr val="4CC1EF"/>
          </a:solidFill>
          <a:ln>
            <a:noFill/>
          </a:ln>
        </p:spPr>
        <p:txBody>
          <a:bodyPr vert="horz" wrap="square" lIns="68580" tIns="34290" rIns="68580" bIns="3429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100">
              <a:solidFill>
                <a:sysClr val="windowText" lastClr="000000"/>
              </a:solidFill>
              <a:latin typeface="Calibri" panose="020F0502020204030204"/>
            </a:endParaRPr>
          </a:p>
        </p:txBody>
      </p:sp>
      <p:sp>
        <p:nvSpPr>
          <p:cNvPr id="55" name="Freeform: Shape 85">
            <a:extLst>
              <a:ext uri="{FF2B5EF4-FFF2-40B4-BE49-F238E27FC236}">
                <a16:creationId xmlns:a16="http://schemas.microsoft.com/office/drawing/2014/main" id="{69DD8520-A83E-45A1-9148-5925A3602DF4}"/>
              </a:ext>
            </a:extLst>
          </p:cNvPr>
          <p:cNvSpPr>
            <a:spLocks/>
          </p:cNvSpPr>
          <p:nvPr/>
        </p:nvSpPr>
        <p:spPr bwMode="auto">
          <a:xfrm>
            <a:off x="4902945" y="3059435"/>
            <a:ext cx="2645287" cy="1796584"/>
          </a:xfrm>
          <a:custGeom>
            <a:avLst/>
            <a:gdLst>
              <a:gd name="connsiteX0" fmla="*/ 128296 w 3227913"/>
              <a:gd name="connsiteY0" fmla="*/ 0 h 2192282"/>
              <a:gd name="connsiteX1" fmla="*/ 171282 w 3227913"/>
              <a:gd name="connsiteY1" fmla="*/ 70761 h 2192282"/>
              <a:gd name="connsiteX2" fmla="*/ 265851 w 3227913"/>
              <a:gd name="connsiteY2" fmla="*/ 201703 h 2192282"/>
              <a:gd name="connsiteX3" fmla="*/ 371663 w 3227913"/>
              <a:gd name="connsiteY3" fmla="*/ 321402 h 2192282"/>
              <a:gd name="connsiteX4" fmla="*/ 487394 w 3227913"/>
              <a:gd name="connsiteY4" fmla="*/ 427214 h 2192282"/>
              <a:gd name="connsiteX5" fmla="*/ 611723 w 3227913"/>
              <a:gd name="connsiteY5" fmla="*/ 521783 h 2192282"/>
              <a:gd name="connsiteX6" fmla="*/ 743987 w 3227913"/>
              <a:gd name="connsiteY6" fmla="*/ 602465 h 2192282"/>
              <a:gd name="connsiteX7" fmla="*/ 882865 w 3227913"/>
              <a:gd name="connsiteY7" fmla="*/ 669920 h 2192282"/>
              <a:gd name="connsiteX8" fmla="*/ 1027033 w 3227913"/>
              <a:gd name="connsiteY8" fmla="*/ 723487 h 2192282"/>
              <a:gd name="connsiteX9" fmla="*/ 1175169 w 3227913"/>
              <a:gd name="connsiteY9" fmla="*/ 763166 h 2192282"/>
              <a:gd name="connsiteX10" fmla="*/ 1326612 w 3227913"/>
              <a:gd name="connsiteY10" fmla="*/ 788958 h 2192282"/>
              <a:gd name="connsiteX11" fmla="*/ 1480038 w 3227913"/>
              <a:gd name="connsiteY11" fmla="*/ 799539 h 2192282"/>
              <a:gd name="connsiteX12" fmla="*/ 1635449 w 3227913"/>
              <a:gd name="connsiteY12" fmla="*/ 796232 h 2192282"/>
              <a:gd name="connsiteX13" fmla="*/ 1789537 w 3227913"/>
              <a:gd name="connsiteY13" fmla="*/ 776392 h 2192282"/>
              <a:gd name="connsiteX14" fmla="*/ 1942964 w 3227913"/>
              <a:gd name="connsiteY14" fmla="*/ 742004 h 2192282"/>
              <a:gd name="connsiteX15" fmla="*/ 2093745 w 3227913"/>
              <a:gd name="connsiteY15" fmla="*/ 691743 h 2192282"/>
              <a:gd name="connsiteX16" fmla="*/ 2241881 w 3227913"/>
              <a:gd name="connsiteY16" fmla="*/ 625611 h 2192282"/>
              <a:gd name="connsiteX17" fmla="*/ 2313911 w 3227913"/>
              <a:gd name="connsiteY17" fmla="*/ 585301 h 2192282"/>
              <a:gd name="connsiteX18" fmla="*/ 2313966 w 3227913"/>
              <a:gd name="connsiteY18" fmla="*/ 585269 h 2192282"/>
              <a:gd name="connsiteX19" fmla="*/ 2314034 w 3227913"/>
              <a:gd name="connsiteY19" fmla="*/ 585388 h 2192282"/>
              <a:gd name="connsiteX20" fmla="*/ 2388695 w 3227913"/>
              <a:gd name="connsiteY20" fmla="*/ 713567 h 2192282"/>
              <a:gd name="connsiteX21" fmla="*/ 2388695 w 3227913"/>
              <a:gd name="connsiteY21" fmla="*/ 714667 h 2192282"/>
              <a:gd name="connsiteX22" fmla="*/ 3227913 w 3227913"/>
              <a:gd name="connsiteY22" fmla="*/ 2167813 h 2192282"/>
              <a:gd name="connsiteX23" fmla="*/ 3184927 w 3227913"/>
              <a:gd name="connsiteY23" fmla="*/ 2192282 h 2192282"/>
              <a:gd name="connsiteX24" fmla="*/ 2345566 w 3227913"/>
              <a:gd name="connsiteY24" fmla="*/ 737834 h 2192282"/>
              <a:gd name="connsiteX25" fmla="*/ 2269657 w 3227913"/>
              <a:gd name="connsiteY25" fmla="*/ 777054 h 2192282"/>
              <a:gd name="connsiteX26" fmla="*/ 2188976 w 3227913"/>
              <a:gd name="connsiteY26" fmla="*/ 813426 h 2192282"/>
              <a:gd name="connsiteX27" fmla="*/ 2106972 w 3227913"/>
              <a:gd name="connsiteY27" fmla="*/ 845170 h 2192282"/>
              <a:gd name="connsiteX28" fmla="*/ 2024306 w 3227913"/>
              <a:gd name="connsiteY28" fmla="*/ 872284 h 2192282"/>
              <a:gd name="connsiteX29" fmla="*/ 1941641 w 3227913"/>
              <a:gd name="connsiteY29" fmla="*/ 896092 h 2192282"/>
              <a:gd name="connsiteX30" fmla="*/ 1815329 w 3227913"/>
              <a:gd name="connsiteY30" fmla="*/ 923206 h 2192282"/>
              <a:gd name="connsiteX31" fmla="*/ 1646692 w 3227913"/>
              <a:gd name="connsiteY31" fmla="*/ 944368 h 2192282"/>
              <a:gd name="connsiteX32" fmla="*/ 1476732 w 3227913"/>
              <a:gd name="connsiteY32" fmla="*/ 948336 h 2192282"/>
              <a:gd name="connsiteX33" fmla="*/ 1308756 w 3227913"/>
              <a:gd name="connsiteY33" fmla="*/ 936432 h 2192282"/>
              <a:gd name="connsiteX34" fmla="*/ 1143426 w 3227913"/>
              <a:gd name="connsiteY34" fmla="*/ 908657 h 2192282"/>
              <a:gd name="connsiteX35" fmla="*/ 981402 w 3227913"/>
              <a:gd name="connsiteY35" fmla="*/ 865671 h 2192282"/>
              <a:gd name="connsiteX36" fmla="*/ 823346 w 3227913"/>
              <a:gd name="connsiteY36" fmla="*/ 806152 h 2192282"/>
              <a:gd name="connsiteX37" fmla="*/ 671903 w 3227913"/>
              <a:gd name="connsiteY37" fmla="*/ 732745 h 2192282"/>
              <a:gd name="connsiteX38" fmla="*/ 527735 w 3227913"/>
              <a:gd name="connsiteY38" fmla="*/ 644128 h 2192282"/>
              <a:gd name="connsiteX39" fmla="*/ 391502 w 3227913"/>
              <a:gd name="connsiteY39" fmla="*/ 541623 h 2192282"/>
              <a:gd name="connsiteX40" fmla="*/ 296272 w 3227913"/>
              <a:gd name="connsiteY40" fmla="*/ 454990 h 2192282"/>
              <a:gd name="connsiteX41" fmla="*/ 235430 w 3227913"/>
              <a:gd name="connsiteY41" fmla="*/ 393487 h 2192282"/>
              <a:gd name="connsiteX42" fmla="*/ 177895 w 3227913"/>
              <a:gd name="connsiteY42" fmla="*/ 328016 h 2192282"/>
              <a:gd name="connsiteX43" fmla="*/ 123006 w 3227913"/>
              <a:gd name="connsiteY43" fmla="*/ 260561 h 2192282"/>
              <a:gd name="connsiteX44" fmla="*/ 72084 w 3227913"/>
              <a:gd name="connsiteY44" fmla="*/ 188477 h 2192282"/>
              <a:gd name="connsiteX45" fmla="*/ 23146 w 3227913"/>
              <a:gd name="connsiteY45" fmla="*/ 113086 h 2192282"/>
              <a:gd name="connsiteX46" fmla="*/ 0 w 3227913"/>
              <a:gd name="connsiteY46" fmla="*/ 74068 h 2192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227913" h="2192282">
                <a:moveTo>
                  <a:pt x="128296" y="0"/>
                </a:moveTo>
                <a:lnTo>
                  <a:pt x="171282" y="70761"/>
                </a:lnTo>
                <a:lnTo>
                  <a:pt x="265851" y="201703"/>
                </a:lnTo>
                <a:lnTo>
                  <a:pt x="371663" y="321402"/>
                </a:lnTo>
                <a:lnTo>
                  <a:pt x="487394" y="427214"/>
                </a:lnTo>
                <a:lnTo>
                  <a:pt x="611723" y="521783"/>
                </a:lnTo>
                <a:lnTo>
                  <a:pt x="743987" y="602465"/>
                </a:lnTo>
                <a:lnTo>
                  <a:pt x="882865" y="669920"/>
                </a:lnTo>
                <a:lnTo>
                  <a:pt x="1027033" y="723487"/>
                </a:lnTo>
                <a:lnTo>
                  <a:pt x="1175169" y="763166"/>
                </a:lnTo>
                <a:lnTo>
                  <a:pt x="1326612" y="788958"/>
                </a:lnTo>
                <a:lnTo>
                  <a:pt x="1480038" y="799539"/>
                </a:lnTo>
                <a:lnTo>
                  <a:pt x="1635449" y="796232"/>
                </a:lnTo>
                <a:lnTo>
                  <a:pt x="1789537" y="776392"/>
                </a:lnTo>
                <a:lnTo>
                  <a:pt x="1942964" y="742004"/>
                </a:lnTo>
                <a:lnTo>
                  <a:pt x="2093745" y="691743"/>
                </a:lnTo>
                <a:lnTo>
                  <a:pt x="2241881" y="625611"/>
                </a:lnTo>
                <a:lnTo>
                  <a:pt x="2313911" y="585301"/>
                </a:lnTo>
                <a:lnTo>
                  <a:pt x="2313966" y="585269"/>
                </a:lnTo>
                <a:lnTo>
                  <a:pt x="2314034" y="585388"/>
                </a:lnTo>
                <a:lnTo>
                  <a:pt x="2388695" y="713567"/>
                </a:lnTo>
                <a:lnTo>
                  <a:pt x="2388695" y="714667"/>
                </a:lnTo>
                <a:lnTo>
                  <a:pt x="3227913" y="2167813"/>
                </a:lnTo>
                <a:lnTo>
                  <a:pt x="3184927" y="2192282"/>
                </a:lnTo>
                <a:lnTo>
                  <a:pt x="2345566" y="737834"/>
                </a:lnTo>
                <a:lnTo>
                  <a:pt x="2269657" y="777054"/>
                </a:lnTo>
                <a:lnTo>
                  <a:pt x="2188976" y="813426"/>
                </a:lnTo>
                <a:lnTo>
                  <a:pt x="2106972" y="845170"/>
                </a:lnTo>
                <a:lnTo>
                  <a:pt x="2024306" y="872284"/>
                </a:lnTo>
                <a:lnTo>
                  <a:pt x="1941641" y="896092"/>
                </a:lnTo>
                <a:lnTo>
                  <a:pt x="1815329" y="923206"/>
                </a:lnTo>
                <a:lnTo>
                  <a:pt x="1646692" y="944368"/>
                </a:lnTo>
                <a:lnTo>
                  <a:pt x="1476732" y="948336"/>
                </a:lnTo>
                <a:lnTo>
                  <a:pt x="1308756" y="936432"/>
                </a:lnTo>
                <a:lnTo>
                  <a:pt x="1143426" y="908657"/>
                </a:lnTo>
                <a:lnTo>
                  <a:pt x="981402" y="865671"/>
                </a:lnTo>
                <a:lnTo>
                  <a:pt x="823346" y="806152"/>
                </a:lnTo>
                <a:lnTo>
                  <a:pt x="671903" y="732745"/>
                </a:lnTo>
                <a:lnTo>
                  <a:pt x="527735" y="644128"/>
                </a:lnTo>
                <a:lnTo>
                  <a:pt x="391502" y="541623"/>
                </a:lnTo>
                <a:lnTo>
                  <a:pt x="296272" y="454990"/>
                </a:lnTo>
                <a:lnTo>
                  <a:pt x="235430" y="393487"/>
                </a:lnTo>
                <a:lnTo>
                  <a:pt x="177895" y="328016"/>
                </a:lnTo>
                <a:lnTo>
                  <a:pt x="123006" y="260561"/>
                </a:lnTo>
                <a:lnTo>
                  <a:pt x="72084" y="188477"/>
                </a:lnTo>
                <a:lnTo>
                  <a:pt x="23146" y="113086"/>
                </a:lnTo>
                <a:lnTo>
                  <a:pt x="0" y="74068"/>
                </a:lnTo>
                <a:close/>
              </a:path>
            </a:pathLst>
          </a:custGeom>
          <a:solidFill>
            <a:srgbClr val="FFCC4C"/>
          </a:solidFill>
          <a:ln>
            <a:noFill/>
          </a:ln>
        </p:spPr>
        <p:txBody>
          <a:bodyPr vert="horz" wrap="square" lIns="68580" tIns="34290" rIns="68580" bIns="3429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100">
              <a:solidFill>
                <a:sysClr val="windowText" lastClr="000000"/>
              </a:solidFill>
              <a:latin typeface="Calibri" panose="020F0502020204030204"/>
            </a:endParaRPr>
          </a:p>
        </p:txBody>
      </p:sp>
      <p:sp>
        <p:nvSpPr>
          <p:cNvPr id="56" name="Freeform: Shape 86">
            <a:extLst>
              <a:ext uri="{FF2B5EF4-FFF2-40B4-BE49-F238E27FC236}">
                <a16:creationId xmlns:a16="http://schemas.microsoft.com/office/drawing/2014/main" id="{0759E9B5-86CF-4771-984E-4E6F9F31BEB2}"/>
              </a:ext>
            </a:extLst>
          </p:cNvPr>
          <p:cNvSpPr>
            <a:spLocks/>
          </p:cNvSpPr>
          <p:nvPr/>
        </p:nvSpPr>
        <p:spPr bwMode="auto">
          <a:xfrm>
            <a:off x="5524027" y="2997652"/>
            <a:ext cx="3139551" cy="895854"/>
          </a:xfrm>
          <a:custGeom>
            <a:avLst/>
            <a:gdLst>
              <a:gd name="connsiteX0" fmla="*/ 2011759 w 3831039"/>
              <a:gd name="connsiteY0" fmla="*/ 0 h 1093166"/>
              <a:gd name="connsiteX1" fmla="*/ 2011806 w 3831039"/>
              <a:gd name="connsiteY1" fmla="*/ 28 h 1093166"/>
              <a:gd name="connsiteX2" fmla="*/ 2011822 w 3831039"/>
              <a:gd name="connsiteY2" fmla="*/ 0 h 1093166"/>
              <a:gd name="connsiteX3" fmla="*/ 2025402 w 3831039"/>
              <a:gd name="connsiteY3" fmla="*/ 7881 h 1093166"/>
              <a:gd name="connsiteX4" fmla="*/ 3831039 w 3831039"/>
              <a:gd name="connsiteY4" fmla="*/ 1050790 h 1093166"/>
              <a:gd name="connsiteX5" fmla="*/ 3806552 w 3831039"/>
              <a:gd name="connsiteY5" fmla="*/ 1093166 h 1093166"/>
              <a:gd name="connsiteX6" fmla="*/ 2115849 w 3831039"/>
              <a:gd name="connsiteY6" fmla="*/ 116900 h 1093166"/>
              <a:gd name="connsiteX7" fmla="*/ 2114924 w 3831039"/>
              <a:gd name="connsiteY7" fmla="*/ 118466 h 1093166"/>
              <a:gd name="connsiteX8" fmla="*/ 2058086 w 3831039"/>
              <a:gd name="connsiteY8" fmla="*/ 203842 h 1093166"/>
              <a:gd name="connsiteX9" fmla="*/ 1995960 w 3831039"/>
              <a:gd name="connsiteY9" fmla="*/ 285246 h 1093166"/>
              <a:gd name="connsiteX10" fmla="*/ 1927886 w 3831039"/>
              <a:gd name="connsiteY10" fmla="*/ 363341 h 1093166"/>
              <a:gd name="connsiteX11" fmla="*/ 1854524 w 3831039"/>
              <a:gd name="connsiteY11" fmla="*/ 438127 h 1093166"/>
              <a:gd name="connsiteX12" fmla="*/ 1775214 w 3831039"/>
              <a:gd name="connsiteY12" fmla="*/ 507618 h 1093166"/>
              <a:gd name="connsiteX13" fmla="*/ 1691278 w 3831039"/>
              <a:gd name="connsiteY13" fmla="*/ 573139 h 1093166"/>
              <a:gd name="connsiteX14" fmla="*/ 1602716 w 3831039"/>
              <a:gd name="connsiteY14" fmla="*/ 632703 h 1093166"/>
              <a:gd name="connsiteX15" fmla="*/ 1555130 w 3831039"/>
              <a:gd name="connsiteY15" fmla="*/ 660500 h 1093166"/>
              <a:gd name="connsiteX16" fmla="*/ 1508205 w 3831039"/>
              <a:gd name="connsiteY16" fmla="*/ 686972 h 1093166"/>
              <a:gd name="connsiteX17" fmla="*/ 1413034 w 3831039"/>
              <a:gd name="connsiteY17" fmla="*/ 733962 h 1093166"/>
              <a:gd name="connsiteX18" fmla="*/ 1317201 w 3831039"/>
              <a:gd name="connsiteY18" fmla="*/ 773671 h 1093166"/>
              <a:gd name="connsiteX19" fmla="*/ 1218725 w 3831039"/>
              <a:gd name="connsiteY19" fmla="*/ 807424 h 1093166"/>
              <a:gd name="connsiteX20" fmla="*/ 1119588 w 3831039"/>
              <a:gd name="connsiteY20" fmla="*/ 833897 h 1093166"/>
              <a:gd name="connsiteX21" fmla="*/ 1019790 w 3831039"/>
              <a:gd name="connsiteY21" fmla="*/ 853090 h 1093166"/>
              <a:gd name="connsiteX22" fmla="*/ 918670 w 3831039"/>
              <a:gd name="connsiteY22" fmla="*/ 866988 h 1093166"/>
              <a:gd name="connsiteX23" fmla="*/ 818872 w 3831039"/>
              <a:gd name="connsiteY23" fmla="*/ 874268 h 1093166"/>
              <a:gd name="connsiteX24" fmla="*/ 718413 w 3831039"/>
              <a:gd name="connsiteY24" fmla="*/ 874930 h 1093166"/>
              <a:gd name="connsiteX25" fmla="*/ 617954 w 3831039"/>
              <a:gd name="connsiteY25" fmla="*/ 868974 h 1093166"/>
              <a:gd name="connsiteX26" fmla="*/ 518817 w 3831039"/>
              <a:gd name="connsiteY26" fmla="*/ 857061 h 1093166"/>
              <a:gd name="connsiteX27" fmla="*/ 421002 w 3831039"/>
              <a:gd name="connsiteY27" fmla="*/ 838530 h 1093166"/>
              <a:gd name="connsiteX28" fmla="*/ 323848 w 3831039"/>
              <a:gd name="connsiteY28" fmla="*/ 814704 h 1093166"/>
              <a:gd name="connsiteX29" fmla="*/ 228676 w 3831039"/>
              <a:gd name="connsiteY29" fmla="*/ 784922 h 1093166"/>
              <a:gd name="connsiteX30" fmla="*/ 134826 w 3831039"/>
              <a:gd name="connsiteY30" fmla="*/ 749846 h 1093166"/>
              <a:gd name="connsiteX31" fmla="*/ 44281 w 3831039"/>
              <a:gd name="connsiteY31" fmla="*/ 707489 h 1093166"/>
              <a:gd name="connsiteX32" fmla="*/ 0 w 3831039"/>
              <a:gd name="connsiteY32" fmla="*/ 684325 h 1093166"/>
              <a:gd name="connsiteX33" fmla="*/ 74022 w 3831039"/>
              <a:gd name="connsiteY33" fmla="*/ 555931 h 1093166"/>
              <a:gd name="connsiteX34" fmla="*/ 114338 w 3831039"/>
              <a:gd name="connsiteY34" fmla="*/ 577110 h 1093166"/>
              <a:gd name="connsiteX35" fmla="*/ 196952 w 3831039"/>
              <a:gd name="connsiteY35" fmla="*/ 614172 h 1093166"/>
              <a:gd name="connsiteX36" fmla="*/ 280888 w 3831039"/>
              <a:gd name="connsiteY36" fmla="*/ 646601 h 1093166"/>
              <a:gd name="connsiteX37" fmla="*/ 367468 w 3831039"/>
              <a:gd name="connsiteY37" fmla="*/ 673074 h 1093166"/>
              <a:gd name="connsiteX38" fmla="*/ 454709 w 3831039"/>
              <a:gd name="connsiteY38" fmla="*/ 694914 h 1093166"/>
              <a:gd name="connsiteX39" fmla="*/ 543932 w 3831039"/>
              <a:gd name="connsiteY39" fmla="*/ 710798 h 1093166"/>
              <a:gd name="connsiteX40" fmla="*/ 633816 w 3831039"/>
              <a:gd name="connsiteY40" fmla="*/ 721387 h 1093166"/>
              <a:gd name="connsiteX41" fmla="*/ 723700 w 3831039"/>
              <a:gd name="connsiteY41" fmla="*/ 726682 h 1093166"/>
              <a:gd name="connsiteX42" fmla="*/ 814246 w 3831039"/>
              <a:gd name="connsiteY42" fmla="*/ 725358 h 1093166"/>
              <a:gd name="connsiteX43" fmla="*/ 905452 w 3831039"/>
              <a:gd name="connsiteY43" fmla="*/ 719402 h 1093166"/>
              <a:gd name="connsiteX44" fmla="*/ 995997 w 3831039"/>
              <a:gd name="connsiteY44" fmla="*/ 706827 h 1093166"/>
              <a:gd name="connsiteX45" fmla="*/ 1086542 w 3831039"/>
              <a:gd name="connsiteY45" fmla="*/ 688958 h 1093166"/>
              <a:gd name="connsiteX46" fmla="*/ 1176426 w 3831039"/>
              <a:gd name="connsiteY46" fmla="*/ 664470 h 1093166"/>
              <a:gd name="connsiteX47" fmla="*/ 1264989 w 3831039"/>
              <a:gd name="connsiteY47" fmla="*/ 634688 h 1093166"/>
              <a:gd name="connsiteX48" fmla="*/ 1352230 w 3831039"/>
              <a:gd name="connsiteY48" fmla="*/ 597626 h 1093166"/>
              <a:gd name="connsiteX49" fmla="*/ 1438809 w 3831039"/>
              <a:gd name="connsiteY49" fmla="*/ 555931 h 1093166"/>
              <a:gd name="connsiteX50" fmla="*/ 1481108 w 3831039"/>
              <a:gd name="connsiteY50" fmla="*/ 531444 h 1093166"/>
              <a:gd name="connsiteX51" fmla="*/ 1523406 w 3831039"/>
              <a:gd name="connsiteY51" fmla="*/ 506957 h 1093166"/>
              <a:gd name="connsiteX52" fmla="*/ 1605360 w 3831039"/>
              <a:gd name="connsiteY52" fmla="*/ 452025 h 1093166"/>
              <a:gd name="connsiteX53" fmla="*/ 1681365 w 3831039"/>
              <a:gd name="connsiteY53" fmla="*/ 392461 h 1093166"/>
              <a:gd name="connsiteX54" fmla="*/ 1752082 w 3831039"/>
              <a:gd name="connsiteY54" fmla="*/ 330250 h 1093166"/>
              <a:gd name="connsiteX55" fmla="*/ 1819496 w 3831039"/>
              <a:gd name="connsiteY55" fmla="*/ 262082 h 1093166"/>
              <a:gd name="connsiteX56" fmla="*/ 1880961 w 3831039"/>
              <a:gd name="connsiteY56" fmla="*/ 191929 h 1093166"/>
              <a:gd name="connsiteX57" fmla="*/ 1937138 w 3831039"/>
              <a:gd name="connsiteY57" fmla="*/ 117143 h 1093166"/>
              <a:gd name="connsiteX58" fmla="*/ 1988690 w 3831039"/>
              <a:gd name="connsiteY58" fmla="*/ 40371 h 1093166"/>
              <a:gd name="connsiteX59" fmla="*/ 2009949 w 3831039"/>
              <a:gd name="connsiteY59" fmla="*/ 3270 h 109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831039" h="1093166">
                <a:moveTo>
                  <a:pt x="2011759" y="0"/>
                </a:moveTo>
                <a:lnTo>
                  <a:pt x="2011806" y="28"/>
                </a:lnTo>
                <a:lnTo>
                  <a:pt x="2011822" y="0"/>
                </a:lnTo>
                <a:lnTo>
                  <a:pt x="2025402" y="7881"/>
                </a:lnTo>
                <a:lnTo>
                  <a:pt x="3831039" y="1050790"/>
                </a:lnTo>
                <a:lnTo>
                  <a:pt x="3806552" y="1093166"/>
                </a:lnTo>
                <a:lnTo>
                  <a:pt x="2115849" y="116900"/>
                </a:lnTo>
                <a:lnTo>
                  <a:pt x="2114924" y="118466"/>
                </a:lnTo>
                <a:lnTo>
                  <a:pt x="2058086" y="203842"/>
                </a:lnTo>
                <a:lnTo>
                  <a:pt x="1995960" y="285246"/>
                </a:lnTo>
                <a:lnTo>
                  <a:pt x="1927886" y="363341"/>
                </a:lnTo>
                <a:lnTo>
                  <a:pt x="1854524" y="438127"/>
                </a:lnTo>
                <a:lnTo>
                  <a:pt x="1775214" y="507618"/>
                </a:lnTo>
                <a:lnTo>
                  <a:pt x="1691278" y="573139"/>
                </a:lnTo>
                <a:lnTo>
                  <a:pt x="1602716" y="632703"/>
                </a:lnTo>
                <a:lnTo>
                  <a:pt x="1555130" y="660500"/>
                </a:lnTo>
                <a:lnTo>
                  <a:pt x="1508205" y="686972"/>
                </a:lnTo>
                <a:lnTo>
                  <a:pt x="1413034" y="733962"/>
                </a:lnTo>
                <a:lnTo>
                  <a:pt x="1317201" y="773671"/>
                </a:lnTo>
                <a:lnTo>
                  <a:pt x="1218725" y="807424"/>
                </a:lnTo>
                <a:lnTo>
                  <a:pt x="1119588" y="833897"/>
                </a:lnTo>
                <a:lnTo>
                  <a:pt x="1019790" y="853090"/>
                </a:lnTo>
                <a:lnTo>
                  <a:pt x="918670" y="866988"/>
                </a:lnTo>
                <a:lnTo>
                  <a:pt x="818872" y="874268"/>
                </a:lnTo>
                <a:lnTo>
                  <a:pt x="718413" y="874930"/>
                </a:lnTo>
                <a:lnTo>
                  <a:pt x="617954" y="868974"/>
                </a:lnTo>
                <a:lnTo>
                  <a:pt x="518817" y="857061"/>
                </a:lnTo>
                <a:lnTo>
                  <a:pt x="421002" y="838530"/>
                </a:lnTo>
                <a:lnTo>
                  <a:pt x="323848" y="814704"/>
                </a:lnTo>
                <a:lnTo>
                  <a:pt x="228676" y="784922"/>
                </a:lnTo>
                <a:lnTo>
                  <a:pt x="134826" y="749846"/>
                </a:lnTo>
                <a:lnTo>
                  <a:pt x="44281" y="707489"/>
                </a:lnTo>
                <a:lnTo>
                  <a:pt x="0" y="684325"/>
                </a:lnTo>
                <a:lnTo>
                  <a:pt x="74022" y="555931"/>
                </a:lnTo>
                <a:lnTo>
                  <a:pt x="114338" y="577110"/>
                </a:lnTo>
                <a:lnTo>
                  <a:pt x="196952" y="614172"/>
                </a:lnTo>
                <a:lnTo>
                  <a:pt x="280888" y="646601"/>
                </a:lnTo>
                <a:lnTo>
                  <a:pt x="367468" y="673074"/>
                </a:lnTo>
                <a:lnTo>
                  <a:pt x="454709" y="694914"/>
                </a:lnTo>
                <a:lnTo>
                  <a:pt x="543932" y="710798"/>
                </a:lnTo>
                <a:lnTo>
                  <a:pt x="633816" y="721387"/>
                </a:lnTo>
                <a:lnTo>
                  <a:pt x="723700" y="726682"/>
                </a:lnTo>
                <a:lnTo>
                  <a:pt x="814246" y="725358"/>
                </a:lnTo>
                <a:lnTo>
                  <a:pt x="905452" y="719402"/>
                </a:lnTo>
                <a:lnTo>
                  <a:pt x="995997" y="706827"/>
                </a:lnTo>
                <a:lnTo>
                  <a:pt x="1086542" y="688958"/>
                </a:lnTo>
                <a:lnTo>
                  <a:pt x="1176426" y="664470"/>
                </a:lnTo>
                <a:lnTo>
                  <a:pt x="1264989" y="634688"/>
                </a:lnTo>
                <a:lnTo>
                  <a:pt x="1352230" y="597626"/>
                </a:lnTo>
                <a:lnTo>
                  <a:pt x="1438809" y="555931"/>
                </a:lnTo>
                <a:lnTo>
                  <a:pt x="1481108" y="531444"/>
                </a:lnTo>
                <a:lnTo>
                  <a:pt x="1523406" y="506957"/>
                </a:lnTo>
                <a:lnTo>
                  <a:pt x="1605360" y="452025"/>
                </a:lnTo>
                <a:lnTo>
                  <a:pt x="1681365" y="392461"/>
                </a:lnTo>
                <a:lnTo>
                  <a:pt x="1752082" y="330250"/>
                </a:lnTo>
                <a:lnTo>
                  <a:pt x="1819496" y="262082"/>
                </a:lnTo>
                <a:lnTo>
                  <a:pt x="1880961" y="191929"/>
                </a:lnTo>
                <a:lnTo>
                  <a:pt x="1937138" y="117143"/>
                </a:lnTo>
                <a:lnTo>
                  <a:pt x="1988690" y="40371"/>
                </a:lnTo>
                <a:lnTo>
                  <a:pt x="2009949" y="3270"/>
                </a:lnTo>
                <a:close/>
              </a:path>
            </a:pathLst>
          </a:custGeom>
          <a:solidFill>
            <a:srgbClr val="A2B969"/>
          </a:solidFill>
          <a:ln>
            <a:noFill/>
          </a:ln>
        </p:spPr>
        <p:txBody>
          <a:bodyPr vert="horz" wrap="square" lIns="68580" tIns="34290" rIns="68580" bIns="3429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100">
              <a:solidFill>
                <a:sysClr val="windowText" lastClr="000000"/>
              </a:solidFill>
              <a:latin typeface="Calibri" panose="020F0502020204030204"/>
            </a:endParaRPr>
          </a:p>
        </p:txBody>
      </p:sp>
      <p:sp>
        <p:nvSpPr>
          <p:cNvPr id="57" name="Freeform 71">
            <a:extLst>
              <a:ext uri="{FF2B5EF4-FFF2-40B4-BE49-F238E27FC236}">
                <a16:creationId xmlns:a16="http://schemas.microsoft.com/office/drawing/2014/main" id="{944F0890-591B-4A5D-959A-5D07EAB08D63}"/>
              </a:ext>
            </a:extLst>
          </p:cNvPr>
          <p:cNvSpPr>
            <a:spLocks/>
          </p:cNvSpPr>
          <p:nvPr/>
        </p:nvSpPr>
        <p:spPr bwMode="auto">
          <a:xfrm>
            <a:off x="7045836" y="4360132"/>
            <a:ext cx="965766" cy="965765"/>
          </a:xfrm>
          <a:prstGeom prst="ellipse">
            <a:avLst/>
          </a:prstGeom>
          <a:solidFill>
            <a:srgbClr val="FFCC4C"/>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100">
              <a:solidFill>
                <a:sysClr val="windowText" lastClr="000000"/>
              </a:solidFill>
              <a:latin typeface="Calibri" panose="020F0502020204030204"/>
            </a:endParaRPr>
          </a:p>
        </p:txBody>
      </p:sp>
      <p:sp>
        <p:nvSpPr>
          <p:cNvPr id="58" name="Freeform 72">
            <a:extLst>
              <a:ext uri="{FF2B5EF4-FFF2-40B4-BE49-F238E27FC236}">
                <a16:creationId xmlns:a16="http://schemas.microsoft.com/office/drawing/2014/main" id="{5440C587-76C0-4693-97F9-117668591344}"/>
              </a:ext>
            </a:extLst>
          </p:cNvPr>
          <p:cNvSpPr>
            <a:spLocks/>
          </p:cNvSpPr>
          <p:nvPr/>
        </p:nvSpPr>
        <p:spPr bwMode="auto">
          <a:xfrm>
            <a:off x="5636208" y="4615394"/>
            <a:ext cx="965766" cy="967391"/>
          </a:xfrm>
          <a:prstGeom prst="ellipse">
            <a:avLst/>
          </a:prstGeom>
          <a:solidFill>
            <a:srgbClr val="4CC1EF"/>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100">
              <a:solidFill>
                <a:sysClr val="windowText" lastClr="000000"/>
              </a:solidFill>
              <a:latin typeface="Calibri" panose="020F0502020204030204"/>
            </a:endParaRPr>
          </a:p>
        </p:txBody>
      </p:sp>
      <p:sp>
        <p:nvSpPr>
          <p:cNvPr id="59" name="Freeform 73">
            <a:extLst>
              <a:ext uri="{FF2B5EF4-FFF2-40B4-BE49-F238E27FC236}">
                <a16:creationId xmlns:a16="http://schemas.microsoft.com/office/drawing/2014/main" id="{28CC7BDB-62AA-42FE-9642-18B68152EC27}"/>
              </a:ext>
            </a:extLst>
          </p:cNvPr>
          <p:cNvSpPr>
            <a:spLocks/>
          </p:cNvSpPr>
          <p:nvPr/>
        </p:nvSpPr>
        <p:spPr bwMode="auto">
          <a:xfrm>
            <a:off x="4231458" y="4355255"/>
            <a:ext cx="965766" cy="965765"/>
          </a:xfrm>
          <a:prstGeom prst="ellipse">
            <a:avLst/>
          </a:prstGeom>
          <a:solidFill>
            <a:srgbClr val="F7931F"/>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100">
              <a:solidFill>
                <a:sysClr val="windowText" lastClr="000000"/>
              </a:solidFill>
              <a:latin typeface="Calibri" panose="020F0502020204030204"/>
            </a:endParaRPr>
          </a:p>
        </p:txBody>
      </p:sp>
      <p:sp>
        <p:nvSpPr>
          <p:cNvPr id="60" name="Freeform 74">
            <a:extLst>
              <a:ext uri="{FF2B5EF4-FFF2-40B4-BE49-F238E27FC236}">
                <a16:creationId xmlns:a16="http://schemas.microsoft.com/office/drawing/2014/main" id="{C63AF77A-4BF7-4421-81A1-8C2DB1D9D8A6}"/>
              </a:ext>
            </a:extLst>
          </p:cNvPr>
          <p:cNvSpPr>
            <a:spLocks/>
          </p:cNvSpPr>
          <p:nvPr/>
        </p:nvSpPr>
        <p:spPr bwMode="auto">
          <a:xfrm>
            <a:off x="3099854" y="3374857"/>
            <a:ext cx="965766" cy="967391"/>
          </a:xfrm>
          <a:prstGeom prst="ellipse">
            <a:avLst/>
          </a:prstGeom>
          <a:solidFill>
            <a:srgbClr val="063951"/>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100">
              <a:solidFill>
                <a:sysClr val="windowText" lastClr="000000"/>
              </a:solidFill>
              <a:latin typeface="Calibri" panose="020F0502020204030204"/>
            </a:endParaRPr>
          </a:p>
        </p:txBody>
      </p:sp>
      <p:sp>
        <p:nvSpPr>
          <p:cNvPr id="61" name="Freeform 75">
            <a:extLst>
              <a:ext uri="{FF2B5EF4-FFF2-40B4-BE49-F238E27FC236}">
                <a16:creationId xmlns:a16="http://schemas.microsoft.com/office/drawing/2014/main" id="{CB56766D-2F04-4D55-87B2-CAEF81F11633}"/>
              </a:ext>
            </a:extLst>
          </p:cNvPr>
          <p:cNvSpPr>
            <a:spLocks/>
          </p:cNvSpPr>
          <p:nvPr/>
        </p:nvSpPr>
        <p:spPr bwMode="auto">
          <a:xfrm>
            <a:off x="8169310" y="3392741"/>
            <a:ext cx="967392" cy="967391"/>
          </a:xfrm>
          <a:prstGeom prst="ellipse">
            <a:avLst/>
          </a:prstGeom>
          <a:solidFill>
            <a:srgbClr val="A2B969"/>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100">
              <a:solidFill>
                <a:sysClr val="windowText" lastClr="000000"/>
              </a:solidFill>
              <a:latin typeface="Calibri" panose="020F0502020204030204"/>
            </a:endParaRPr>
          </a:p>
        </p:txBody>
      </p:sp>
      <p:grpSp>
        <p:nvGrpSpPr>
          <p:cNvPr id="39" name="Group 38">
            <a:extLst>
              <a:ext uri="{FF2B5EF4-FFF2-40B4-BE49-F238E27FC236}">
                <a16:creationId xmlns:a16="http://schemas.microsoft.com/office/drawing/2014/main" id="{51844241-B6C6-450D-8975-CD01FCCD0F65}"/>
              </a:ext>
            </a:extLst>
          </p:cNvPr>
          <p:cNvGrpSpPr/>
          <p:nvPr/>
        </p:nvGrpSpPr>
        <p:grpSpPr>
          <a:xfrm>
            <a:off x="7994484" y="2348883"/>
            <a:ext cx="2433543" cy="745425"/>
            <a:chOff x="6697329" y="1327725"/>
            <a:chExt cx="2433543" cy="745425"/>
          </a:xfrm>
        </p:grpSpPr>
        <p:sp>
          <p:nvSpPr>
            <p:cNvPr id="49" name="TextBox 39">
              <a:extLst>
                <a:ext uri="{FF2B5EF4-FFF2-40B4-BE49-F238E27FC236}">
                  <a16:creationId xmlns:a16="http://schemas.microsoft.com/office/drawing/2014/main" id="{F875797E-EBC1-4228-BEF2-FF0BC9287EDE}"/>
                </a:ext>
              </a:extLst>
            </p:cNvPr>
            <p:cNvSpPr txBox="1"/>
            <p:nvPr/>
          </p:nvSpPr>
          <p:spPr>
            <a:xfrm>
              <a:off x="6697329" y="1327725"/>
              <a:ext cx="2202816" cy="33855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600" b="1" dirty="0" err="1">
                  <a:solidFill>
                    <a:sysClr val="windowText" lastClr="000000"/>
                  </a:solidFill>
                  <a:latin typeface="Calibri" panose="020F0502020204030204"/>
                </a:rPr>
                <a:t>Estándares</a:t>
              </a:r>
              <a:endParaRPr lang="en-US" sz="1600" b="1" dirty="0">
                <a:solidFill>
                  <a:sysClr val="windowText" lastClr="000000"/>
                </a:solidFill>
                <a:latin typeface="Calibri" panose="020F0502020204030204"/>
              </a:endParaRPr>
            </a:p>
          </p:txBody>
        </p:sp>
        <p:sp>
          <p:nvSpPr>
            <p:cNvPr id="50" name="TextBox 40">
              <a:extLst>
                <a:ext uri="{FF2B5EF4-FFF2-40B4-BE49-F238E27FC236}">
                  <a16:creationId xmlns:a16="http://schemas.microsoft.com/office/drawing/2014/main" id="{0A1E5DBA-C616-4578-8DDA-8451E32E2F23}"/>
                </a:ext>
              </a:extLst>
            </p:cNvPr>
            <p:cNvSpPr txBox="1"/>
            <p:nvPr/>
          </p:nvSpPr>
          <p:spPr>
            <a:xfrm>
              <a:off x="6703175" y="1642263"/>
              <a:ext cx="2427697" cy="430887"/>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r>
                <a:rPr lang="es-ES" sz="1100" dirty="0">
                  <a:solidFill>
                    <a:sysClr val="windowText" lastClr="000000">
                      <a:lumMod val="65000"/>
                      <a:lumOff val="35000"/>
                    </a:sysClr>
                  </a:solidFill>
                  <a:latin typeface="Calibri" panose="020F0502020204030204"/>
                </a:rPr>
                <a:t>Fortalecer y cumplir con estándares ambientales, laborales y sociales  </a:t>
              </a:r>
            </a:p>
          </p:txBody>
        </p:sp>
      </p:grpSp>
      <p:grpSp>
        <p:nvGrpSpPr>
          <p:cNvPr id="40" name="Group 41">
            <a:extLst>
              <a:ext uri="{FF2B5EF4-FFF2-40B4-BE49-F238E27FC236}">
                <a16:creationId xmlns:a16="http://schemas.microsoft.com/office/drawing/2014/main" id="{91C7795C-BC01-433A-B060-61768721C69E}"/>
              </a:ext>
            </a:extLst>
          </p:cNvPr>
          <p:cNvGrpSpPr/>
          <p:nvPr/>
        </p:nvGrpSpPr>
        <p:grpSpPr>
          <a:xfrm>
            <a:off x="1542104" y="2431372"/>
            <a:ext cx="2605014" cy="733127"/>
            <a:chOff x="255548" y="1327724"/>
            <a:chExt cx="2605014" cy="733127"/>
          </a:xfrm>
        </p:grpSpPr>
        <p:sp>
          <p:nvSpPr>
            <p:cNvPr id="47" name="TextBox 42">
              <a:extLst>
                <a:ext uri="{FF2B5EF4-FFF2-40B4-BE49-F238E27FC236}">
                  <a16:creationId xmlns:a16="http://schemas.microsoft.com/office/drawing/2014/main" id="{1357A327-04B2-4CE9-A61E-042E84BA809B}"/>
                </a:ext>
              </a:extLst>
            </p:cNvPr>
            <p:cNvSpPr txBox="1"/>
            <p:nvPr/>
          </p:nvSpPr>
          <p:spPr>
            <a:xfrm>
              <a:off x="255548" y="1327724"/>
              <a:ext cx="2202816" cy="33855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600" b="1" dirty="0" err="1">
                  <a:solidFill>
                    <a:sysClr val="windowText" lastClr="000000"/>
                  </a:solidFill>
                  <a:latin typeface="Calibri" panose="020F0502020204030204"/>
                </a:rPr>
                <a:t>Tecnología</a:t>
              </a:r>
              <a:endParaRPr lang="en-US" sz="1600" b="1" dirty="0">
                <a:solidFill>
                  <a:sysClr val="windowText" lastClr="000000"/>
                </a:solidFill>
                <a:latin typeface="Calibri" panose="020F0502020204030204"/>
              </a:endParaRPr>
            </a:p>
          </p:txBody>
        </p:sp>
        <p:sp>
          <p:nvSpPr>
            <p:cNvPr id="48" name="TextBox 43">
              <a:extLst>
                <a:ext uri="{FF2B5EF4-FFF2-40B4-BE49-F238E27FC236}">
                  <a16:creationId xmlns:a16="http://schemas.microsoft.com/office/drawing/2014/main" id="{AA793BD0-2467-49CE-8B81-D91773C66DFF}"/>
                </a:ext>
              </a:extLst>
            </p:cNvPr>
            <p:cNvSpPr txBox="1"/>
            <p:nvPr/>
          </p:nvSpPr>
          <p:spPr>
            <a:xfrm>
              <a:off x="529695" y="1629964"/>
              <a:ext cx="2330867" cy="430887"/>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s-ES" sz="1100" dirty="0">
                  <a:solidFill>
                    <a:sysClr val="windowText" lastClr="000000">
                      <a:lumMod val="65000"/>
                      <a:lumOff val="35000"/>
                    </a:sysClr>
                  </a:solidFill>
                  <a:latin typeface="Calibri" panose="020F0502020204030204"/>
                </a:rPr>
                <a:t>Introducir tecnologías con proyección al futuro y transmitir conocimientos </a:t>
              </a:r>
              <a:endParaRPr lang="en-US" sz="1100" dirty="0">
                <a:solidFill>
                  <a:sysClr val="windowText" lastClr="000000">
                    <a:lumMod val="65000"/>
                    <a:lumOff val="35000"/>
                  </a:sysClr>
                </a:solidFill>
                <a:latin typeface="Calibri" panose="020F0502020204030204"/>
              </a:endParaRPr>
            </a:p>
          </p:txBody>
        </p:sp>
      </p:grpSp>
      <p:grpSp>
        <p:nvGrpSpPr>
          <p:cNvPr id="41" name="Group 44">
            <a:extLst>
              <a:ext uri="{FF2B5EF4-FFF2-40B4-BE49-F238E27FC236}">
                <a16:creationId xmlns:a16="http://schemas.microsoft.com/office/drawing/2014/main" id="{26011AAB-AC3F-4F3D-AB9B-30177CCB3576}"/>
              </a:ext>
            </a:extLst>
          </p:cNvPr>
          <p:cNvGrpSpPr/>
          <p:nvPr/>
        </p:nvGrpSpPr>
        <p:grpSpPr>
          <a:xfrm>
            <a:off x="8205475" y="4595190"/>
            <a:ext cx="2537182" cy="1083977"/>
            <a:chOff x="6357117" y="4818934"/>
            <a:chExt cx="2537182" cy="1083977"/>
          </a:xfrm>
        </p:grpSpPr>
        <p:sp>
          <p:nvSpPr>
            <p:cNvPr id="45" name="TextBox 45">
              <a:extLst>
                <a:ext uri="{FF2B5EF4-FFF2-40B4-BE49-F238E27FC236}">
                  <a16:creationId xmlns:a16="http://schemas.microsoft.com/office/drawing/2014/main" id="{9130FFA6-EF0C-416D-834B-54EA45EB10F4}"/>
                </a:ext>
              </a:extLst>
            </p:cNvPr>
            <p:cNvSpPr txBox="1"/>
            <p:nvPr/>
          </p:nvSpPr>
          <p:spPr>
            <a:xfrm>
              <a:off x="6691483" y="4818934"/>
              <a:ext cx="2202816" cy="33855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600" b="1" dirty="0">
                  <a:solidFill>
                    <a:sysClr val="windowText" lastClr="000000"/>
                  </a:solidFill>
                  <a:latin typeface="Calibri" panose="020F0502020204030204"/>
                </a:rPr>
                <a:t>Capital </a:t>
              </a:r>
              <a:r>
                <a:rPr lang="en-US" sz="1600" b="1" dirty="0" err="1">
                  <a:solidFill>
                    <a:sysClr val="windowText" lastClr="000000"/>
                  </a:solidFill>
                  <a:latin typeface="Calibri" panose="020F0502020204030204"/>
                </a:rPr>
                <a:t>humano</a:t>
              </a:r>
              <a:endParaRPr lang="en-US" sz="1600" b="1" dirty="0">
                <a:solidFill>
                  <a:sysClr val="windowText" lastClr="000000"/>
                </a:solidFill>
                <a:latin typeface="Calibri" panose="020F0502020204030204"/>
              </a:endParaRPr>
            </a:p>
          </p:txBody>
        </p:sp>
        <p:sp>
          <p:nvSpPr>
            <p:cNvPr id="46" name="TextBox 46">
              <a:extLst>
                <a:ext uri="{FF2B5EF4-FFF2-40B4-BE49-F238E27FC236}">
                  <a16:creationId xmlns:a16="http://schemas.microsoft.com/office/drawing/2014/main" id="{E6ECBA0A-668A-447D-87F8-61032C90C100}"/>
                </a:ext>
              </a:extLst>
            </p:cNvPr>
            <p:cNvSpPr txBox="1"/>
            <p:nvPr/>
          </p:nvSpPr>
          <p:spPr>
            <a:xfrm>
              <a:off x="6357117" y="5133470"/>
              <a:ext cx="2222549" cy="769441"/>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1100" dirty="0" err="1">
                  <a:solidFill>
                    <a:sysClr val="windowText" lastClr="000000">
                      <a:lumMod val="65000"/>
                      <a:lumOff val="35000"/>
                    </a:sysClr>
                  </a:solidFill>
                  <a:latin typeface="Calibri" panose="020F0502020204030204"/>
                </a:rPr>
                <a:t>Formar</a:t>
              </a:r>
              <a:r>
                <a:rPr lang="en-US" sz="1100" dirty="0">
                  <a:solidFill>
                    <a:sysClr val="windowText" lastClr="000000">
                      <a:lumMod val="65000"/>
                      <a:lumOff val="35000"/>
                    </a:sysClr>
                  </a:solidFill>
                  <a:latin typeface="Calibri" panose="020F0502020204030204"/>
                </a:rPr>
                <a:t> y </a:t>
              </a:r>
              <a:r>
                <a:rPr lang="en-US" sz="1100" dirty="0" err="1">
                  <a:solidFill>
                    <a:sysClr val="windowText" lastClr="000000">
                      <a:lumMod val="65000"/>
                      <a:lumOff val="35000"/>
                    </a:sysClr>
                  </a:solidFill>
                  <a:latin typeface="Calibri" panose="020F0502020204030204"/>
                </a:rPr>
                <a:t>capacitar</a:t>
              </a:r>
              <a:r>
                <a:rPr lang="en-US" sz="1100" dirty="0">
                  <a:solidFill>
                    <a:sysClr val="windowText" lastClr="000000">
                      <a:lumMod val="65000"/>
                      <a:lumOff val="35000"/>
                    </a:sysClr>
                  </a:solidFill>
                  <a:latin typeface="Calibri" panose="020F0502020204030204"/>
                </a:rPr>
                <a:t> a personas </a:t>
              </a:r>
              <a:r>
                <a:rPr lang="en-US" sz="1100" dirty="0" err="1">
                  <a:solidFill>
                    <a:sysClr val="windowText" lastClr="000000">
                      <a:lumMod val="65000"/>
                      <a:lumOff val="35000"/>
                    </a:sysClr>
                  </a:solidFill>
                  <a:latin typeface="Calibri" panose="020F0502020204030204"/>
                </a:rPr>
                <a:t>jóvenes</a:t>
              </a:r>
              <a:r>
                <a:rPr lang="en-US" sz="1100" dirty="0">
                  <a:solidFill>
                    <a:sysClr val="windowText" lastClr="000000">
                      <a:lumMod val="65000"/>
                      <a:lumOff val="35000"/>
                    </a:sysClr>
                  </a:solidFill>
                  <a:latin typeface="Calibri" panose="020F0502020204030204"/>
                </a:rPr>
                <a:t> para </a:t>
              </a:r>
              <a:r>
                <a:rPr lang="en-US" sz="1100" dirty="0" err="1">
                  <a:solidFill>
                    <a:sysClr val="windowText" lastClr="000000">
                      <a:lumMod val="65000"/>
                      <a:lumOff val="35000"/>
                    </a:sysClr>
                  </a:solidFill>
                  <a:latin typeface="Calibri" panose="020F0502020204030204"/>
                </a:rPr>
                <a:t>darles</a:t>
              </a:r>
              <a:r>
                <a:rPr lang="en-US" sz="1100" dirty="0">
                  <a:solidFill>
                    <a:sysClr val="windowText" lastClr="000000">
                      <a:lumMod val="65000"/>
                      <a:lumOff val="35000"/>
                    </a:sysClr>
                  </a:solidFill>
                  <a:latin typeface="Calibri" panose="020F0502020204030204"/>
                </a:rPr>
                <a:t> </a:t>
              </a:r>
              <a:r>
                <a:rPr lang="en-US" sz="1100" dirty="0" err="1">
                  <a:solidFill>
                    <a:sysClr val="windowText" lastClr="000000">
                      <a:lumMod val="65000"/>
                      <a:lumOff val="35000"/>
                    </a:sysClr>
                  </a:solidFill>
                  <a:latin typeface="Calibri" panose="020F0502020204030204"/>
                </a:rPr>
                <a:t>perspectivas</a:t>
              </a:r>
              <a:r>
                <a:rPr lang="en-US" sz="1100" dirty="0">
                  <a:solidFill>
                    <a:sysClr val="windowText" lastClr="000000">
                      <a:lumMod val="65000"/>
                      <a:lumOff val="35000"/>
                    </a:sysClr>
                  </a:solidFill>
                  <a:latin typeface="Calibri" panose="020F0502020204030204"/>
                </a:rPr>
                <a:t> de </a:t>
              </a:r>
              <a:r>
                <a:rPr lang="en-US" sz="1100" dirty="0" err="1">
                  <a:solidFill>
                    <a:sysClr val="windowText" lastClr="000000">
                      <a:lumMod val="65000"/>
                      <a:lumOff val="35000"/>
                    </a:sysClr>
                  </a:solidFill>
                  <a:latin typeface="Calibri" panose="020F0502020204030204"/>
                </a:rPr>
                <a:t>futuro</a:t>
              </a:r>
              <a:r>
                <a:rPr lang="en-US" sz="1100" dirty="0">
                  <a:solidFill>
                    <a:sysClr val="windowText" lastClr="000000">
                      <a:lumMod val="65000"/>
                      <a:lumOff val="35000"/>
                    </a:sysClr>
                  </a:solidFill>
                  <a:latin typeface="Calibri" panose="020F0502020204030204"/>
                </a:rPr>
                <a:t> y </a:t>
              </a:r>
              <a:r>
                <a:rPr lang="en-US" sz="1100" dirty="0" err="1">
                  <a:solidFill>
                    <a:sysClr val="windowText" lastClr="000000">
                      <a:lumMod val="65000"/>
                      <a:lumOff val="35000"/>
                    </a:sysClr>
                  </a:solidFill>
                  <a:latin typeface="Calibri" panose="020F0502020204030204"/>
                </a:rPr>
                <a:t>fortalecer</a:t>
              </a:r>
              <a:r>
                <a:rPr lang="en-US" sz="1100" dirty="0">
                  <a:solidFill>
                    <a:sysClr val="windowText" lastClr="000000">
                      <a:lumMod val="65000"/>
                      <a:lumOff val="35000"/>
                    </a:sysClr>
                  </a:solidFill>
                  <a:latin typeface="Calibri" panose="020F0502020204030204"/>
                </a:rPr>
                <a:t> la </a:t>
              </a:r>
              <a:r>
                <a:rPr lang="en-US" sz="1100" dirty="0" err="1">
                  <a:solidFill>
                    <a:sysClr val="windowText" lastClr="000000">
                      <a:lumMod val="65000"/>
                      <a:lumOff val="35000"/>
                    </a:sysClr>
                  </a:solidFill>
                  <a:latin typeface="Calibri" panose="020F0502020204030204"/>
                </a:rPr>
                <a:t>capacidad</a:t>
              </a:r>
              <a:r>
                <a:rPr lang="en-US" sz="1100" dirty="0">
                  <a:solidFill>
                    <a:sysClr val="windowText" lastClr="000000">
                      <a:lumMod val="65000"/>
                      <a:lumOff val="35000"/>
                    </a:sysClr>
                  </a:solidFill>
                  <a:latin typeface="Calibri" panose="020F0502020204030204"/>
                </a:rPr>
                <a:t> de las </a:t>
              </a:r>
              <a:r>
                <a:rPr lang="en-US" sz="1100" dirty="0" err="1">
                  <a:solidFill>
                    <a:sysClr val="windowText" lastClr="000000">
                      <a:lumMod val="65000"/>
                      <a:lumOff val="35000"/>
                    </a:sysClr>
                  </a:solidFill>
                  <a:latin typeface="Calibri" panose="020F0502020204030204"/>
                </a:rPr>
                <a:t>empresas</a:t>
              </a:r>
              <a:endParaRPr lang="en-US" sz="1100" dirty="0">
                <a:solidFill>
                  <a:sysClr val="windowText" lastClr="000000">
                    <a:lumMod val="65000"/>
                    <a:lumOff val="35000"/>
                  </a:sysClr>
                </a:solidFill>
                <a:latin typeface="Calibri" panose="020F0502020204030204"/>
              </a:endParaRPr>
            </a:p>
          </p:txBody>
        </p:sp>
      </p:grpSp>
      <p:grpSp>
        <p:nvGrpSpPr>
          <p:cNvPr id="42" name="Group 47">
            <a:extLst>
              <a:ext uri="{FF2B5EF4-FFF2-40B4-BE49-F238E27FC236}">
                <a16:creationId xmlns:a16="http://schemas.microsoft.com/office/drawing/2014/main" id="{2D723E64-A601-4219-AB0F-D478CC6DF897}"/>
              </a:ext>
            </a:extLst>
          </p:cNvPr>
          <p:cNvGrpSpPr/>
          <p:nvPr/>
        </p:nvGrpSpPr>
        <p:grpSpPr>
          <a:xfrm>
            <a:off x="1828500" y="4731468"/>
            <a:ext cx="2436003" cy="1083977"/>
            <a:chOff x="249702" y="4818934"/>
            <a:chExt cx="2436003" cy="1083977"/>
          </a:xfrm>
        </p:grpSpPr>
        <p:sp>
          <p:nvSpPr>
            <p:cNvPr id="43" name="TextBox 48">
              <a:extLst>
                <a:ext uri="{FF2B5EF4-FFF2-40B4-BE49-F238E27FC236}">
                  <a16:creationId xmlns:a16="http://schemas.microsoft.com/office/drawing/2014/main" id="{9E024B34-D0B7-4C04-8CB3-A9BFE58530A3}"/>
                </a:ext>
              </a:extLst>
            </p:cNvPr>
            <p:cNvSpPr txBox="1"/>
            <p:nvPr/>
          </p:nvSpPr>
          <p:spPr>
            <a:xfrm>
              <a:off x="249702" y="4818934"/>
              <a:ext cx="2202816" cy="33855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600" b="1" dirty="0">
                  <a:solidFill>
                    <a:sysClr val="windowText" lastClr="000000"/>
                  </a:solidFill>
                  <a:latin typeface="Calibri" panose="020F0502020204030204"/>
                </a:rPr>
                <a:t>Cadena de valor</a:t>
              </a:r>
            </a:p>
          </p:txBody>
        </p:sp>
        <p:sp>
          <p:nvSpPr>
            <p:cNvPr id="44" name="TextBox 49">
              <a:extLst>
                <a:ext uri="{FF2B5EF4-FFF2-40B4-BE49-F238E27FC236}">
                  <a16:creationId xmlns:a16="http://schemas.microsoft.com/office/drawing/2014/main" id="{436DC6CA-BEDC-434A-8D84-7A5AD4C67A9B}"/>
                </a:ext>
              </a:extLst>
            </p:cNvPr>
            <p:cNvSpPr txBox="1"/>
            <p:nvPr/>
          </p:nvSpPr>
          <p:spPr>
            <a:xfrm>
              <a:off x="255548" y="5133470"/>
              <a:ext cx="2430157" cy="769441"/>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1100" dirty="0" err="1">
                  <a:solidFill>
                    <a:sysClr val="windowText" lastClr="000000">
                      <a:lumMod val="65000"/>
                      <a:lumOff val="35000"/>
                    </a:sysClr>
                  </a:solidFill>
                  <a:latin typeface="Calibri" panose="020F0502020204030204"/>
                </a:rPr>
                <a:t>Analizar</a:t>
              </a:r>
              <a:r>
                <a:rPr lang="en-US" sz="1100" dirty="0">
                  <a:solidFill>
                    <a:sysClr val="windowText" lastClr="000000">
                      <a:lumMod val="65000"/>
                      <a:lumOff val="35000"/>
                    </a:sysClr>
                  </a:solidFill>
                  <a:latin typeface="Calibri" panose="020F0502020204030204"/>
                </a:rPr>
                <a:t> las </a:t>
              </a:r>
              <a:r>
                <a:rPr lang="en-US" sz="1100" dirty="0" err="1">
                  <a:solidFill>
                    <a:sysClr val="windowText" lastClr="000000">
                      <a:lumMod val="65000"/>
                      <a:lumOff val="35000"/>
                    </a:sysClr>
                  </a:solidFill>
                  <a:latin typeface="Calibri" panose="020F0502020204030204"/>
                </a:rPr>
                <a:t>cadenas</a:t>
              </a:r>
              <a:r>
                <a:rPr lang="en-US" sz="1100" dirty="0">
                  <a:solidFill>
                    <a:sysClr val="windowText" lastClr="000000">
                      <a:lumMod val="65000"/>
                      <a:lumOff val="35000"/>
                    </a:sysClr>
                  </a:solidFill>
                  <a:latin typeface="Calibri" panose="020F0502020204030204"/>
                </a:rPr>
                <a:t> de valor </a:t>
              </a:r>
              <a:r>
                <a:rPr lang="en-US" sz="1100" dirty="0" err="1">
                  <a:solidFill>
                    <a:sysClr val="windowText" lastClr="000000">
                      <a:lumMod val="65000"/>
                      <a:lumOff val="35000"/>
                    </a:sysClr>
                  </a:solidFill>
                  <a:latin typeface="Calibri" panose="020F0502020204030204"/>
                </a:rPr>
                <a:t>empresarial</a:t>
              </a:r>
              <a:r>
                <a:rPr lang="en-US" sz="1100" dirty="0">
                  <a:solidFill>
                    <a:sysClr val="windowText" lastClr="000000">
                      <a:lumMod val="65000"/>
                      <a:lumOff val="35000"/>
                    </a:sysClr>
                  </a:solidFill>
                  <a:latin typeface="Calibri" panose="020F0502020204030204"/>
                </a:rPr>
                <a:t> para </a:t>
              </a:r>
              <a:r>
                <a:rPr lang="en-US" sz="1100" dirty="0" err="1">
                  <a:solidFill>
                    <a:sysClr val="windowText" lastClr="000000">
                      <a:lumMod val="65000"/>
                      <a:lumOff val="35000"/>
                    </a:sysClr>
                  </a:solidFill>
                  <a:latin typeface="Calibri" panose="020F0502020204030204"/>
                </a:rPr>
                <a:t>fortalecer</a:t>
              </a:r>
              <a:r>
                <a:rPr lang="en-US" sz="1100" dirty="0">
                  <a:solidFill>
                    <a:sysClr val="windowText" lastClr="000000">
                      <a:lumMod val="65000"/>
                      <a:lumOff val="35000"/>
                    </a:sysClr>
                  </a:solidFill>
                  <a:latin typeface="Calibri" panose="020F0502020204030204"/>
                </a:rPr>
                <a:t> y </a:t>
              </a:r>
              <a:r>
                <a:rPr lang="en-US" sz="1100" dirty="0" err="1">
                  <a:solidFill>
                    <a:sysClr val="windowText" lastClr="000000">
                      <a:lumMod val="65000"/>
                      <a:lumOff val="35000"/>
                    </a:sysClr>
                  </a:solidFill>
                  <a:latin typeface="Calibri" panose="020F0502020204030204"/>
                </a:rPr>
                <a:t>optimizar</a:t>
              </a:r>
              <a:r>
                <a:rPr lang="en-US" sz="1100" dirty="0">
                  <a:solidFill>
                    <a:sysClr val="windowText" lastClr="000000">
                      <a:lumMod val="65000"/>
                      <a:lumOff val="35000"/>
                    </a:sysClr>
                  </a:solidFill>
                  <a:latin typeface="Calibri" panose="020F0502020204030204"/>
                </a:rPr>
                <a:t> </a:t>
              </a:r>
              <a:r>
                <a:rPr lang="en-US" sz="1100" dirty="0" err="1">
                  <a:solidFill>
                    <a:sysClr val="windowText" lastClr="000000">
                      <a:lumMod val="65000"/>
                      <a:lumOff val="35000"/>
                    </a:sysClr>
                  </a:solidFill>
                  <a:latin typeface="Calibri" panose="020F0502020204030204"/>
                </a:rPr>
                <a:t>aspectos</a:t>
              </a:r>
              <a:r>
                <a:rPr lang="en-US" sz="1100" dirty="0">
                  <a:solidFill>
                    <a:sysClr val="windowText" lastClr="000000">
                      <a:lumMod val="65000"/>
                      <a:lumOff val="35000"/>
                    </a:sysClr>
                  </a:solidFill>
                  <a:latin typeface="Calibri" panose="020F0502020204030204"/>
                </a:rPr>
                <a:t> de </a:t>
              </a:r>
              <a:r>
                <a:rPr lang="en-US" sz="1100" dirty="0" err="1">
                  <a:solidFill>
                    <a:sysClr val="windowText" lastClr="000000">
                      <a:lumMod val="65000"/>
                      <a:lumOff val="35000"/>
                    </a:sysClr>
                  </a:solidFill>
                  <a:latin typeface="Calibri" panose="020F0502020204030204"/>
                </a:rPr>
                <a:t>representen</a:t>
              </a:r>
              <a:r>
                <a:rPr lang="en-US" sz="1100" dirty="0">
                  <a:solidFill>
                    <a:sysClr val="windowText" lastClr="000000">
                      <a:lumMod val="65000"/>
                      <a:lumOff val="35000"/>
                    </a:sysClr>
                  </a:solidFill>
                  <a:latin typeface="Calibri" panose="020F0502020204030204"/>
                </a:rPr>
                <a:t> </a:t>
              </a:r>
              <a:r>
                <a:rPr lang="en-US" sz="1100" dirty="0" err="1">
                  <a:solidFill>
                    <a:sysClr val="windowText" lastClr="000000">
                      <a:lumMod val="65000"/>
                      <a:lumOff val="35000"/>
                    </a:sysClr>
                  </a:solidFill>
                  <a:latin typeface="Calibri" panose="020F0502020204030204"/>
                </a:rPr>
                <a:t>beneficios</a:t>
              </a:r>
              <a:r>
                <a:rPr lang="en-US" sz="1100" dirty="0">
                  <a:solidFill>
                    <a:sysClr val="windowText" lastClr="000000">
                      <a:lumMod val="65000"/>
                      <a:lumOff val="35000"/>
                    </a:sysClr>
                  </a:solidFill>
                  <a:latin typeface="Calibri" panose="020F0502020204030204"/>
                </a:rPr>
                <a:t> para los </a:t>
              </a:r>
              <a:r>
                <a:rPr lang="en-US" sz="1100" dirty="0" err="1">
                  <a:solidFill>
                    <a:sysClr val="windowText" lastClr="000000">
                      <a:lumMod val="65000"/>
                      <a:lumOff val="35000"/>
                    </a:sysClr>
                  </a:solidFill>
                  <a:latin typeface="Calibri" panose="020F0502020204030204"/>
                </a:rPr>
                <a:t>involucrados</a:t>
              </a:r>
              <a:r>
                <a:rPr lang="en-US" sz="1100" dirty="0">
                  <a:solidFill>
                    <a:sysClr val="windowText" lastClr="000000">
                      <a:lumMod val="65000"/>
                      <a:lumOff val="35000"/>
                    </a:sysClr>
                  </a:solidFill>
                  <a:latin typeface="Calibri" panose="020F0502020204030204"/>
                </a:rPr>
                <a:t> </a:t>
              </a:r>
            </a:p>
          </p:txBody>
        </p:sp>
      </p:grpSp>
      <p:sp>
        <p:nvSpPr>
          <p:cNvPr id="68" name="CuadroTexto 67">
            <a:extLst>
              <a:ext uri="{FF2B5EF4-FFF2-40B4-BE49-F238E27FC236}">
                <a16:creationId xmlns:a16="http://schemas.microsoft.com/office/drawing/2014/main" id="{CD91721B-FABD-470E-B1FD-2C81A9E20BBB}"/>
              </a:ext>
            </a:extLst>
          </p:cNvPr>
          <p:cNvSpPr txBox="1"/>
          <p:nvPr/>
        </p:nvSpPr>
        <p:spPr>
          <a:xfrm>
            <a:off x="5046174" y="2088732"/>
            <a:ext cx="2070093" cy="461665"/>
          </a:xfrm>
          <a:prstGeom prst="rect">
            <a:avLst/>
          </a:prstGeom>
          <a:noFill/>
        </p:spPr>
        <p:txBody>
          <a:bodyPr wrap="square" rtlCol="0">
            <a:spAutoFit/>
          </a:bodyPr>
          <a:lstStyle/>
          <a:p>
            <a:r>
              <a:rPr lang="es-MX" sz="2400" dirty="0">
                <a:solidFill>
                  <a:schemeClr val="bg1"/>
                </a:solidFill>
              </a:rPr>
              <a:t>Oportunidades</a:t>
            </a:r>
          </a:p>
        </p:txBody>
      </p:sp>
      <p:sp>
        <p:nvSpPr>
          <p:cNvPr id="70" name="Freeform 60">
            <a:extLst>
              <a:ext uri="{FF2B5EF4-FFF2-40B4-BE49-F238E27FC236}">
                <a16:creationId xmlns:a16="http://schemas.microsoft.com/office/drawing/2014/main" id="{A9B146A5-C176-4CC4-A96D-C6872886272E}"/>
              </a:ext>
            </a:extLst>
          </p:cNvPr>
          <p:cNvSpPr>
            <a:spLocks noChangeAspect="1"/>
          </p:cNvSpPr>
          <p:nvPr/>
        </p:nvSpPr>
        <p:spPr bwMode="auto">
          <a:xfrm>
            <a:off x="5137832" y="1746769"/>
            <a:ext cx="1514078" cy="1514078"/>
          </a:xfrm>
          <a:custGeom>
            <a:avLst/>
            <a:gdLst>
              <a:gd name="T0" fmla="*/ 547 w 2397"/>
              <a:gd name="T1" fmla="*/ 194 h 2398"/>
              <a:gd name="T2" fmla="*/ 359 w 2397"/>
              <a:gd name="T3" fmla="*/ 344 h 2398"/>
              <a:gd name="T4" fmla="*/ 209 w 2397"/>
              <a:gd name="T5" fmla="*/ 524 h 2398"/>
              <a:gd name="T6" fmla="*/ 97 w 2397"/>
              <a:gd name="T7" fmla="*/ 726 h 2398"/>
              <a:gd name="T8" fmla="*/ 27 w 2397"/>
              <a:gd name="T9" fmla="*/ 945 h 2398"/>
              <a:gd name="T10" fmla="*/ 0 w 2397"/>
              <a:gd name="T11" fmla="*/ 1173 h 2398"/>
              <a:gd name="T12" fmla="*/ 18 w 2397"/>
              <a:gd name="T13" fmla="*/ 1405 h 2398"/>
              <a:gd name="T14" fmla="*/ 82 w 2397"/>
              <a:gd name="T15" fmla="*/ 1634 h 2398"/>
              <a:gd name="T16" fmla="*/ 161 w 2397"/>
              <a:gd name="T17" fmla="*/ 1798 h 2398"/>
              <a:gd name="T18" fmla="*/ 265 w 2397"/>
              <a:gd name="T19" fmla="*/ 1950 h 2398"/>
              <a:gd name="T20" fmla="*/ 430 w 2397"/>
              <a:gd name="T21" fmla="*/ 2120 h 2398"/>
              <a:gd name="T22" fmla="*/ 622 w 2397"/>
              <a:gd name="T23" fmla="*/ 2250 h 2398"/>
              <a:gd name="T24" fmla="*/ 834 w 2397"/>
              <a:gd name="T25" fmla="*/ 2341 h 2398"/>
              <a:gd name="T26" fmla="*/ 1058 w 2397"/>
              <a:gd name="T27" fmla="*/ 2389 h 2398"/>
              <a:gd name="T28" fmla="*/ 1288 w 2397"/>
              <a:gd name="T29" fmla="*/ 2394 h 2398"/>
              <a:gd name="T30" fmla="*/ 1519 w 2397"/>
              <a:gd name="T31" fmla="*/ 2354 h 2398"/>
              <a:gd name="T32" fmla="*/ 1743 w 2397"/>
              <a:gd name="T33" fmla="*/ 2267 h 2398"/>
              <a:gd name="T34" fmla="*/ 1851 w 2397"/>
              <a:gd name="T35" fmla="*/ 2205 h 2398"/>
              <a:gd name="T36" fmla="*/ 2039 w 2397"/>
              <a:gd name="T37" fmla="*/ 2055 h 2398"/>
              <a:gd name="T38" fmla="*/ 2189 w 2397"/>
              <a:gd name="T39" fmla="*/ 1875 h 2398"/>
              <a:gd name="T40" fmla="*/ 2299 w 2397"/>
              <a:gd name="T41" fmla="*/ 1672 h 2398"/>
              <a:gd name="T42" fmla="*/ 2369 w 2397"/>
              <a:gd name="T43" fmla="*/ 1453 h 2398"/>
              <a:gd name="T44" fmla="*/ 2397 w 2397"/>
              <a:gd name="T45" fmla="*/ 1225 h 2398"/>
              <a:gd name="T46" fmla="*/ 2380 w 2397"/>
              <a:gd name="T47" fmla="*/ 993 h 2398"/>
              <a:gd name="T48" fmla="*/ 2316 w 2397"/>
              <a:gd name="T49" fmla="*/ 765 h 2398"/>
              <a:gd name="T50" fmla="*/ 2236 w 2397"/>
              <a:gd name="T51" fmla="*/ 601 h 2398"/>
              <a:gd name="T52" fmla="*/ 2134 w 2397"/>
              <a:gd name="T53" fmla="*/ 449 h 2398"/>
              <a:gd name="T54" fmla="*/ 1968 w 2397"/>
              <a:gd name="T55" fmla="*/ 279 h 2398"/>
              <a:gd name="T56" fmla="*/ 1776 w 2397"/>
              <a:gd name="T57" fmla="*/ 148 h 2398"/>
              <a:gd name="T58" fmla="*/ 1565 w 2397"/>
              <a:gd name="T59" fmla="*/ 57 h 2398"/>
              <a:gd name="T60" fmla="*/ 1339 w 2397"/>
              <a:gd name="T61" fmla="*/ 9 h 2398"/>
              <a:gd name="T62" fmla="*/ 1108 w 2397"/>
              <a:gd name="T63" fmla="*/ 4 h 2398"/>
              <a:gd name="T64" fmla="*/ 878 w 2397"/>
              <a:gd name="T65" fmla="*/ 44 h 2398"/>
              <a:gd name="T66" fmla="*/ 653 w 2397"/>
              <a:gd name="T67" fmla="*/ 131 h 2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97" h="2398">
                <a:moveTo>
                  <a:pt x="600" y="162"/>
                </a:moveTo>
                <a:lnTo>
                  <a:pt x="547" y="194"/>
                </a:lnTo>
                <a:lnTo>
                  <a:pt x="449" y="265"/>
                </a:lnTo>
                <a:lnTo>
                  <a:pt x="359" y="344"/>
                </a:lnTo>
                <a:lnTo>
                  <a:pt x="279" y="431"/>
                </a:lnTo>
                <a:lnTo>
                  <a:pt x="209" y="524"/>
                </a:lnTo>
                <a:lnTo>
                  <a:pt x="148" y="623"/>
                </a:lnTo>
                <a:lnTo>
                  <a:pt x="97" y="726"/>
                </a:lnTo>
                <a:lnTo>
                  <a:pt x="57" y="834"/>
                </a:lnTo>
                <a:lnTo>
                  <a:pt x="27" y="945"/>
                </a:lnTo>
                <a:lnTo>
                  <a:pt x="8" y="1058"/>
                </a:lnTo>
                <a:lnTo>
                  <a:pt x="0" y="1173"/>
                </a:lnTo>
                <a:lnTo>
                  <a:pt x="3" y="1290"/>
                </a:lnTo>
                <a:lnTo>
                  <a:pt x="18" y="1405"/>
                </a:lnTo>
                <a:lnTo>
                  <a:pt x="44" y="1521"/>
                </a:lnTo>
                <a:lnTo>
                  <a:pt x="82" y="1634"/>
                </a:lnTo>
                <a:lnTo>
                  <a:pt x="131" y="1744"/>
                </a:lnTo>
                <a:lnTo>
                  <a:pt x="161" y="1798"/>
                </a:lnTo>
                <a:lnTo>
                  <a:pt x="193" y="1851"/>
                </a:lnTo>
                <a:lnTo>
                  <a:pt x="265" y="1950"/>
                </a:lnTo>
                <a:lnTo>
                  <a:pt x="344" y="2039"/>
                </a:lnTo>
                <a:lnTo>
                  <a:pt x="430" y="2120"/>
                </a:lnTo>
                <a:lnTo>
                  <a:pt x="522" y="2190"/>
                </a:lnTo>
                <a:lnTo>
                  <a:pt x="622" y="2250"/>
                </a:lnTo>
                <a:lnTo>
                  <a:pt x="726" y="2301"/>
                </a:lnTo>
                <a:lnTo>
                  <a:pt x="834" y="2341"/>
                </a:lnTo>
                <a:lnTo>
                  <a:pt x="945" y="2371"/>
                </a:lnTo>
                <a:lnTo>
                  <a:pt x="1058" y="2389"/>
                </a:lnTo>
                <a:lnTo>
                  <a:pt x="1173" y="2398"/>
                </a:lnTo>
                <a:lnTo>
                  <a:pt x="1288" y="2394"/>
                </a:lnTo>
                <a:lnTo>
                  <a:pt x="1405" y="2380"/>
                </a:lnTo>
                <a:lnTo>
                  <a:pt x="1519" y="2354"/>
                </a:lnTo>
                <a:lnTo>
                  <a:pt x="1633" y="2317"/>
                </a:lnTo>
                <a:lnTo>
                  <a:pt x="1743" y="2267"/>
                </a:lnTo>
                <a:lnTo>
                  <a:pt x="1798" y="2236"/>
                </a:lnTo>
                <a:lnTo>
                  <a:pt x="1851" y="2205"/>
                </a:lnTo>
                <a:lnTo>
                  <a:pt x="1950" y="2134"/>
                </a:lnTo>
                <a:lnTo>
                  <a:pt x="2039" y="2055"/>
                </a:lnTo>
                <a:lnTo>
                  <a:pt x="2118" y="1968"/>
                </a:lnTo>
                <a:lnTo>
                  <a:pt x="2189" y="1875"/>
                </a:lnTo>
                <a:lnTo>
                  <a:pt x="2249" y="1776"/>
                </a:lnTo>
                <a:lnTo>
                  <a:pt x="2299" y="1672"/>
                </a:lnTo>
                <a:lnTo>
                  <a:pt x="2340" y="1565"/>
                </a:lnTo>
                <a:lnTo>
                  <a:pt x="2369" y="1453"/>
                </a:lnTo>
                <a:lnTo>
                  <a:pt x="2389" y="1341"/>
                </a:lnTo>
                <a:lnTo>
                  <a:pt x="2397" y="1225"/>
                </a:lnTo>
                <a:lnTo>
                  <a:pt x="2394" y="1109"/>
                </a:lnTo>
                <a:lnTo>
                  <a:pt x="2380" y="993"/>
                </a:lnTo>
                <a:lnTo>
                  <a:pt x="2354" y="878"/>
                </a:lnTo>
                <a:lnTo>
                  <a:pt x="2316" y="765"/>
                </a:lnTo>
                <a:lnTo>
                  <a:pt x="2266" y="655"/>
                </a:lnTo>
                <a:lnTo>
                  <a:pt x="2236" y="601"/>
                </a:lnTo>
                <a:lnTo>
                  <a:pt x="2205" y="547"/>
                </a:lnTo>
                <a:lnTo>
                  <a:pt x="2134" y="449"/>
                </a:lnTo>
                <a:lnTo>
                  <a:pt x="2054" y="359"/>
                </a:lnTo>
                <a:lnTo>
                  <a:pt x="1968" y="279"/>
                </a:lnTo>
                <a:lnTo>
                  <a:pt x="1874" y="209"/>
                </a:lnTo>
                <a:lnTo>
                  <a:pt x="1776" y="148"/>
                </a:lnTo>
                <a:lnTo>
                  <a:pt x="1672" y="98"/>
                </a:lnTo>
                <a:lnTo>
                  <a:pt x="1565" y="57"/>
                </a:lnTo>
                <a:lnTo>
                  <a:pt x="1453" y="28"/>
                </a:lnTo>
                <a:lnTo>
                  <a:pt x="1339" y="9"/>
                </a:lnTo>
                <a:lnTo>
                  <a:pt x="1225" y="0"/>
                </a:lnTo>
                <a:lnTo>
                  <a:pt x="1108" y="4"/>
                </a:lnTo>
                <a:lnTo>
                  <a:pt x="993" y="19"/>
                </a:lnTo>
                <a:lnTo>
                  <a:pt x="878" y="44"/>
                </a:lnTo>
                <a:lnTo>
                  <a:pt x="765" y="82"/>
                </a:lnTo>
                <a:lnTo>
                  <a:pt x="653" y="131"/>
                </a:lnTo>
                <a:lnTo>
                  <a:pt x="600" y="162"/>
                </a:lnTo>
                <a:close/>
              </a:path>
            </a:pathLst>
          </a:custGeom>
          <a:solidFill>
            <a:srgbClr val="C13018"/>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1350" dirty="0">
              <a:solidFill>
                <a:sysClr val="windowText" lastClr="000000"/>
              </a:solidFill>
              <a:latin typeface="Calibri" panose="020F0502020204030204"/>
            </a:endParaRPr>
          </a:p>
        </p:txBody>
      </p:sp>
      <p:sp>
        <p:nvSpPr>
          <p:cNvPr id="71" name="CuadroTexto 70">
            <a:extLst>
              <a:ext uri="{FF2B5EF4-FFF2-40B4-BE49-F238E27FC236}">
                <a16:creationId xmlns:a16="http://schemas.microsoft.com/office/drawing/2014/main" id="{4D4A2AFB-687B-434C-AEE0-DF6C1389CA0D}"/>
              </a:ext>
            </a:extLst>
          </p:cNvPr>
          <p:cNvSpPr txBox="1"/>
          <p:nvPr/>
        </p:nvSpPr>
        <p:spPr>
          <a:xfrm>
            <a:off x="5096035" y="2299487"/>
            <a:ext cx="1614069" cy="369332"/>
          </a:xfrm>
          <a:prstGeom prst="rect">
            <a:avLst/>
          </a:prstGeom>
          <a:noFill/>
        </p:spPr>
        <p:txBody>
          <a:bodyPr wrap="square" rtlCol="0">
            <a:spAutoFit/>
          </a:bodyPr>
          <a:lstStyle/>
          <a:p>
            <a:r>
              <a:rPr lang="es-MX" dirty="0">
                <a:solidFill>
                  <a:schemeClr val="bg1"/>
                </a:solidFill>
              </a:rPr>
              <a:t>Oportunidades</a:t>
            </a:r>
          </a:p>
        </p:txBody>
      </p:sp>
      <p:grpSp>
        <p:nvGrpSpPr>
          <p:cNvPr id="72" name="Group 44">
            <a:extLst>
              <a:ext uri="{FF2B5EF4-FFF2-40B4-BE49-F238E27FC236}">
                <a16:creationId xmlns:a16="http://schemas.microsoft.com/office/drawing/2014/main" id="{7B03C895-F464-45C5-9D69-CA56BEF6D1AC}"/>
              </a:ext>
            </a:extLst>
          </p:cNvPr>
          <p:cNvGrpSpPr/>
          <p:nvPr/>
        </p:nvGrpSpPr>
        <p:grpSpPr>
          <a:xfrm>
            <a:off x="5026489" y="5644338"/>
            <a:ext cx="2600395" cy="878114"/>
            <a:chOff x="6293904" y="4818934"/>
            <a:chExt cx="2600395" cy="878114"/>
          </a:xfrm>
        </p:grpSpPr>
        <p:sp>
          <p:nvSpPr>
            <p:cNvPr id="73" name="TextBox 45">
              <a:extLst>
                <a:ext uri="{FF2B5EF4-FFF2-40B4-BE49-F238E27FC236}">
                  <a16:creationId xmlns:a16="http://schemas.microsoft.com/office/drawing/2014/main" id="{A9F65F79-BE1C-4A7F-B1DF-162AF029207B}"/>
                </a:ext>
              </a:extLst>
            </p:cNvPr>
            <p:cNvSpPr txBox="1"/>
            <p:nvPr/>
          </p:nvSpPr>
          <p:spPr>
            <a:xfrm>
              <a:off x="6405250" y="4818934"/>
              <a:ext cx="2489049" cy="33855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600" b="1" dirty="0" err="1">
                  <a:solidFill>
                    <a:sysClr val="windowText" lastClr="000000"/>
                  </a:solidFill>
                  <a:latin typeface="Calibri" panose="020F0502020204030204"/>
                </a:rPr>
                <a:t>Generación</a:t>
              </a:r>
              <a:r>
                <a:rPr lang="en-US" sz="1600" b="1" dirty="0">
                  <a:solidFill>
                    <a:sysClr val="windowText" lastClr="000000"/>
                  </a:solidFill>
                  <a:latin typeface="Calibri" panose="020F0502020204030204"/>
                </a:rPr>
                <a:t> de </a:t>
              </a:r>
              <a:r>
                <a:rPr lang="en-US" sz="1600" b="1" dirty="0" err="1">
                  <a:solidFill>
                    <a:sysClr val="windowText" lastClr="000000"/>
                  </a:solidFill>
                  <a:latin typeface="Calibri" panose="020F0502020204030204"/>
                </a:rPr>
                <a:t>trabajo</a:t>
              </a:r>
              <a:endParaRPr lang="en-US" sz="1600" b="1" dirty="0">
                <a:solidFill>
                  <a:sysClr val="windowText" lastClr="000000"/>
                </a:solidFill>
                <a:latin typeface="Calibri" panose="020F0502020204030204"/>
              </a:endParaRPr>
            </a:p>
          </p:txBody>
        </p:sp>
        <p:sp>
          <p:nvSpPr>
            <p:cNvPr id="74" name="TextBox 46">
              <a:extLst>
                <a:ext uri="{FF2B5EF4-FFF2-40B4-BE49-F238E27FC236}">
                  <a16:creationId xmlns:a16="http://schemas.microsoft.com/office/drawing/2014/main" id="{5E588DB9-5886-4B7E-BC58-36545212D3FC}"/>
                </a:ext>
              </a:extLst>
            </p:cNvPr>
            <p:cNvSpPr txBox="1"/>
            <p:nvPr/>
          </p:nvSpPr>
          <p:spPr>
            <a:xfrm>
              <a:off x="6293904" y="5096884"/>
              <a:ext cx="2398197" cy="600164"/>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s-ES" sz="1100" dirty="0">
                  <a:solidFill>
                    <a:sysClr val="windowText" lastClr="000000">
                      <a:lumMod val="65000"/>
                      <a:lumOff val="35000"/>
                    </a:sysClr>
                  </a:solidFill>
                  <a:latin typeface="Calibri" panose="020F0502020204030204"/>
                </a:rPr>
                <a:t>Crear puestos de trabajo y posibilidades de ingresos y, de esta manera incrementar además la recaudación fiscal </a:t>
              </a:r>
            </a:p>
          </p:txBody>
        </p:sp>
      </p:grpSp>
      <p:pic>
        <p:nvPicPr>
          <p:cNvPr id="76" name="Imagen 75">
            <a:extLst>
              <a:ext uri="{FF2B5EF4-FFF2-40B4-BE49-F238E27FC236}">
                <a16:creationId xmlns:a16="http://schemas.microsoft.com/office/drawing/2014/main" id="{CD1CF8F0-670A-4B13-BAE1-C84B7AA22728}"/>
              </a:ext>
            </a:extLst>
          </p:cNvPr>
          <p:cNvPicPr>
            <a:picLocks noChangeAspect="1"/>
          </p:cNvPicPr>
          <p:nvPr/>
        </p:nvPicPr>
        <p:blipFill>
          <a:blip r:embed="rId4"/>
          <a:stretch>
            <a:fillRect/>
          </a:stretch>
        </p:blipFill>
        <p:spPr>
          <a:xfrm>
            <a:off x="3255621" y="3520872"/>
            <a:ext cx="648000" cy="648000"/>
          </a:xfrm>
          <a:prstGeom prst="rect">
            <a:avLst/>
          </a:prstGeom>
        </p:spPr>
      </p:pic>
      <p:pic>
        <p:nvPicPr>
          <p:cNvPr id="78" name="Imagen 77">
            <a:extLst>
              <a:ext uri="{FF2B5EF4-FFF2-40B4-BE49-F238E27FC236}">
                <a16:creationId xmlns:a16="http://schemas.microsoft.com/office/drawing/2014/main" id="{BB5FC86E-3C3C-4362-8EB6-A89D273539CF}"/>
              </a:ext>
            </a:extLst>
          </p:cNvPr>
          <p:cNvPicPr>
            <a:picLocks noChangeAspect="1"/>
          </p:cNvPicPr>
          <p:nvPr/>
        </p:nvPicPr>
        <p:blipFill>
          <a:blip r:embed="rId5"/>
          <a:stretch>
            <a:fillRect/>
          </a:stretch>
        </p:blipFill>
        <p:spPr>
          <a:xfrm>
            <a:off x="4370482" y="4455133"/>
            <a:ext cx="748800" cy="748800"/>
          </a:xfrm>
          <a:prstGeom prst="rect">
            <a:avLst/>
          </a:prstGeom>
        </p:spPr>
      </p:pic>
      <p:pic>
        <p:nvPicPr>
          <p:cNvPr id="80" name="Imagen 79">
            <a:extLst>
              <a:ext uri="{FF2B5EF4-FFF2-40B4-BE49-F238E27FC236}">
                <a16:creationId xmlns:a16="http://schemas.microsoft.com/office/drawing/2014/main" id="{DC0E00A7-3B78-43DC-B1F4-4158379A32A5}"/>
              </a:ext>
            </a:extLst>
          </p:cNvPr>
          <p:cNvPicPr>
            <a:picLocks noChangeAspect="1"/>
          </p:cNvPicPr>
          <p:nvPr/>
        </p:nvPicPr>
        <p:blipFill>
          <a:blip r:embed="rId6"/>
          <a:stretch>
            <a:fillRect/>
          </a:stretch>
        </p:blipFill>
        <p:spPr>
          <a:xfrm>
            <a:off x="7224230" y="4499520"/>
            <a:ext cx="648000" cy="648000"/>
          </a:xfrm>
          <a:prstGeom prst="rect">
            <a:avLst/>
          </a:prstGeom>
        </p:spPr>
      </p:pic>
      <p:pic>
        <p:nvPicPr>
          <p:cNvPr id="82" name="Imagen 81">
            <a:extLst>
              <a:ext uri="{FF2B5EF4-FFF2-40B4-BE49-F238E27FC236}">
                <a16:creationId xmlns:a16="http://schemas.microsoft.com/office/drawing/2014/main" id="{3503DA8F-D829-4113-98AA-F24957F59B5A}"/>
              </a:ext>
            </a:extLst>
          </p:cNvPr>
          <p:cNvPicPr>
            <a:picLocks noChangeAspect="1"/>
          </p:cNvPicPr>
          <p:nvPr/>
        </p:nvPicPr>
        <p:blipFill>
          <a:blip r:embed="rId7"/>
          <a:stretch>
            <a:fillRect/>
          </a:stretch>
        </p:blipFill>
        <p:spPr>
          <a:xfrm>
            <a:off x="8303575" y="3520872"/>
            <a:ext cx="720000" cy="720000"/>
          </a:xfrm>
          <a:prstGeom prst="rect">
            <a:avLst/>
          </a:prstGeom>
        </p:spPr>
      </p:pic>
      <p:pic>
        <p:nvPicPr>
          <p:cNvPr id="84" name="Imagen 83">
            <a:extLst>
              <a:ext uri="{FF2B5EF4-FFF2-40B4-BE49-F238E27FC236}">
                <a16:creationId xmlns:a16="http://schemas.microsoft.com/office/drawing/2014/main" id="{7751F2DF-CE0B-4A7C-BA55-20631437F732}"/>
              </a:ext>
            </a:extLst>
          </p:cNvPr>
          <p:cNvPicPr>
            <a:picLocks noChangeAspect="1"/>
          </p:cNvPicPr>
          <p:nvPr/>
        </p:nvPicPr>
        <p:blipFill>
          <a:blip r:embed="rId8"/>
          <a:stretch>
            <a:fillRect/>
          </a:stretch>
        </p:blipFill>
        <p:spPr>
          <a:xfrm>
            <a:off x="5748129" y="4744778"/>
            <a:ext cx="720000" cy="720000"/>
          </a:xfrm>
          <a:prstGeom prst="rect">
            <a:avLst/>
          </a:prstGeom>
        </p:spPr>
      </p:pic>
    </p:spTree>
    <p:extLst>
      <p:ext uri="{BB962C8B-B14F-4D97-AF65-F5344CB8AC3E}">
        <p14:creationId xmlns:p14="http://schemas.microsoft.com/office/powerpoint/2010/main" val="3601006707"/>
      </p:ext>
    </p:extLst>
  </p:cSld>
  <p:clrMapOvr>
    <a:masterClrMapping/>
  </p:clrMapOvr>
  <mc:AlternateContent xmlns:mc="http://schemas.openxmlformats.org/markup-compatibility/2006" xmlns:p14="http://schemas.microsoft.com/office/powerpoint/2010/main">
    <mc:Choice Requires="p14">
      <p:transition spd="slow" p14:dur="20000" advClick="0" advTm="25798"/>
    </mc:Choice>
    <mc:Fallback xmlns="">
      <p:transition spd="slow" advClick="0" advTm="25798"/>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3E208AF-9668-4069-9F5E-39026DE04BE9}"/>
              </a:ext>
            </a:extLst>
          </p:cNvPr>
          <p:cNvSpPr>
            <a:spLocks noGrp="1"/>
          </p:cNvSpPr>
          <p:nvPr>
            <p:ph type="title"/>
          </p:nvPr>
        </p:nvSpPr>
        <p:spPr>
          <a:xfrm>
            <a:off x="2243141" y="1199447"/>
            <a:ext cx="7237411" cy="446020"/>
          </a:xfrm>
        </p:spPr>
        <p:txBody>
          <a:bodyPr/>
          <a:lstStyle/>
          <a:p>
            <a:r>
              <a:rPr lang="es-ES" dirty="0"/>
              <a:t>Factor de éxito: El interés común </a:t>
            </a:r>
            <a:endParaRPr lang="es-MX" dirty="0"/>
          </a:p>
        </p:txBody>
      </p:sp>
      <p:sp>
        <p:nvSpPr>
          <p:cNvPr id="4" name="Oval 3">
            <a:extLst>
              <a:ext uri="{FF2B5EF4-FFF2-40B4-BE49-F238E27FC236}">
                <a16:creationId xmlns:a16="http://schemas.microsoft.com/office/drawing/2014/main" id="{AA8DC2C3-A527-4FDF-B48C-F026384F31A6}"/>
              </a:ext>
            </a:extLst>
          </p:cNvPr>
          <p:cNvSpPr/>
          <p:nvPr/>
        </p:nvSpPr>
        <p:spPr>
          <a:xfrm>
            <a:off x="1923497" y="2204867"/>
            <a:ext cx="5396142" cy="1772527"/>
          </a:xfrm>
          <a:prstGeom prst="ellipse">
            <a:avLst/>
          </a:prstGeom>
          <a:solidFill>
            <a:srgbClr val="5B9BD5">
              <a:alpha val="4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5" name="Oval 4">
            <a:extLst>
              <a:ext uri="{FF2B5EF4-FFF2-40B4-BE49-F238E27FC236}">
                <a16:creationId xmlns:a16="http://schemas.microsoft.com/office/drawing/2014/main" id="{65BC9BCC-0777-46A5-B3BF-2095E543A271}"/>
              </a:ext>
            </a:extLst>
          </p:cNvPr>
          <p:cNvSpPr/>
          <p:nvPr/>
        </p:nvSpPr>
        <p:spPr>
          <a:xfrm>
            <a:off x="4731878" y="2228251"/>
            <a:ext cx="5396142" cy="1772527"/>
          </a:xfrm>
          <a:prstGeom prst="ellipse">
            <a:avLst/>
          </a:prstGeom>
          <a:solidFill>
            <a:srgbClr val="5B9BD5">
              <a:alpha val="4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6" name="TextBox 5">
            <a:extLst>
              <a:ext uri="{FF2B5EF4-FFF2-40B4-BE49-F238E27FC236}">
                <a16:creationId xmlns:a16="http://schemas.microsoft.com/office/drawing/2014/main" id="{6C952D39-1AD1-46B9-898B-3BE54FF487DE}"/>
              </a:ext>
            </a:extLst>
          </p:cNvPr>
          <p:cNvSpPr txBox="1"/>
          <p:nvPr/>
        </p:nvSpPr>
        <p:spPr>
          <a:xfrm>
            <a:off x="5087891" y="2780931"/>
            <a:ext cx="1886263" cy="692497"/>
          </a:xfrm>
          <a:prstGeom prst="rect">
            <a:avLst/>
          </a:prstGeom>
          <a:noFill/>
        </p:spPr>
        <p:txBody>
          <a:bodyPr wrap="square" rtlCol="0">
            <a:spAutoFit/>
          </a:bodyPr>
          <a:lstStyle/>
          <a:p>
            <a:pPr algn="ctr">
              <a:defRPr/>
            </a:pPr>
            <a:r>
              <a:rPr lang="de-DE" sz="2800" b="1" dirty="0">
                <a:solidFill>
                  <a:srgbClr val="000000"/>
                </a:solidFill>
                <a:latin typeface="Arial"/>
              </a:rPr>
              <a:t>PPP</a:t>
            </a:r>
          </a:p>
          <a:p>
            <a:pPr algn="ctr">
              <a:defRPr/>
            </a:pPr>
            <a:r>
              <a:rPr lang="de-DE" sz="1100" b="1" dirty="0" err="1">
                <a:solidFill>
                  <a:srgbClr val="000000"/>
                </a:solidFill>
                <a:latin typeface="Arial"/>
              </a:rPr>
              <a:t>Proyecto</a:t>
            </a:r>
            <a:r>
              <a:rPr lang="de-DE" sz="1100" b="1" dirty="0">
                <a:solidFill>
                  <a:srgbClr val="000000"/>
                </a:solidFill>
                <a:latin typeface="Arial"/>
              </a:rPr>
              <a:t> </a:t>
            </a:r>
            <a:r>
              <a:rPr lang="de-DE" sz="1100" b="1" dirty="0" err="1">
                <a:solidFill>
                  <a:srgbClr val="000000"/>
                </a:solidFill>
                <a:latin typeface="Arial"/>
              </a:rPr>
              <a:t>público</a:t>
            </a:r>
            <a:r>
              <a:rPr lang="de-DE" sz="1100" b="1" dirty="0">
                <a:solidFill>
                  <a:srgbClr val="000000"/>
                </a:solidFill>
                <a:latin typeface="Arial"/>
              </a:rPr>
              <a:t> privado</a:t>
            </a:r>
          </a:p>
        </p:txBody>
      </p:sp>
      <p:sp>
        <p:nvSpPr>
          <p:cNvPr id="7" name="TextBox 6">
            <a:extLst>
              <a:ext uri="{FF2B5EF4-FFF2-40B4-BE49-F238E27FC236}">
                <a16:creationId xmlns:a16="http://schemas.microsoft.com/office/drawing/2014/main" id="{44AEF19E-09FF-4A4E-B963-3D420415EA48}"/>
              </a:ext>
            </a:extLst>
          </p:cNvPr>
          <p:cNvSpPr txBox="1"/>
          <p:nvPr/>
        </p:nvSpPr>
        <p:spPr>
          <a:xfrm>
            <a:off x="2825398" y="2853895"/>
            <a:ext cx="1686426" cy="646331"/>
          </a:xfrm>
          <a:prstGeom prst="rect">
            <a:avLst/>
          </a:prstGeom>
          <a:noFill/>
        </p:spPr>
        <p:txBody>
          <a:bodyPr wrap="square" rtlCol="0">
            <a:spAutoFit/>
          </a:bodyPr>
          <a:lstStyle/>
          <a:p>
            <a:pPr algn="ctr">
              <a:defRPr/>
            </a:pPr>
            <a:r>
              <a:rPr lang="de-DE" dirty="0">
                <a:solidFill>
                  <a:srgbClr val="000000"/>
                </a:solidFill>
                <a:latin typeface="Arial"/>
              </a:rPr>
              <a:t>Sector </a:t>
            </a:r>
            <a:r>
              <a:rPr lang="de-DE" dirty="0" err="1">
                <a:solidFill>
                  <a:srgbClr val="000000"/>
                </a:solidFill>
                <a:latin typeface="Arial"/>
              </a:rPr>
              <a:t>público</a:t>
            </a:r>
            <a:endParaRPr lang="de-DE" dirty="0">
              <a:solidFill>
                <a:srgbClr val="000000"/>
              </a:solidFill>
              <a:latin typeface="Arial"/>
            </a:endParaRPr>
          </a:p>
          <a:p>
            <a:pPr algn="ctr">
              <a:defRPr/>
            </a:pPr>
            <a:r>
              <a:rPr lang="de-DE" dirty="0">
                <a:solidFill>
                  <a:srgbClr val="000000"/>
                </a:solidFill>
                <a:latin typeface="Arial"/>
              </a:rPr>
              <a:t>(</a:t>
            </a:r>
            <a:r>
              <a:rPr lang="de-DE" dirty="0"/>
              <a:t>ODS)</a:t>
            </a:r>
            <a:endParaRPr lang="es-MX" dirty="0"/>
          </a:p>
        </p:txBody>
      </p:sp>
      <p:sp>
        <p:nvSpPr>
          <p:cNvPr id="8" name="TextBox 7">
            <a:extLst>
              <a:ext uri="{FF2B5EF4-FFF2-40B4-BE49-F238E27FC236}">
                <a16:creationId xmlns:a16="http://schemas.microsoft.com/office/drawing/2014/main" id="{4FBE45B5-4B3F-4D25-B712-8B8DDD476B73}"/>
              </a:ext>
            </a:extLst>
          </p:cNvPr>
          <p:cNvSpPr txBox="1"/>
          <p:nvPr/>
        </p:nvSpPr>
        <p:spPr>
          <a:xfrm>
            <a:off x="7765316" y="2853894"/>
            <a:ext cx="1714196" cy="369332"/>
          </a:xfrm>
          <a:prstGeom prst="rect">
            <a:avLst/>
          </a:prstGeom>
          <a:noFill/>
        </p:spPr>
        <p:txBody>
          <a:bodyPr wrap="square" rtlCol="0">
            <a:spAutoFit/>
          </a:bodyPr>
          <a:lstStyle/>
          <a:p>
            <a:pPr>
              <a:defRPr/>
            </a:pPr>
            <a:r>
              <a:rPr lang="de-DE" dirty="0">
                <a:solidFill>
                  <a:srgbClr val="000000"/>
                </a:solidFill>
                <a:latin typeface="Arial"/>
              </a:rPr>
              <a:t>Sector privado</a:t>
            </a:r>
          </a:p>
        </p:txBody>
      </p:sp>
      <p:cxnSp>
        <p:nvCxnSpPr>
          <p:cNvPr id="9" name="Straight Connector 9">
            <a:extLst>
              <a:ext uri="{FF2B5EF4-FFF2-40B4-BE49-F238E27FC236}">
                <a16:creationId xmlns:a16="http://schemas.microsoft.com/office/drawing/2014/main" id="{DAA11323-0E6F-46D7-93EC-6DEB5D7724CD}"/>
              </a:ext>
            </a:extLst>
          </p:cNvPr>
          <p:cNvCxnSpPr>
            <a:cxnSpLocks/>
            <a:stCxn id="4" idx="3"/>
          </p:cNvCxnSpPr>
          <p:nvPr/>
        </p:nvCxnSpPr>
        <p:spPr>
          <a:xfrm>
            <a:off x="2713744" y="3717810"/>
            <a:ext cx="0" cy="1583398"/>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10">
            <a:extLst>
              <a:ext uri="{FF2B5EF4-FFF2-40B4-BE49-F238E27FC236}">
                <a16:creationId xmlns:a16="http://schemas.microsoft.com/office/drawing/2014/main" id="{29B2FC4E-99A9-4F86-BC3E-59CD5E634331}"/>
              </a:ext>
            </a:extLst>
          </p:cNvPr>
          <p:cNvCxnSpPr>
            <a:cxnSpLocks/>
          </p:cNvCxnSpPr>
          <p:nvPr/>
        </p:nvCxnSpPr>
        <p:spPr>
          <a:xfrm>
            <a:off x="9336585" y="3717032"/>
            <a:ext cx="0" cy="1584176"/>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1">
            <a:extLst>
              <a:ext uri="{FF2B5EF4-FFF2-40B4-BE49-F238E27FC236}">
                <a16:creationId xmlns:a16="http://schemas.microsoft.com/office/drawing/2014/main" id="{E93FA079-81F8-46DE-A00F-7B2075378BB3}"/>
              </a:ext>
            </a:extLst>
          </p:cNvPr>
          <p:cNvSpPr txBox="1"/>
          <p:nvPr/>
        </p:nvSpPr>
        <p:spPr>
          <a:xfrm>
            <a:off x="2798066" y="4077075"/>
            <a:ext cx="3150357" cy="1384995"/>
          </a:xfrm>
          <a:prstGeom prst="rect">
            <a:avLst/>
          </a:prstGeom>
          <a:noFill/>
        </p:spPr>
        <p:txBody>
          <a:bodyPr wrap="square" rtlCol="0">
            <a:spAutoFit/>
          </a:bodyPr>
          <a:lstStyle/>
          <a:p>
            <a:pPr marL="285750" indent="-285750">
              <a:buFont typeface="Arial" panose="020B0604020202020204" pitchFamily="34" charset="0"/>
              <a:buChar char="•"/>
              <a:defRPr/>
            </a:pPr>
            <a:r>
              <a:rPr lang="de-DE" sz="1400" dirty="0">
                <a:solidFill>
                  <a:srgbClr val="000000"/>
                </a:solidFill>
                <a:latin typeface="Arial"/>
              </a:rPr>
              <a:t>Desarrollo sustentable</a:t>
            </a:r>
          </a:p>
          <a:p>
            <a:pPr marL="285750" indent="-285750">
              <a:buFont typeface="Arial" panose="020B0604020202020204" pitchFamily="34" charset="0"/>
              <a:buChar char="•"/>
              <a:defRPr/>
            </a:pPr>
            <a:r>
              <a:rPr lang="de-DE" sz="1400" dirty="0">
                <a:solidFill>
                  <a:srgbClr val="000000"/>
                </a:solidFill>
                <a:latin typeface="Arial"/>
              </a:rPr>
              <a:t>Proteger ecosistemas y biodiversidad como capital natural</a:t>
            </a:r>
          </a:p>
          <a:p>
            <a:pPr marL="285750" indent="-285750">
              <a:buFont typeface="Arial" panose="020B0604020202020204" pitchFamily="34" charset="0"/>
              <a:buChar char="•"/>
              <a:defRPr/>
            </a:pPr>
            <a:r>
              <a:rPr lang="de-DE" sz="1400" dirty="0">
                <a:solidFill>
                  <a:srgbClr val="000000"/>
                </a:solidFill>
                <a:latin typeface="Arial"/>
              </a:rPr>
              <a:t>Ayudar a industrias en transición</a:t>
            </a:r>
          </a:p>
          <a:p>
            <a:pPr marL="285750" indent="-285750">
              <a:buFont typeface="Arial" panose="020B0604020202020204" pitchFamily="34" charset="0"/>
              <a:buChar char="•"/>
              <a:defRPr/>
            </a:pPr>
            <a:r>
              <a:rPr lang="de-DE" sz="1400" dirty="0">
                <a:solidFill>
                  <a:srgbClr val="000000"/>
                </a:solidFill>
                <a:latin typeface="Arial"/>
              </a:rPr>
              <a:t>Crecimiento y participación de todos</a:t>
            </a:r>
            <a:endParaRPr lang="en-US" sz="1400" dirty="0">
              <a:solidFill>
                <a:srgbClr val="000000"/>
              </a:solidFill>
              <a:latin typeface="Arial"/>
            </a:endParaRPr>
          </a:p>
        </p:txBody>
      </p:sp>
      <p:sp>
        <p:nvSpPr>
          <p:cNvPr id="12" name="TextBox 12">
            <a:extLst>
              <a:ext uri="{FF2B5EF4-FFF2-40B4-BE49-F238E27FC236}">
                <a16:creationId xmlns:a16="http://schemas.microsoft.com/office/drawing/2014/main" id="{317DB4A4-FA81-42A8-9504-5F75F17B80ED}"/>
              </a:ext>
            </a:extLst>
          </p:cNvPr>
          <p:cNvSpPr txBox="1"/>
          <p:nvPr/>
        </p:nvSpPr>
        <p:spPr>
          <a:xfrm>
            <a:off x="6456040" y="4092448"/>
            <a:ext cx="2864530" cy="1169551"/>
          </a:xfrm>
          <a:prstGeom prst="rect">
            <a:avLst/>
          </a:prstGeom>
          <a:noFill/>
        </p:spPr>
        <p:txBody>
          <a:bodyPr wrap="square" rtlCol="0">
            <a:spAutoFit/>
          </a:bodyPr>
          <a:lstStyle/>
          <a:p>
            <a:pPr marL="285750" indent="-285750">
              <a:buFont typeface="Arial" panose="020B0604020202020204" pitchFamily="34" charset="0"/>
              <a:buChar char="•"/>
              <a:defRPr/>
            </a:pPr>
            <a:r>
              <a:rPr lang="de-DE" sz="1400" dirty="0">
                <a:solidFill>
                  <a:srgbClr val="000000"/>
                </a:solidFill>
                <a:latin typeface="Arial"/>
              </a:rPr>
              <a:t>Aumentar su competitividad</a:t>
            </a:r>
          </a:p>
          <a:p>
            <a:pPr marL="285750" indent="-285750">
              <a:buFont typeface="Arial" panose="020B0604020202020204" pitchFamily="34" charset="0"/>
              <a:buChar char="•"/>
              <a:defRPr/>
            </a:pPr>
            <a:r>
              <a:rPr lang="de-DE" sz="1400" dirty="0">
                <a:solidFill>
                  <a:srgbClr val="000000"/>
                </a:solidFill>
                <a:latin typeface="Arial"/>
              </a:rPr>
              <a:t>Acceder nuevos mercados</a:t>
            </a:r>
          </a:p>
          <a:p>
            <a:pPr marL="285750" indent="-285750">
              <a:buFont typeface="Arial" panose="020B0604020202020204" pitchFamily="34" charset="0"/>
              <a:buChar char="•"/>
              <a:defRPr/>
            </a:pPr>
            <a:r>
              <a:rPr lang="de-DE" sz="1400" dirty="0">
                <a:solidFill>
                  <a:srgbClr val="000000"/>
                </a:solidFill>
                <a:latin typeface="Arial"/>
              </a:rPr>
              <a:t>Reducir riesgos empresariales</a:t>
            </a:r>
          </a:p>
          <a:p>
            <a:pPr marL="285750" indent="-285750">
              <a:buFont typeface="Arial" panose="020B0604020202020204" pitchFamily="34" charset="0"/>
              <a:buChar char="•"/>
              <a:defRPr/>
            </a:pPr>
            <a:r>
              <a:rPr lang="de-DE" sz="1400" dirty="0">
                <a:solidFill>
                  <a:srgbClr val="000000"/>
                </a:solidFill>
                <a:latin typeface="Arial"/>
              </a:rPr>
              <a:t>Contactos y acceso a tomadores de </a:t>
            </a:r>
            <a:r>
              <a:rPr lang="de-DE" sz="1400" dirty="0" err="1">
                <a:solidFill>
                  <a:srgbClr val="000000"/>
                </a:solidFill>
                <a:latin typeface="Arial"/>
              </a:rPr>
              <a:t>decisión</a:t>
            </a:r>
            <a:endParaRPr lang="en-US" sz="1400" dirty="0">
              <a:solidFill>
                <a:srgbClr val="000000"/>
              </a:solidFill>
              <a:latin typeface="Arial"/>
            </a:endParaRPr>
          </a:p>
        </p:txBody>
      </p:sp>
      <p:sp>
        <p:nvSpPr>
          <p:cNvPr id="14" name="Rectángulo 13">
            <a:extLst>
              <a:ext uri="{FF2B5EF4-FFF2-40B4-BE49-F238E27FC236}">
                <a16:creationId xmlns:a16="http://schemas.microsoft.com/office/drawing/2014/main" id="{AA8FDD3B-D074-481B-A76D-5393AD1BD0C3}"/>
              </a:ext>
            </a:extLst>
          </p:cNvPr>
          <p:cNvSpPr/>
          <p:nvPr/>
        </p:nvSpPr>
        <p:spPr>
          <a:xfrm>
            <a:off x="1838493" y="5443326"/>
            <a:ext cx="8496742" cy="338554"/>
          </a:xfrm>
          <a:prstGeom prst="rect">
            <a:avLst/>
          </a:prstGeom>
        </p:spPr>
        <p:txBody>
          <a:bodyPr wrap="square">
            <a:spAutoFit/>
          </a:bodyPr>
          <a:lstStyle/>
          <a:p>
            <a:r>
              <a:rPr lang="es-ES" sz="1600" dirty="0">
                <a:solidFill>
                  <a:schemeClr val="bg2">
                    <a:lumMod val="50000"/>
                  </a:schemeClr>
                </a:solidFill>
                <a:latin typeface="AGaramondPro-Regular"/>
              </a:rPr>
              <a:t>*ninguno de los socios está en condiciones de alcanzar el objetivo actuando de forma </a:t>
            </a:r>
            <a:r>
              <a:rPr lang="es-MX" sz="1600" dirty="0">
                <a:solidFill>
                  <a:schemeClr val="bg2">
                    <a:lumMod val="50000"/>
                  </a:schemeClr>
                </a:solidFill>
                <a:latin typeface="AGaramondPro-Regular"/>
              </a:rPr>
              <a:t>individual</a:t>
            </a:r>
            <a:endParaRPr lang="es-MX" sz="2000" dirty="0">
              <a:solidFill>
                <a:schemeClr val="bg2">
                  <a:lumMod val="50000"/>
                </a:schemeClr>
              </a:solidFill>
            </a:endParaRPr>
          </a:p>
        </p:txBody>
      </p:sp>
    </p:spTree>
    <p:extLst>
      <p:ext uri="{BB962C8B-B14F-4D97-AF65-F5344CB8AC3E}">
        <p14:creationId xmlns:p14="http://schemas.microsoft.com/office/powerpoint/2010/main" val="2844657495"/>
      </p:ext>
    </p:extLst>
  </p:cSld>
  <p:clrMapOvr>
    <a:masterClrMapping/>
  </p:clrMapOvr>
  <mc:AlternateContent xmlns:mc="http://schemas.openxmlformats.org/markup-compatibility/2006" xmlns:p14="http://schemas.microsoft.com/office/powerpoint/2010/main">
    <mc:Choice Requires="p14">
      <p:transition spd="slow" p14:dur="20000" advClick="0" advTm="21165"/>
    </mc:Choice>
    <mc:Fallback xmlns="">
      <p:transition spd="slow" advClick="0" advTm="21165"/>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17" name="Picture 17" descr="Image result for Blutsgeschwister GmBH">
            <a:extLst>
              <a:ext uri="{FF2B5EF4-FFF2-40B4-BE49-F238E27FC236}">
                <a16:creationId xmlns:a16="http://schemas.microsoft.com/office/drawing/2014/main" id="{469C8EFC-641A-4F89-AD46-B0C23D477F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29435" y="4077072"/>
            <a:ext cx="1549135" cy="1533644"/>
          </a:xfrm>
          <a:prstGeom prst="rect">
            <a:avLst/>
          </a:prstGeom>
          <a:noFill/>
          <a:extLst>
            <a:ext uri="{909E8E84-426E-40DD-AFC4-6F175D3DCCD1}">
              <a14:hiddenFill xmlns:a14="http://schemas.microsoft.com/office/drawing/2010/main">
                <a:solidFill>
                  <a:srgbClr val="FFFFFF"/>
                </a:solidFill>
              </a14:hiddenFill>
            </a:ext>
          </a:extLst>
        </p:spPr>
      </p:pic>
      <p:sp>
        <p:nvSpPr>
          <p:cNvPr id="5" name="Titel 4"/>
          <p:cNvSpPr>
            <a:spLocks noGrp="1"/>
          </p:cNvSpPr>
          <p:nvPr>
            <p:ph type="title"/>
          </p:nvPr>
        </p:nvSpPr>
        <p:spPr>
          <a:xfrm>
            <a:off x="1856408" y="772987"/>
            <a:ext cx="7624142" cy="872483"/>
          </a:xfrm>
        </p:spPr>
        <p:txBody>
          <a:bodyPr/>
          <a:lstStyle/>
          <a:p>
            <a:r>
              <a:rPr lang="de-DE" dirty="0"/>
              <a:t>Casos de </a:t>
            </a:r>
            <a:r>
              <a:rPr lang="de-DE" dirty="0" err="1"/>
              <a:t>éxito</a:t>
            </a:r>
            <a:br>
              <a:rPr lang="de-DE" dirty="0"/>
            </a:br>
            <a:r>
              <a:rPr lang="de-DE" sz="1400" dirty="0" err="1"/>
              <a:t>más</a:t>
            </a:r>
            <a:r>
              <a:rPr lang="de-DE" sz="1400" dirty="0"/>
              <a:t> </a:t>
            </a:r>
            <a:r>
              <a:rPr lang="de-DE" sz="1400" dirty="0" err="1"/>
              <a:t>ejemplos</a:t>
            </a:r>
            <a:r>
              <a:rPr lang="de-DE" sz="1400" dirty="0"/>
              <a:t> en: </a:t>
            </a:r>
            <a:r>
              <a:rPr lang="es-MX" sz="1400" dirty="0">
                <a:hlinkClick r:id="rId4"/>
              </a:rPr>
              <a:t>https://www.developpp.de/en/projects-and-success-stories-developppde-success-stories/</a:t>
            </a:r>
            <a:endParaRPr lang="de-DE" dirty="0"/>
          </a:p>
        </p:txBody>
      </p:sp>
      <p:pic>
        <p:nvPicPr>
          <p:cNvPr id="6" name="Bildplatzhalter 1"/>
          <p:cNvPicPr>
            <a:picLocks noChangeAspect="1"/>
          </p:cNvPicPr>
          <p:nvPr/>
        </p:nvPicPr>
        <p:blipFill>
          <a:blip r:embed="rId5">
            <a:extLst>
              <a:ext uri="{28A0092B-C50C-407E-A947-70E740481C1C}">
                <a14:useLocalDpi xmlns:a14="http://schemas.microsoft.com/office/drawing/2010/main" val="0"/>
              </a:ext>
            </a:extLst>
          </a:blip>
          <a:srcRect l="2240" r="2240"/>
          <a:stretch>
            <a:fillRect/>
          </a:stretch>
        </p:blipFill>
        <p:spPr>
          <a:xfrm>
            <a:off x="8904000" y="44624"/>
            <a:ext cx="1397000" cy="609600"/>
          </a:xfrm>
          <a:prstGeom prst="rect">
            <a:avLst/>
          </a:prstGeom>
          <a:blipFill dpi="0" rotWithShape="1">
            <a:blip r:embed="rId5">
              <a:extLst>
                <a:ext uri="{28A0092B-C50C-407E-A947-70E740481C1C}">
                  <a14:useLocalDpi xmlns:a14="http://schemas.microsoft.com/office/drawing/2010/main" val="0"/>
                </a:ext>
              </a:extLst>
            </a:blip>
            <a:srcRect/>
            <a:stretch>
              <a:fillRect/>
            </a:stretch>
          </a:blipFill>
        </p:spPr>
      </p:pic>
      <p:grpSp>
        <p:nvGrpSpPr>
          <p:cNvPr id="48" name="Grupo 47">
            <a:extLst>
              <a:ext uri="{FF2B5EF4-FFF2-40B4-BE49-F238E27FC236}">
                <a16:creationId xmlns:a16="http://schemas.microsoft.com/office/drawing/2014/main" id="{EFBBDC4A-3B33-471E-99B3-DFDC5C5DB3E4}"/>
              </a:ext>
            </a:extLst>
          </p:cNvPr>
          <p:cNvGrpSpPr/>
          <p:nvPr/>
        </p:nvGrpSpPr>
        <p:grpSpPr>
          <a:xfrm>
            <a:off x="7680176" y="1488656"/>
            <a:ext cx="2548816" cy="2506539"/>
            <a:chOff x="714335" y="1488653"/>
            <a:chExt cx="2548816" cy="2506539"/>
          </a:xfrm>
        </p:grpSpPr>
        <p:pic>
          <p:nvPicPr>
            <p:cNvPr id="102406" name="Picture 6" descr="Image result for BASF png">
              <a:extLst>
                <a:ext uri="{FF2B5EF4-FFF2-40B4-BE49-F238E27FC236}">
                  <a16:creationId xmlns:a16="http://schemas.microsoft.com/office/drawing/2014/main" id="{8C2EFB6E-1D4D-47D7-977B-24DEDAFEE38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1012" y="1488653"/>
              <a:ext cx="1844124" cy="1844124"/>
            </a:xfrm>
            <a:prstGeom prst="rect">
              <a:avLst/>
            </a:prstGeom>
            <a:ln>
              <a:noFill/>
            </a:ln>
            <a:effectLst/>
            <a:extLst>
              <a:ext uri="{909E8E84-426E-40DD-AFC4-6F175D3DCCD1}">
                <a14:hiddenFill xmlns:a14="http://schemas.microsoft.com/office/drawing/2010/main">
                  <a:solidFill>
                    <a:srgbClr val="FFFFFF"/>
                  </a:solidFill>
                </a14:hiddenFill>
              </a:ext>
            </a:extLst>
          </p:spPr>
        </p:pic>
        <p:sp>
          <p:nvSpPr>
            <p:cNvPr id="16" name="Rectangle 1">
              <a:extLst>
                <a:ext uri="{FF2B5EF4-FFF2-40B4-BE49-F238E27FC236}">
                  <a16:creationId xmlns:a16="http://schemas.microsoft.com/office/drawing/2014/main" id="{9F1B4C6E-A81D-4035-BAB5-07816B6CDF82}"/>
                </a:ext>
              </a:extLst>
            </p:cNvPr>
            <p:cNvSpPr/>
            <p:nvPr/>
          </p:nvSpPr>
          <p:spPr>
            <a:xfrm>
              <a:off x="714335" y="2979529"/>
              <a:ext cx="2548816" cy="1015663"/>
            </a:xfrm>
            <a:prstGeom prst="rect">
              <a:avLst/>
            </a:prstGeom>
          </p:spPr>
          <p:txBody>
            <a:bodyPr wrap="square">
              <a:spAutoFit/>
            </a:bodyPr>
            <a:lstStyle/>
            <a:p>
              <a:pPr algn="just" fontAlgn="base"/>
              <a:r>
                <a:rPr lang="es-ES" sz="1000" dirty="0">
                  <a:solidFill>
                    <a:srgbClr val="333333"/>
                  </a:solidFill>
                  <a:latin typeface="Univers 45 Light" pitchFamily="2" charset="0"/>
                </a:rPr>
                <a:t>Se fundó un </a:t>
              </a:r>
              <a:r>
                <a:rPr lang="es-ES" sz="1000" b="1" dirty="0">
                  <a:solidFill>
                    <a:srgbClr val="333333"/>
                  </a:solidFill>
                  <a:latin typeface="Univers 45 Light" pitchFamily="2" charset="0"/>
                </a:rPr>
                <a:t>centro de entrenamiento en eficiencia ecológica</a:t>
              </a:r>
              <a:r>
                <a:rPr lang="es-ES" sz="1000" dirty="0">
                  <a:solidFill>
                    <a:srgbClr val="333333"/>
                  </a:solidFill>
                  <a:latin typeface="Univers 45 Light" pitchFamily="2" charset="0"/>
                </a:rPr>
                <a:t> en Brasil que entrena a pequeñas y medianas empresas en aspectos de sustentabilidad, como parte de una asociación público-privada (PPP) con BASF y UNIDO. El centro es hoy un negocio rentable. </a:t>
              </a:r>
              <a:endParaRPr lang="es-CR" sz="1000" dirty="0">
                <a:solidFill>
                  <a:srgbClr val="333333"/>
                </a:solidFill>
                <a:latin typeface="Univers 45 Light" pitchFamily="2" charset="0"/>
              </a:endParaRPr>
            </a:p>
          </p:txBody>
        </p:sp>
      </p:grpSp>
      <p:grpSp>
        <p:nvGrpSpPr>
          <p:cNvPr id="50" name="Grupo 49">
            <a:extLst>
              <a:ext uri="{FF2B5EF4-FFF2-40B4-BE49-F238E27FC236}">
                <a16:creationId xmlns:a16="http://schemas.microsoft.com/office/drawing/2014/main" id="{D4C19423-1EDE-443D-8042-6D40052F410B}"/>
              </a:ext>
            </a:extLst>
          </p:cNvPr>
          <p:cNvGrpSpPr/>
          <p:nvPr/>
        </p:nvGrpSpPr>
        <p:grpSpPr>
          <a:xfrm>
            <a:off x="1891003" y="4290354"/>
            <a:ext cx="2706709" cy="2244867"/>
            <a:chOff x="367000" y="4434367"/>
            <a:chExt cx="2706709" cy="2244867"/>
          </a:xfrm>
        </p:grpSpPr>
        <p:sp>
          <p:nvSpPr>
            <p:cNvPr id="31" name="TextBox 31">
              <a:extLst>
                <a:ext uri="{FF2B5EF4-FFF2-40B4-BE49-F238E27FC236}">
                  <a16:creationId xmlns:a16="http://schemas.microsoft.com/office/drawing/2014/main" id="{E5FA0356-95FB-4658-8D94-85486ADAF3AA}"/>
                </a:ext>
              </a:extLst>
            </p:cNvPr>
            <p:cNvSpPr txBox="1"/>
            <p:nvPr/>
          </p:nvSpPr>
          <p:spPr>
            <a:xfrm>
              <a:off x="367000" y="5446561"/>
              <a:ext cx="2706709" cy="1232673"/>
            </a:xfrm>
            <a:prstGeom prst="rect">
              <a:avLst/>
            </a:prstGeom>
            <a:noFill/>
          </p:spPr>
          <p:txBody>
            <a:bodyPr wrap="square" lIns="54610" tIns="54610" rIns="54610" bIns="54610" rtlCol="0">
              <a:noAutofit/>
            </a:bodyPr>
            <a:lstStyle/>
            <a:p>
              <a:pPr algn="just"/>
              <a:r>
                <a:rPr lang="es-CR" sz="1000" dirty="0">
                  <a:solidFill>
                    <a:srgbClr val="333333"/>
                  </a:solidFill>
                  <a:latin typeface="Univers 45 Light" pitchFamily="2" charset="0"/>
                </a:rPr>
                <a:t>LORCH, GIZ y la Universidad de Don Bosco en India, </a:t>
              </a:r>
              <a:r>
                <a:rPr lang="es-CR" sz="1000" b="1" dirty="0">
                  <a:solidFill>
                    <a:srgbClr val="333333"/>
                  </a:solidFill>
                  <a:latin typeface="Univers 45 Light" pitchFamily="2" charset="0"/>
                </a:rPr>
                <a:t>proveen entrenamiento a jóvenes</a:t>
              </a:r>
              <a:r>
                <a:rPr lang="es-CR" sz="1000" dirty="0">
                  <a:solidFill>
                    <a:srgbClr val="333333"/>
                  </a:solidFill>
                  <a:latin typeface="Univers 45 Light" pitchFamily="2" charset="0"/>
                </a:rPr>
                <a:t> para generar costuras soldadas de alta precisión en la industria automotriz. Los estudiantes utilizan equipo comercializado por LORCH. </a:t>
              </a:r>
            </a:p>
          </p:txBody>
        </p:sp>
        <p:pic>
          <p:nvPicPr>
            <p:cNvPr id="102409" name="Picture 9" descr="Image result for lorch schweiÃtechnik gmbh">
              <a:extLst>
                <a:ext uri="{FF2B5EF4-FFF2-40B4-BE49-F238E27FC236}">
                  <a16:creationId xmlns:a16="http://schemas.microsoft.com/office/drawing/2014/main" id="{B002D283-C2C4-41DB-9277-5CBA0052EEE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9592" y="4434367"/>
              <a:ext cx="1658227" cy="938849"/>
            </a:xfrm>
            <a:prstGeom prst="rect">
              <a:avLst/>
            </a:prstGeom>
            <a:ln>
              <a:noFill/>
            </a:ln>
            <a:effectLst/>
            <a:extLst>
              <a:ext uri="{909E8E84-426E-40DD-AFC4-6F175D3DCCD1}">
                <a14:hiddenFill xmlns:a14="http://schemas.microsoft.com/office/drawing/2010/main">
                  <a:solidFill>
                    <a:srgbClr val="FFFFFF"/>
                  </a:solidFill>
                </a14:hiddenFill>
              </a:ext>
            </a:extLst>
          </p:spPr>
        </p:pic>
      </p:grpSp>
      <p:grpSp>
        <p:nvGrpSpPr>
          <p:cNvPr id="49" name="Grupo 48">
            <a:extLst>
              <a:ext uri="{FF2B5EF4-FFF2-40B4-BE49-F238E27FC236}">
                <a16:creationId xmlns:a16="http://schemas.microsoft.com/office/drawing/2014/main" id="{10E5FAAC-2482-4B9C-AB60-7E7BA89FC2D7}"/>
              </a:ext>
            </a:extLst>
          </p:cNvPr>
          <p:cNvGrpSpPr/>
          <p:nvPr/>
        </p:nvGrpSpPr>
        <p:grpSpPr>
          <a:xfrm>
            <a:off x="4799859" y="2049724"/>
            <a:ext cx="2719899" cy="2315383"/>
            <a:chOff x="3275856" y="2049721"/>
            <a:chExt cx="2719899" cy="2315383"/>
          </a:xfrm>
        </p:grpSpPr>
        <p:sp>
          <p:nvSpPr>
            <p:cNvPr id="19" name="TextBox 12">
              <a:extLst>
                <a:ext uri="{FF2B5EF4-FFF2-40B4-BE49-F238E27FC236}">
                  <a16:creationId xmlns:a16="http://schemas.microsoft.com/office/drawing/2014/main" id="{08FA9FBE-F655-41FB-AAA2-084BEDCCFA4B}"/>
                </a:ext>
              </a:extLst>
            </p:cNvPr>
            <p:cNvSpPr txBox="1"/>
            <p:nvPr/>
          </p:nvSpPr>
          <p:spPr>
            <a:xfrm>
              <a:off x="3275856" y="2915944"/>
              <a:ext cx="2719899" cy="1449160"/>
            </a:xfrm>
            <a:prstGeom prst="rect">
              <a:avLst/>
            </a:prstGeom>
            <a:noFill/>
          </p:spPr>
          <p:txBody>
            <a:bodyPr wrap="square" lIns="54610" tIns="54610" rIns="54610" bIns="54610" rtlCol="0">
              <a:noAutofit/>
            </a:bodyPr>
            <a:lstStyle/>
            <a:p>
              <a:pPr algn="just">
                <a:spcAft>
                  <a:spcPts val="600"/>
                </a:spcAft>
              </a:pPr>
              <a:r>
                <a:rPr lang="es-ES" sz="1000" dirty="0">
                  <a:solidFill>
                    <a:srgbClr val="333333"/>
                  </a:solidFill>
                  <a:latin typeface="Univers 45 Light" pitchFamily="2" charset="0"/>
                </a:rPr>
                <a:t>Cargill, BASF y GIZ colaboran para incrementar la calidad de vida de pequeños agricultores a través </a:t>
              </a:r>
              <a:r>
                <a:rPr lang="es-ES" sz="1000" b="1" dirty="0">
                  <a:solidFill>
                    <a:srgbClr val="333333"/>
                  </a:solidFill>
                  <a:latin typeface="Univers 45 Light" pitchFamily="2" charset="0"/>
                </a:rPr>
                <a:t>de la producción sustentable </a:t>
              </a:r>
              <a:r>
                <a:rPr lang="es-ES" sz="1000" dirty="0">
                  <a:solidFill>
                    <a:srgbClr val="333333"/>
                  </a:solidFill>
                  <a:latin typeface="Univers 45 Light" pitchFamily="2" charset="0"/>
                </a:rPr>
                <a:t>de aceite de coco en Filipinas. Los socios están interesados en asegurar la sostenibilidad en sus fuentes de aceite de coco en Filipinas y en prepararse para satisfacer la creciente demanda de productos agrícolas certificados en el mercado internacional.  </a:t>
              </a:r>
              <a:endParaRPr lang="es-CR" sz="1000" dirty="0">
                <a:solidFill>
                  <a:srgbClr val="333333"/>
                </a:solidFill>
                <a:latin typeface="Univers 45 Light" pitchFamily="2" charset="0"/>
              </a:endParaRPr>
            </a:p>
          </p:txBody>
        </p:sp>
        <p:pic>
          <p:nvPicPr>
            <p:cNvPr id="102411" name="Picture 11" descr="Image result for cargill png">
              <a:extLst>
                <a:ext uri="{FF2B5EF4-FFF2-40B4-BE49-F238E27FC236}">
                  <a16:creationId xmlns:a16="http://schemas.microsoft.com/office/drawing/2014/main" id="{FAAC74C8-9B0D-494E-A1AD-AFCDA297CBA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28985" y="2049721"/>
              <a:ext cx="1799501" cy="803215"/>
            </a:xfrm>
            <a:prstGeom prst="rect">
              <a:avLst/>
            </a:prstGeom>
            <a:ln>
              <a:noFill/>
            </a:ln>
            <a:effectLst/>
            <a:extLst>
              <a:ext uri="{909E8E84-426E-40DD-AFC4-6F175D3DCCD1}">
                <a14:hiddenFill xmlns:a14="http://schemas.microsoft.com/office/drawing/2010/main">
                  <a:solidFill>
                    <a:srgbClr val="FFFFFF"/>
                  </a:solidFill>
                </a14:hiddenFill>
              </a:ext>
            </a:extLst>
          </p:spPr>
        </p:pic>
      </p:grpSp>
      <p:pic>
        <p:nvPicPr>
          <p:cNvPr id="102413" name="Picture 13" descr="Image result for evonik">
            <a:extLst>
              <a:ext uri="{FF2B5EF4-FFF2-40B4-BE49-F238E27FC236}">
                <a16:creationId xmlns:a16="http://schemas.microsoft.com/office/drawing/2014/main" id="{859899B9-213F-4E56-891E-F5D5FD22BE7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351584" y="1961062"/>
            <a:ext cx="1855922" cy="891874"/>
          </a:xfrm>
          <a:prstGeom prst="rect">
            <a:avLst/>
          </a:prstGeom>
          <a:noFill/>
          <a:extLst>
            <a:ext uri="{909E8E84-426E-40DD-AFC4-6F175D3DCCD1}">
              <a14:hiddenFill xmlns:a14="http://schemas.microsoft.com/office/drawing/2010/main">
                <a:solidFill>
                  <a:srgbClr val="FFFFFF"/>
                </a:solidFill>
              </a14:hiddenFill>
            </a:ext>
          </a:extLst>
        </p:spPr>
      </p:pic>
      <p:pic>
        <p:nvPicPr>
          <p:cNvPr id="102415" name="Picture 15" descr="Image result for BDC Dorsch Consult Ingenieurgesellschaft">
            <a:extLst>
              <a:ext uri="{FF2B5EF4-FFF2-40B4-BE49-F238E27FC236}">
                <a16:creationId xmlns:a16="http://schemas.microsoft.com/office/drawing/2014/main" id="{E7A7C058-2E6F-4247-A82B-AE2CC8A3EDE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969133" y="4426335"/>
            <a:ext cx="2105508" cy="783844"/>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1">
            <a:extLst>
              <a:ext uri="{FF2B5EF4-FFF2-40B4-BE49-F238E27FC236}">
                <a16:creationId xmlns:a16="http://schemas.microsoft.com/office/drawing/2014/main" id="{6C830368-30D8-4659-882A-2E806E1AF25C}"/>
              </a:ext>
            </a:extLst>
          </p:cNvPr>
          <p:cNvSpPr/>
          <p:nvPr/>
        </p:nvSpPr>
        <p:spPr>
          <a:xfrm>
            <a:off x="4799856" y="5302548"/>
            <a:ext cx="2664296" cy="1169551"/>
          </a:xfrm>
          <a:prstGeom prst="rect">
            <a:avLst/>
          </a:prstGeom>
        </p:spPr>
        <p:txBody>
          <a:bodyPr wrap="square">
            <a:spAutoFit/>
          </a:bodyPr>
          <a:lstStyle/>
          <a:p>
            <a:pPr algn="just" fontAlgn="base"/>
            <a:r>
              <a:rPr lang="es-ES" sz="1000" dirty="0" err="1">
                <a:solidFill>
                  <a:srgbClr val="333333"/>
                </a:solidFill>
                <a:latin typeface="Univers 45 Light" pitchFamily="2" charset="0"/>
              </a:rPr>
              <a:t>Dorsch</a:t>
            </a:r>
            <a:r>
              <a:rPr lang="es-ES" sz="1000" dirty="0">
                <a:solidFill>
                  <a:srgbClr val="333333"/>
                </a:solidFill>
                <a:latin typeface="Univers 45 Light" pitchFamily="2" charset="0"/>
              </a:rPr>
              <a:t> y GIZ crearon un </a:t>
            </a:r>
            <a:r>
              <a:rPr lang="es-ES" sz="1000" b="1" dirty="0">
                <a:solidFill>
                  <a:srgbClr val="333333"/>
                </a:solidFill>
                <a:latin typeface="Univers 45 Light" pitchFamily="2" charset="0"/>
              </a:rPr>
              <a:t>sistema eficiente de gestión de residuos para la región</a:t>
            </a:r>
            <a:r>
              <a:rPr lang="es-ES" sz="1000" dirty="0">
                <a:solidFill>
                  <a:srgbClr val="333333"/>
                </a:solidFill>
                <a:latin typeface="Univers 45 Light" pitchFamily="2" charset="0"/>
              </a:rPr>
              <a:t> de Mogi </a:t>
            </a:r>
            <a:r>
              <a:rPr lang="es-ES" sz="1000" dirty="0" err="1">
                <a:solidFill>
                  <a:srgbClr val="333333"/>
                </a:solidFill>
                <a:latin typeface="Univers 45 Light" pitchFamily="2" charset="0"/>
              </a:rPr>
              <a:t>Mirim</a:t>
            </a:r>
            <a:r>
              <a:rPr lang="es-ES" sz="1000" dirty="0">
                <a:solidFill>
                  <a:srgbClr val="333333"/>
                </a:solidFill>
                <a:latin typeface="Univers 45 Light" pitchFamily="2" charset="0"/>
              </a:rPr>
              <a:t>, sentando las bases para el compromiso a largo plazo de </a:t>
            </a:r>
            <a:r>
              <a:rPr lang="es-ES" sz="1000" dirty="0" err="1">
                <a:solidFill>
                  <a:srgbClr val="333333"/>
                </a:solidFill>
                <a:latin typeface="Univers 45 Light" pitchFamily="2" charset="0"/>
              </a:rPr>
              <a:t>Dorsch</a:t>
            </a:r>
            <a:r>
              <a:rPr lang="es-ES" sz="1000" dirty="0">
                <a:solidFill>
                  <a:srgbClr val="333333"/>
                </a:solidFill>
                <a:latin typeface="Univers 45 Light" pitchFamily="2" charset="0"/>
              </a:rPr>
              <a:t> en Brasil. La segunda asociación de desarrollo tuvo como objetivo promover el uso de biogás en todo el país y así hacerlo más seguro.</a:t>
            </a:r>
            <a:endParaRPr lang="es-CR" sz="1000" dirty="0">
              <a:solidFill>
                <a:srgbClr val="333333"/>
              </a:solidFill>
              <a:latin typeface="Univers 45 Light" pitchFamily="2" charset="0"/>
            </a:endParaRPr>
          </a:p>
        </p:txBody>
      </p:sp>
      <p:sp>
        <p:nvSpPr>
          <p:cNvPr id="61" name="Rectangle 1">
            <a:extLst>
              <a:ext uri="{FF2B5EF4-FFF2-40B4-BE49-F238E27FC236}">
                <a16:creationId xmlns:a16="http://schemas.microsoft.com/office/drawing/2014/main" id="{BDFD8A06-C111-4765-9B21-4E31AC486440}"/>
              </a:ext>
            </a:extLst>
          </p:cNvPr>
          <p:cNvSpPr/>
          <p:nvPr/>
        </p:nvSpPr>
        <p:spPr>
          <a:xfrm>
            <a:off x="7752184" y="5302545"/>
            <a:ext cx="2548816" cy="1477328"/>
          </a:xfrm>
          <a:prstGeom prst="rect">
            <a:avLst/>
          </a:prstGeom>
        </p:spPr>
        <p:txBody>
          <a:bodyPr wrap="square">
            <a:spAutoFit/>
          </a:bodyPr>
          <a:lstStyle/>
          <a:p>
            <a:pPr algn="just" fontAlgn="base"/>
            <a:r>
              <a:rPr lang="es-ES" sz="1000" dirty="0" err="1">
                <a:solidFill>
                  <a:srgbClr val="333333"/>
                </a:solidFill>
                <a:latin typeface="Univers 45 Light" pitchFamily="2" charset="0"/>
              </a:rPr>
              <a:t>Blutsgeschwister</a:t>
            </a:r>
            <a:r>
              <a:rPr lang="es-ES" sz="1000" dirty="0">
                <a:solidFill>
                  <a:srgbClr val="333333"/>
                </a:solidFill>
                <a:latin typeface="Univers 45 Light" pitchFamily="2" charset="0"/>
              </a:rPr>
              <a:t>, FWF y GIZ han seleccionado 11 fábricas de costura en China e India para </a:t>
            </a:r>
            <a:r>
              <a:rPr lang="es-ES" sz="1000" b="1" dirty="0">
                <a:solidFill>
                  <a:srgbClr val="333333"/>
                </a:solidFill>
                <a:latin typeface="Univers 45 Light" pitchFamily="2" charset="0"/>
              </a:rPr>
              <a:t>establecer una cadena de suministro sostenible</a:t>
            </a:r>
            <a:r>
              <a:rPr lang="es-ES" sz="1000" dirty="0">
                <a:solidFill>
                  <a:srgbClr val="333333"/>
                </a:solidFill>
                <a:latin typeface="Univers 45 Light" pitchFamily="2" charset="0"/>
              </a:rPr>
              <a:t>. Los socios trabajan para mejorar las condiciones de producción en el sitio, a través de la aplicación de estándares ecológicos y sociales aplicables en la industria textil, y alentar a otras compañías a seguir el ejemplo. </a:t>
            </a:r>
            <a:endParaRPr lang="es-CR" sz="1000" dirty="0">
              <a:solidFill>
                <a:srgbClr val="333333"/>
              </a:solidFill>
              <a:latin typeface="Univers 45 Light" pitchFamily="2" charset="0"/>
            </a:endParaRPr>
          </a:p>
        </p:txBody>
      </p:sp>
      <p:sp>
        <p:nvSpPr>
          <p:cNvPr id="20" name="TextBox 12">
            <a:extLst>
              <a:ext uri="{FF2B5EF4-FFF2-40B4-BE49-F238E27FC236}">
                <a16:creationId xmlns:a16="http://schemas.microsoft.com/office/drawing/2014/main" id="{C59F0821-1C61-40B0-B8D2-AED9487F9532}"/>
              </a:ext>
            </a:extLst>
          </p:cNvPr>
          <p:cNvSpPr txBox="1"/>
          <p:nvPr/>
        </p:nvSpPr>
        <p:spPr>
          <a:xfrm>
            <a:off x="1856411" y="2843936"/>
            <a:ext cx="2719899" cy="1449160"/>
          </a:xfrm>
          <a:prstGeom prst="rect">
            <a:avLst/>
          </a:prstGeom>
          <a:noFill/>
        </p:spPr>
        <p:txBody>
          <a:bodyPr wrap="square" lIns="54610" tIns="54610" rIns="54610" bIns="54610" rtlCol="0">
            <a:noAutofit/>
          </a:bodyPr>
          <a:lstStyle/>
          <a:p>
            <a:pPr algn="just">
              <a:spcAft>
                <a:spcPts val="600"/>
              </a:spcAft>
            </a:pPr>
            <a:r>
              <a:rPr lang="es-ES" sz="1000" dirty="0" err="1">
                <a:solidFill>
                  <a:srgbClr val="333333"/>
                </a:solidFill>
                <a:latin typeface="Univers 45 Light" pitchFamily="2" charset="0"/>
              </a:rPr>
              <a:t>Evonik</a:t>
            </a:r>
            <a:r>
              <a:rPr lang="es-ES" sz="1000" dirty="0">
                <a:solidFill>
                  <a:srgbClr val="333333"/>
                </a:solidFill>
                <a:latin typeface="Univers 45 Light" pitchFamily="2" charset="0"/>
              </a:rPr>
              <a:t> y GIZ colaboran para transferir habilidades y tecnología para mejorar la eficiencia del biogás. </a:t>
            </a:r>
            <a:r>
              <a:rPr lang="es-ES" sz="1000" dirty="0" err="1">
                <a:solidFill>
                  <a:srgbClr val="333333"/>
                </a:solidFill>
                <a:latin typeface="Univers 45 Light" pitchFamily="2" charset="0"/>
              </a:rPr>
              <a:t>Evonik</a:t>
            </a:r>
            <a:r>
              <a:rPr lang="es-ES" sz="1000" dirty="0">
                <a:solidFill>
                  <a:srgbClr val="333333"/>
                </a:solidFill>
                <a:latin typeface="Univers 45 Light" pitchFamily="2" charset="0"/>
              </a:rPr>
              <a:t> es experto productor de membranas de polímero para purificar biogás y producir biometano. La cooperación consistió en </a:t>
            </a:r>
            <a:r>
              <a:rPr lang="es-ES" sz="1000" b="1" dirty="0">
                <a:solidFill>
                  <a:srgbClr val="333333"/>
                </a:solidFill>
                <a:latin typeface="Univers 45 Light" pitchFamily="2" charset="0"/>
              </a:rPr>
              <a:t>introducir una nueva tecnología,</a:t>
            </a:r>
            <a:r>
              <a:rPr lang="es-ES" sz="1000" dirty="0">
                <a:solidFill>
                  <a:srgbClr val="333333"/>
                </a:solidFill>
                <a:latin typeface="Univers 45 Light" pitchFamily="2" charset="0"/>
              </a:rPr>
              <a:t> en su momento (</a:t>
            </a:r>
            <a:r>
              <a:rPr lang="es-ES" sz="1000" i="1" dirty="0" err="1">
                <a:solidFill>
                  <a:srgbClr val="333333"/>
                </a:solidFill>
                <a:latin typeface="Univers 45 Light" pitchFamily="2" charset="0"/>
              </a:rPr>
              <a:t>Hollow</a:t>
            </a:r>
            <a:r>
              <a:rPr lang="es-ES" sz="1000" i="1" dirty="0">
                <a:solidFill>
                  <a:srgbClr val="333333"/>
                </a:solidFill>
                <a:latin typeface="Univers 45 Light" pitchFamily="2" charset="0"/>
              </a:rPr>
              <a:t> </a:t>
            </a:r>
            <a:r>
              <a:rPr lang="es-ES" sz="1000" i="1" dirty="0" err="1">
                <a:solidFill>
                  <a:srgbClr val="333333"/>
                </a:solidFill>
                <a:latin typeface="Univers 45 Light" pitchFamily="2" charset="0"/>
              </a:rPr>
              <a:t>fibre</a:t>
            </a:r>
            <a:r>
              <a:rPr lang="es-ES" sz="1000" i="1" dirty="0">
                <a:solidFill>
                  <a:srgbClr val="333333"/>
                </a:solidFill>
                <a:latin typeface="Univers 45 Light" pitchFamily="2" charset="0"/>
              </a:rPr>
              <a:t> </a:t>
            </a:r>
            <a:r>
              <a:rPr lang="es-ES" sz="1000" i="1" dirty="0" err="1">
                <a:solidFill>
                  <a:srgbClr val="333333"/>
                </a:solidFill>
                <a:latin typeface="Univers 45 Light" pitchFamily="2" charset="0"/>
              </a:rPr>
              <a:t>membranes</a:t>
            </a:r>
            <a:r>
              <a:rPr lang="es-ES" sz="1000" dirty="0">
                <a:solidFill>
                  <a:srgbClr val="333333"/>
                </a:solidFill>
                <a:latin typeface="Univers 45 Light" pitchFamily="2" charset="0"/>
              </a:rPr>
              <a:t>) en el sector de biogás en China, incluyendo el desarrollo de capacidades y establecimiento de un piloto.</a:t>
            </a:r>
            <a:endParaRPr lang="es-CR" sz="1000" dirty="0">
              <a:solidFill>
                <a:srgbClr val="333333"/>
              </a:solidFill>
              <a:latin typeface="Univers 45 Light" pitchFamily="2" charset="0"/>
            </a:endParaRPr>
          </a:p>
        </p:txBody>
      </p:sp>
    </p:spTree>
    <p:extLst>
      <p:ext uri="{BB962C8B-B14F-4D97-AF65-F5344CB8AC3E}">
        <p14:creationId xmlns:p14="http://schemas.microsoft.com/office/powerpoint/2010/main" val="414438081"/>
      </p:ext>
    </p:extLst>
  </p:cSld>
  <p:clrMapOvr>
    <a:masterClrMapping/>
  </p:clrMapOvr>
  <mc:AlternateContent xmlns:mc="http://schemas.openxmlformats.org/markup-compatibility/2006" xmlns:p14="http://schemas.microsoft.com/office/powerpoint/2010/main">
    <mc:Choice Requires="p14">
      <p:transition spd="slow" p14:dur="20000" advClick="0" advTm="58819"/>
    </mc:Choice>
    <mc:Fallback xmlns="">
      <p:transition spd="slow" advClick="0" advTm="58819"/>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2243138" y="1199447"/>
            <a:ext cx="7237412" cy="446020"/>
          </a:xfrm>
        </p:spPr>
        <p:txBody>
          <a:bodyPr/>
          <a:lstStyle/>
          <a:p>
            <a:pPr lvl="0"/>
            <a:r>
              <a:rPr lang="de-DE" dirty="0"/>
              <a:t>Beneficios de develoPPP.de para su empresa</a:t>
            </a:r>
          </a:p>
        </p:txBody>
      </p:sp>
      <p:sp>
        <p:nvSpPr>
          <p:cNvPr id="11" name="Textplatzhalter 10"/>
          <p:cNvSpPr>
            <a:spLocks noGrp="1"/>
          </p:cNvSpPr>
          <p:nvPr>
            <p:ph type="body" sz="quarter" idx="10"/>
          </p:nvPr>
        </p:nvSpPr>
        <p:spPr>
          <a:xfrm>
            <a:off x="4583835" y="2060848"/>
            <a:ext cx="5904655" cy="4023314"/>
          </a:xfrm>
        </p:spPr>
        <p:txBody>
          <a:bodyPr/>
          <a:lstStyle/>
          <a:p>
            <a:pPr>
              <a:spcAft>
                <a:spcPts val="600"/>
              </a:spcAft>
            </a:pPr>
            <a:r>
              <a:rPr lang="es-ES" dirty="0">
                <a:solidFill>
                  <a:srgbClr val="00B8F2"/>
                </a:solidFill>
              </a:rPr>
              <a:t>Algunos resultados comunes:</a:t>
            </a:r>
          </a:p>
          <a:p>
            <a:pPr lvl="1">
              <a:spcAft>
                <a:spcPts val="600"/>
              </a:spcAft>
            </a:pPr>
            <a:r>
              <a:rPr lang="es-ES" dirty="0"/>
              <a:t>Apertura o expansión de nuevos nichos de mercado</a:t>
            </a:r>
          </a:p>
          <a:p>
            <a:pPr lvl="1">
              <a:spcAft>
                <a:spcPts val="600"/>
              </a:spcAft>
            </a:pPr>
            <a:r>
              <a:rPr lang="es-ES" dirty="0"/>
              <a:t>Implementación de nuevas tecnologías y productos innovadores existentes</a:t>
            </a:r>
          </a:p>
          <a:p>
            <a:pPr lvl="1">
              <a:spcAft>
                <a:spcPts val="600"/>
              </a:spcAft>
            </a:pPr>
            <a:r>
              <a:rPr lang="es-ES" dirty="0"/>
              <a:t>Mayor acceso a capital a partir de impactos sociales y ambientales positivos</a:t>
            </a:r>
          </a:p>
          <a:p>
            <a:pPr lvl="1">
              <a:spcAft>
                <a:spcPts val="600"/>
              </a:spcAft>
            </a:pPr>
            <a:r>
              <a:rPr lang="es-ES" dirty="0"/>
              <a:t>Formación y retención de capital humano </a:t>
            </a:r>
          </a:p>
          <a:p>
            <a:pPr lvl="1">
              <a:spcAft>
                <a:spcPts val="600"/>
              </a:spcAft>
            </a:pPr>
            <a:r>
              <a:rPr lang="es-ES" dirty="0"/>
              <a:t>Incremento en la fiabilidad de suministro y optimización en las cadenas de valor; aumento en la calidad y los estándares de los proveedores</a:t>
            </a:r>
          </a:p>
          <a:p>
            <a:pPr lvl="1">
              <a:spcAft>
                <a:spcPts val="600"/>
              </a:spcAft>
            </a:pPr>
            <a:r>
              <a:rPr lang="es-ES" dirty="0"/>
              <a:t>Fortalecimiento de capacidades internas y la gestión de riesgos</a:t>
            </a:r>
          </a:p>
          <a:p>
            <a:pPr lvl="1">
              <a:spcAft>
                <a:spcPts val="600"/>
              </a:spcAft>
            </a:pPr>
            <a:r>
              <a:rPr lang="es-ES" dirty="0"/>
              <a:t>Posicionamiento como empresa orientada hacia valores acorde con la sustentabilidad</a:t>
            </a:r>
            <a:endParaRPr lang="es-ES" sz="1800" dirty="0"/>
          </a:p>
        </p:txBody>
      </p:sp>
      <p:pic>
        <p:nvPicPr>
          <p:cNvPr id="6" name="Bildplatzhalter 1"/>
          <p:cNvPicPr>
            <a:picLocks noChangeAspect="1"/>
          </p:cNvPicPr>
          <p:nvPr/>
        </p:nvPicPr>
        <p:blipFill>
          <a:blip r:embed="rId3">
            <a:extLst>
              <a:ext uri="{28A0092B-C50C-407E-A947-70E740481C1C}">
                <a14:useLocalDpi xmlns:a14="http://schemas.microsoft.com/office/drawing/2010/main" val="0"/>
              </a:ext>
            </a:extLst>
          </a:blip>
          <a:srcRect l="2240" r="2240"/>
          <a:stretch>
            <a:fillRect/>
          </a:stretch>
        </p:blipFill>
        <p:spPr>
          <a:xfrm>
            <a:off x="8904000" y="44624"/>
            <a:ext cx="1397000" cy="609600"/>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pic>
      <p:pic>
        <p:nvPicPr>
          <p:cNvPr id="9" name="Marcador de posición de imagen 8">
            <a:extLst>
              <a:ext uri="{FF2B5EF4-FFF2-40B4-BE49-F238E27FC236}">
                <a16:creationId xmlns:a16="http://schemas.microsoft.com/office/drawing/2014/main" id="{97C619F9-B4E6-42DC-B68C-3CF445938CDA}"/>
              </a:ext>
            </a:extLst>
          </p:cNvPr>
          <p:cNvPicPr>
            <a:picLocks noGrp="1" noChangeAspect="1"/>
          </p:cNvPicPr>
          <p:nvPr>
            <p:ph type="pic" sz="quarter" idx="11"/>
          </p:nvPr>
        </p:nvPicPr>
        <p:blipFill>
          <a:blip r:embed="rId4"/>
          <a:srcRect t="38" b="38"/>
          <a:stretch>
            <a:fillRect/>
          </a:stretch>
        </p:blipFill>
        <p:spPr/>
      </p:pic>
      <p:pic>
        <p:nvPicPr>
          <p:cNvPr id="12" name="Marcador de posición de imagen 11">
            <a:extLst>
              <a:ext uri="{FF2B5EF4-FFF2-40B4-BE49-F238E27FC236}">
                <a16:creationId xmlns:a16="http://schemas.microsoft.com/office/drawing/2014/main" id="{E00233E9-8528-4886-8D24-4B1D19E1D8F3}"/>
              </a:ext>
            </a:extLst>
          </p:cNvPr>
          <p:cNvPicPr>
            <a:picLocks noGrp="1" noChangeAspect="1"/>
          </p:cNvPicPr>
          <p:nvPr>
            <p:ph type="pic" sz="quarter" idx="12"/>
          </p:nvPr>
        </p:nvPicPr>
        <p:blipFill>
          <a:blip r:embed="rId5"/>
          <a:srcRect t="32" b="32"/>
          <a:stretch>
            <a:fillRect/>
          </a:stretch>
        </p:blipFill>
        <p:spPr/>
      </p:pic>
    </p:spTree>
    <p:extLst>
      <p:ext uri="{BB962C8B-B14F-4D97-AF65-F5344CB8AC3E}">
        <p14:creationId xmlns:p14="http://schemas.microsoft.com/office/powerpoint/2010/main" val="1338538158"/>
      </p:ext>
    </p:extLst>
  </p:cSld>
  <p:clrMapOvr>
    <a:masterClrMapping/>
  </p:clrMapOvr>
  <mc:AlternateContent xmlns:mc="http://schemas.openxmlformats.org/markup-compatibility/2006" xmlns:p14="http://schemas.microsoft.com/office/powerpoint/2010/main">
    <mc:Choice Requires="p14">
      <p:transition spd="slow" p14:dur="20000" advClick="0" advTm="16262"/>
    </mc:Choice>
    <mc:Fallback xmlns="">
      <p:transition spd="slow" advClick="0" advTm="16262"/>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2243138" y="1199447"/>
            <a:ext cx="7237412" cy="446020"/>
          </a:xfrm>
        </p:spPr>
        <p:txBody>
          <a:bodyPr/>
          <a:lstStyle/>
          <a:p>
            <a:r>
              <a:rPr lang="de-DE" dirty="0"/>
              <a:t>Apoyo del programa al logro de sus objetivos</a:t>
            </a:r>
          </a:p>
        </p:txBody>
      </p:sp>
      <p:sp>
        <p:nvSpPr>
          <p:cNvPr id="7" name="Textplatzhalter 6"/>
          <p:cNvSpPr>
            <a:spLocks noGrp="1"/>
          </p:cNvSpPr>
          <p:nvPr>
            <p:ph type="body" sz="quarter" idx="10"/>
          </p:nvPr>
        </p:nvSpPr>
        <p:spPr>
          <a:xfrm>
            <a:off x="4511827" y="1989584"/>
            <a:ext cx="5976663" cy="4535760"/>
          </a:xfrm>
        </p:spPr>
        <p:txBody>
          <a:bodyPr/>
          <a:lstStyle/>
          <a:p>
            <a:r>
              <a:rPr lang="es-ES" dirty="0">
                <a:solidFill>
                  <a:srgbClr val="00B8F2"/>
                </a:solidFill>
              </a:rPr>
              <a:t>A través de GIZ, el programa </a:t>
            </a:r>
            <a:r>
              <a:rPr lang="es-ES" dirty="0" err="1">
                <a:solidFill>
                  <a:srgbClr val="00B8F2"/>
                </a:solidFill>
              </a:rPr>
              <a:t>develoPPP.de</a:t>
            </a:r>
            <a:r>
              <a:rPr lang="es-ES" dirty="0">
                <a:solidFill>
                  <a:srgbClr val="00B8F2"/>
                </a:solidFill>
              </a:rPr>
              <a:t> le apoya con:  </a:t>
            </a:r>
          </a:p>
          <a:p>
            <a:pPr lvl="1"/>
            <a:r>
              <a:rPr lang="es-ES" dirty="0"/>
              <a:t>Acompañamiento administrativo y técnico sobre la correcta gestión y aprovechamiento de proyectos para el desarrollo</a:t>
            </a:r>
          </a:p>
          <a:p>
            <a:pPr lvl="1"/>
            <a:r>
              <a:rPr lang="es-ES" dirty="0"/>
              <a:t>Acceso a una amplia red de contactos conformada por instancias tomadoras de decisiones dentro del ámbito político, la sociedad civil y el sector privado</a:t>
            </a:r>
            <a:endParaRPr lang="es-ES" strike="sngStrike" dirty="0"/>
          </a:p>
          <a:p>
            <a:pPr lvl="1"/>
            <a:r>
              <a:rPr lang="es-ES" dirty="0"/>
              <a:t>Aporte de conocimientos sobre el entorno nacional, político y normativo, así como las brechas económicas, sociales y ecológicas de México</a:t>
            </a:r>
          </a:p>
          <a:p>
            <a:pPr lvl="1"/>
            <a:r>
              <a:rPr lang="es-ES" dirty="0"/>
              <a:t>Desarrollo de estudios y análisis técnicos requeridos como insumo</a:t>
            </a:r>
          </a:p>
          <a:p>
            <a:pPr lvl="1"/>
            <a:r>
              <a:rPr lang="es-ES" dirty="0"/>
              <a:t>Inversión de hasta el 50% de los costos, minimizando los riesgos financieros para las empresas   </a:t>
            </a:r>
          </a:p>
          <a:p>
            <a:pPr marL="0" lvl="1" indent="0">
              <a:buNone/>
            </a:pPr>
            <a:endParaRPr lang="es-ES" dirty="0"/>
          </a:p>
        </p:txBody>
      </p:sp>
      <p:pic>
        <p:nvPicPr>
          <p:cNvPr id="6" name="Bildplatzhalter 1"/>
          <p:cNvPicPr>
            <a:picLocks noChangeAspect="1"/>
          </p:cNvPicPr>
          <p:nvPr/>
        </p:nvPicPr>
        <p:blipFill>
          <a:blip r:embed="rId3">
            <a:extLst>
              <a:ext uri="{28A0092B-C50C-407E-A947-70E740481C1C}">
                <a14:useLocalDpi xmlns:a14="http://schemas.microsoft.com/office/drawing/2010/main" val="0"/>
              </a:ext>
            </a:extLst>
          </a:blip>
          <a:srcRect l="2240" r="2240"/>
          <a:stretch>
            <a:fillRect/>
          </a:stretch>
        </p:blipFill>
        <p:spPr>
          <a:xfrm>
            <a:off x="8904000" y="44624"/>
            <a:ext cx="1397000" cy="609600"/>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pic>
      <p:pic>
        <p:nvPicPr>
          <p:cNvPr id="10" name="Marcador de posición de imagen 9">
            <a:extLst>
              <a:ext uri="{FF2B5EF4-FFF2-40B4-BE49-F238E27FC236}">
                <a16:creationId xmlns:a16="http://schemas.microsoft.com/office/drawing/2014/main" id="{6313B6C9-14AF-45C8-BECD-357FE8A18FF6}"/>
              </a:ext>
            </a:extLst>
          </p:cNvPr>
          <p:cNvPicPr>
            <a:picLocks noGrp="1" noChangeAspect="1"/>
          </p:cNvPicPr>
          <p:nvPr>
            <p:ph type="pic" sz="quarter" idx="11"/>
          </p:nvPr>
        </p:nvPicPr>
        <p:blipFill>
          <a:blip r:embed="rId4"/>
          <a:srcRect t="38" b="38"/>
          <a:stretch>
            <a:fillRect/>
          </a:stretch>
        </p:blipFill>
        <p:spPr>
          <a:xfrm>
            <a:off x="2243138" y="2133603"/>
            <a:ext cx="2185200" cy="1403389"/>
          </a:xfrm>
        </p:spPr>
      </p:pic>
      <p:pic>
        <p:nvPicPr>
          <p:cNvPr id="12" name="Marcador de posición de imagen 11">
            <a:extLst>
              <a:ext uri="{FF2B5EF4-FFF2-40B4-BE49-F238E27FC236}">
                <a16:creationId xmlns:a16="http://schemas.microsoft.com/office/drawing/2014/main" id="{9ABC3CA4-5E21-4D50-94BA-D4F699968DB2}"/>
              </a:ext>
            </a:extLst>
          </p:cNvPr>
          <p:cNvPicPr>
            <a:picLocks noGrp="1" noChangeAspect="1"/>
          </p:cNvPicPr>
          <p:nvPr>
            <p:ph type="pic" sz="quarter" idx="12"/>
          </p:nvPr>
        </p:nvPicPr>
        <p:blipFill>
          <a:blip r:embed="rId5"/>
          <a:srcRect t="32" b="32"/>
          <a:stretch>
            <a:fillRect/>
          </a:stretch>
        </p:blipFill>
        <p:spPr/>
      </p:pic>
    </p:spTree>
    <p:extLst>
      <p:ext uri="{BB962C8B-B14F-4D97-AF65-F5344CB8AC3E}">
        <p14:creationId xmlns:p14="http://schemas.microsoft.com/office/powerpoint/2010/main" val="352128830"/>
      </p:ext>
    </p:extLst>
  </p:cSld>
  <p:clrMapOvr>
    <a:masterClrMapping/>
  </p:clrMapOvr>
  <mc:AlternateContent xmlns:mc="http://schemas.openxmlformats.org/markup-compatibility/2006" xmlns:p14="http://schemas.microsoft.com/office/powerpoint/2010/main">
    <mc:Choice Requires="p14">
      <p:transition spd="slow" p14:dur="20000" advClick="0" advTm="15972"/>
    </mc:Choice>
    <mc:Fallback xmlns="">
      <p:transition spd="slow" advClick="0" advTm="15972"/>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2243141" y="724959"/>
            <a:ext cx="7237411" cy="920508"/>
          </a:xfrm>
        </p:spPr>
        <p:txBody>
          <a:bodyPr/>
          <a:lstStyle/>
          <a:p>
            <a:pPr lvl="0"/>
            <a:r>
              <a:rPr lang="de-DE" dirty="0"/>
              <a:t>Actores relevantes en los proyectos y su contribución</a:t>
            </a:r>
          </a:p>
        </p:txBody>
      </p:sp>
      <p:pic>
        <p:nvPicPr>
          <p:cNvPr id="6" name="Bildplatzhalter 1"/>
          <p:cNvPicPr>
            <a:picLocks noChangeAspect="1"/>
          </p:cNvPicPr>
          <p:nvPr/>
        </p:nvPicPr>
        <p:blipFill>
          <a:blip r:embed="rId3">
            <a:extLst>
              <a:ext uri="{28A0092B-C50C-407E-A947-70E740481C1C}">
                <a14:useLocalDpi xmlns:a14="http://schemas.microsoft.com/office/drawing/2010/main" val="0"/>
              </a:ext>
            </a:extLst>
          </a:blip>
          <a:srcRect l="2240" r="2240"/>
          <a:stretch>
            <a:fillRect/>
          </a:stretch>
        </p:blipFill>
        <p:spPr>
          <a:xfrm>
            <a:off x="8904000" y="44624"/>
            <a:ext cx="1397000" cy="609600"/>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pic>
      <p:graphicFrame>
        <p:nvGraphicFramePr>
          <p:cNvPr id="2" name="Diagrama 1">
            <a:extLst>
              <a:ext uri="{FF2B5EF4-FFF2-40B4-BE49-F238E27FC236}">
                <a16:creationId xmlns:a16="http://schemas.microsoft.com/office/drawing/2014/main" id="{BD3C9759-53B0-4FA2-A507-DC9A070BBBB0}"/>
              </a:ext>
            </a:extLst>
          </p:cNvPr>
          <p:cNvGraphicFramePr/>
          <p:nvPr/>
        </p:nvGraphicFramePr>
        <p:xfrm>
          <a:off x="3021635" y="2147031"/>
          <a:ext cx="5517632" cy="363195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riángulo isósceles 2">
            <a:extLst>
              <a:ext uri="{FF2B5EF4-FFF2-40B4-BE49-F238E27FC236}">
                <a16:creationId xmlns:a16="http://schemas.microsoft.com/office/drawing/2014/main" id="{202B6CC1-72A8-4997-8C4A-361BC3D3890B}"/>
              </a:ext>
            </a:extLst>
          </p:cNvPr>
          <p:cNvSpPr/>
          <p:nvPr/>
        </p:nvSpPr>
        <p:spPr>
          <a:xfrm rot="16200000">
            <a:off x="6707391" y="4400585"/>
            <a:ext cx="2263800" cy="281046"/>
          </a:xfrm>
          <a:prstGeom prst="triangle">
            <a:avLst/>
          </a:prstGeom>
          <a:ln>
            <a:no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es-MX" dirty="0"/>
          </a:p>
        </p:txBody>
      </p:sp>
      <p:sp>
        <p:nvSpPr>
          <p:cNvPr id="9" name="Triángulo isósceles 8">
            <a:extLst>
              <a:ext uri="{FF2B5EF4-FFF2-40B4-BE49-F238E27FC236}">
                <a16:creationId xmlns:a16="http://schemas.microsoft.com/office/drawing/2014/main" id="{15C21B28-A0E1-4673-8EB7-437A4D0FBEAC}"/>
              </a:ext>
            </a:extLst>
          </p:cNvPr>
          <p:cNvSpPr/>
          <p:nvPr/>
        </p:nvSpPr>
        <p:spPr>
          <a:xfrm rot="5400000">
            <a:off x="2606322" y="4506560"/>
            <a:ext cx="2263800" cy="281046"/>
          </a:xfrm>
          <a:prstGeom prst="triangle">
            <a:avLst/>
          </a:prstGeom>
          <a:ln>
            <a:no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es-MX" dirty="0"/>
          </a:p>
        </p:txBody>
      </p:sp>
      <p:sp>
        <p:nvSpPr>
          <p:cNvPr id="11" name="Triángulo isósceles 10">
            <a:extLst>
              <a:ext uri="{FF2B5EF4-FFF2-40B4-BE49-F238E27FC236}">
                <a16:creationId xmlns:a16="http://schemas.microsoft.com/office/drawing/2014/main" id="{5BA5F048-6D64-462B-A7C0-051164028D0C}"/>
              </a:ext>
            </a:extLst>
          </p:cNvPr>
          <p:cNvSpPr/>
          <p:nvPr/>
        </p:nvSpPr>
        <p:spPr>
          <a:xfrm rot="16200000">
            <a:off x="6297488" y="2704079"/>
            <a:ext cx="1567509" cy="281048"/>
          </a:xfrm>
          <a:prstGeom prst="triangle">
            <a:avLst>
              <a:gd name="adj" fmla="val 47690"/>
            </a:avLst>
          </a:prstGeom>
          <a:ln>
            <a:no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es-MX" dirty="0"/>
          </a:p>
        </p:txBody>
      </p:sp>
      <p:sp>
        <p:nvSpPr>
          <p:cNvPr id="4" name="CuadroTexto 3">
            <a:extLst>
              <a:ext uri="{FF2B5EF4-FFF2-40B4-BE49-F238E27FC236}">
                <a16:creationId xmlns:a16="http://schemas.microsoft.com/office/drawing/2014/main" id="{A367378E-13B7-407C-B4CA-09EE5D145E67}"/>
              </a:ext>
            </a:extLst>
          </p:cNvPr>
          <p:cNvSpPr txBox="1"/>
          <p:nvPr/>
        </p:nvSpPr>
        <p:spPr>
          <a:xfrm>
            <a:off x="7221767" y="2129276"/>
            <a:ext cx="2856655" cy="1200329"/>
          </a:xfrm>
          <a:prstGeom prst="rect">
            <a:avLst/>
          </a:prstGeom>
          <a:noFill/>
        </p:spPr>
        <p:txBody>
          <a:bodyPr wrap="square" rtlCol="0">
            <a:spAutoFit/>
          </a:bodyPr>
          <a:lstStyle/>
          <a:p>
            <a:pPr marL="285750" indent="-200025">
              <a:buFont typeface="Arial" panose="020B0604020202020204" pitchFamily="34" charset="0"/>
              <a:buChar char="•"/>
            </a:pPr>
            <a:r>
              <a:rPr lang="es-MX" dirty="0"/>
              <a:t>Conocimientos técnicos</a:t>
            </a:r>
          </a:p>
          <a:p>
            <a:pPr marL="285750" indent="-200025">
              <a:buFont typeface="Arial" panose="020B0604020202020204" pitchFamily="34" charset="0"/>
              <a:buChar char="•"/>
            </a:pPr>
            <a:r>
              <a:rPr lang="es-MX" dirty="0"/>
              <a:t>Infraestructura para proyectos piloto</a:t>
            </a:r>
          </a:p>
          <a:p>
            <a:pPr marL="285750" indent="-200025">
              <a:buFont typeface="Arial" panose="020B0604020202020204" pitchFamily="34" charset="0"/>
              <a:buChar char="•"/>
            </a:pPr>
            <a:r>
              <a:rPr lang="es-MX" dirty="0"/>
              <a:t>Provisión de tecnología</a:t>
            </a:r>
          </a:p>
        </p:txBody>
      </p:sp>
      <p:sp>
        <p:nvSpPr>
          <p:cNvPr id="13" name="CuadroTexto 12">
            <a:extLst>
              <a:ext uri="{FF2B5EF4-FFF2-40B4-BE49-F238E27FC236}">
                <a16:creationId xmlns:a16="http://schemas.microsoft.com/office/drawing/2014/main" id="{DD52AFE1-9575-4ECB-B04C-315FE39C9BCC}"/>
              </a:ext>
            </a:extLst>
          </p:cNvPr>
          <p:cNvSpPr txBox="1"/>
          <p:nvPr/>
        </p:nvSpPr>
        <p:spPr>
          <a:xfrm>
            <a:off x="1557867" y="3769920"/>
            <a:ext cx="2141273" cy="1754326"/>
          </a:xfrm>
          <a:prstGeom prst="rect">
            <a:avLst/>
          </a:prstGeom>
          <a:noFill/>
        </p:spPr>
        <p:txBody>
          <a:bodyPr wrap="square" rtlCol="0">
            <a:spAutoFit/>
          </a:bodyPr>
          <a:lstStyle/>
          <a:p>
            <a:pPr marL="285750" indent="-200025">
              <a:buFont typeface="Arial" panose="020B0604020202020204" pitchFamily="34" charset="0"/>
              <a:buChar char="•"/>
            </a:pPr>
            <a:r>
              <a:rPr lang="es-MX" dirty="0"/>
              <a:t>Coordinación y acompañamiento</a:t>
            </a:r>
          </a:p>
          <a:p>
            <a:pPr marL="285750" indent="-200025">
              <a:buFont typeface="Arial" panose="020B0604020202020204" pitchFamily="34" charset="0"/>
              <a:buChar char="•"/>
            </a:pPr>
            <a:r>
              <a:rPr lang="es-MX" dirty="0"/>
              <a:t>Gestión de red de contactos </a:t>
            </a:r>
          </a:p>
          <a:p>
            <a:pPr marL="285750" indent="-200025">
              <a:buFont typeface="Arial" panose="020B0604020202020204" pitchFamily="34" charset="0"/>
              <a:buChar char="•"/>
            </a:pPr>
            <a:r>
              <a:rPr lang="es-MX" dirty="0"/>
              <a:t>Generación de conocimiento</a:t>
            </a:r>
          </a:p>
        </p:txBody>
      </p:sp>
      <p:sp>
        <p:nvSpPr>
          <p:cNvPr id="15" name="CuadroTexto 14">
            <a:extLst>
              <a:ext uri="{FF2B5EF4-FFF2-40B4-BE49-F238E27FC236}">
                <a16:creationId xmlns:a16="http://schemas.microsoft.com/office/drawing/2014/main" id="{CB79530A-56F5-44C7-A681-A64A3DF68FA5}"/>
              </a:ext>
            </a:extLst>
          </p:cNvPr>
          <p:cNvSpPr txBox="1"/>
          <p:nvPr/>
        </p:nvSpPr>
        <p:spPr>
          <a:xfrm>
            <a:off x="7957838" y="4079441"/>
            <a:ext cx="2674669" cy="1477328"/>
          </a:xfrm>
          <a:prstGeom prst="rect">
            <a:avLst/>
          </a:prstGeom>
          <a:noFill/>
        </p:spPr>
        <p:txBody>
          <a:bodyPr wrap="square" rtlCol="0">
            <a:spAutoFit/>
          </a:bodyPr>
          <a:lstStyle/>
          <a:p>
            <a:pPr marL="285750" indent="-200025">
              <a:buFont typeface="Arial" panose="020B0604020202020204" pitchFamily="34" charset="0"/>
              <a:buChar char="•"/>
            </a:pPr>
            <a:r>
              <a:rPr lang="es-MX" dirty="0"/>
              <a:t>Conocimiento de condiciones del sector</a:t>
            </a:r>
          </a:p>
          <a:p>
            <a:pPr marL="285750" indent="-200025">
              <a:buFont typeface="Arial" panose="020B0604020202020204" pitchFamily="34" charset="0"/>
              <a:buChar char="•"/>
            </a:pPr>
            <a:r>
              <a:rPr lang="es-MX" dirty="0"/>
              <a:t>Personal calificado para desarrollo de capacidades</a:t>
            </a:r>
          </a:p>
        </p:txBody>
      </p:sp>
      <p:sp>
        <p:nvSpPr>
          <p:cNvPr id="7" name="CuadroTexto 6">
            <a:extLst>
              <a:ext uri="{FF2B5EF4-FFF2-40B4-BE49-F238E27FC236}">
                <a16:creationId xmlns:a16="http://schemas.microsoft.com/office/drawing/2014/main" id="{937FCC67-8FF1-425B-9CDD-541F4DC507DD}"/>
              </a:ext>
            </a:extLst>
          </p:cNvPr>
          <p:cNvSpPr txBox="1"/>
          <p:nvPr/>
        </p:nvSpPr>
        <p:spPr>
          <a:xfrm>
            <a:off x="1810780" y="6112412"/>
            <a:ext cx="8546973" cy="461665"/>
          </a:xfrm>
          <a:prstGeom prst="rect">
            <a:avLst/>
          </a:prstGeom>
          <a:noFill/>
        </p:spPr>
        <p:txBody>
          <a:bodyPr wrap="square" rtlCol="0">
            <a:spAutoFit/>
          </a:bodyPr>
          <a:lstStyle/>
          <a:p>
            <a:r>
              <a:rPr lang="es-MX" sz="1200" dirty="0"/>
              <a:t>* El número de actores y contribuciones son a modo de ejemplo, y pueden variar de acuerdo a las condiciones particulares de cada proyecto.</a:t>
            </a:r>
          </a:p>
        </p:txBody>
      </p:sp>
    </p:spTree>
    <p:extLst>
      <p:ext uri="{BB962C8B-B14F-4D97-AF65-F5344CB8AC3E}">
        <p14:creationId xmlns:p14="http://schemas.microsoft.com/office/powerpoint/2010/main" val="3491547218"/>
      </p:ext>
    </p:extLst>
  </p:cSld>
  <p:clrMapOvr>
    <a:masterClrMapping/>
  </p:clrMapOvr>
  <mc:AlternateContent xmlns:mc="http://schemas.openxmlformats.org/markup-compatibility/2006" xmlns:p14="http://schemas.microsoft.com/office/powerpoint/2010/main">
    <mc:Choice Requires="p14">
      <p:transition spd="slow" p14:dur="20000" advClick="0" advTm="11746"/>
    </mc:Choice>
    <mc:Fallback xmlns="">
      <p:transition spd="slow" advClick="0" advTm="11746"/>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2243138" y="1199447"/>
            <a:ext cx="7681050" cy="446020"/>
          </a:xfrm>
        </p:spPr>
        <p:txBody>
          <a:bodyPr/>
          <a:lstStyle/>
          <a:p>
            <a:pPr lvl="0">
              <a:defRPr/>
            </a:pPr>
            <a:r>
              <a:rPr lang="de-DE" kern="0" dirty="0">
                <a:latin typeface="Times"/>
                <a:cs typeface="Times"/>
              </a:rPr>
              <a:t>Criterios para participar en develoPPP.de</a:t>
            </a:r>
          </a:p>
        </p:txBody>
      </p:sp>
      <p:graphicFrame>
        <p:nvGraphicFramePr>
          <p:cNvPr id="7" name="Tabelle 6"/>
          <p:cNvGraphicFramePr>
            <a:graphicFrameLocks noGrp="1"/>
          </p:cNvGraphicFramePr>
          <p:nvPr/>
        </p:nvGraphicFramePr>
        <p:xfrm>
          <a:off x="1991545" y="1936839"/>
          <a:ext cx="8309456" cy="4266606"/>
        </p:xfrm>
        <a:graphic>
          <a:graphicData uri="http://schemas.openxmlformats.org/drawingml/2006/table">
            <a:tbl>
              <a:tblPr firstRow="1" bandRow="1">
                <a:tableStyleId>{FABFCF23-3B69-468F-B69F-88F6DE6A72F2}</a:tableStyleId>
              </a:tblPr>
              <a:tblGrid>
                <a:gridCol w="4261260">
                  <a:extLst>
                    <a:ext uri="{9D8B030D-6E8A-4147-A177-3AD203B41FA5}">
                      <a16:colId xmlns:a16="http://schemas.microsoft.com/office/drawing/2014/main" val="20000"/>
                    </a:ext>
                  </a:extLst>
                </a:gridCol>
                <a:gridCol w="4048196">
                  <a:extLst>
                    <a:ext uri="{9D8B030D-6E8A-4147-A177-3AD203B41FA5}">
                      <a16:colId xmlns:a16="http://schemas.microsoft.com/office/drawing/2014/main" val="20001"/>
                    </a:ext>
                  </a:extLst>
                </a:gridCol>
              </a:tblGrid>
              <a:tr h="333399">
                <a:tc>
                  <a:txBody>
                    <a:bodyPr/>
                    <a:lstStyle/>
                    <a:p>
                      <a:pPr marL="0" marR="0" lvl="0" indent="0" algn="l" defTabSz="914400" rtl="0" eaLnBrk="1" fontAlgn="auto" latinLnBrk="0" hangingPunct="1">
                        <a:lnSpc>
                          <a:spcPct val="100000"/>
                        </a:lnSpc>
                        <a:spcBef>
                          <a:spcPts val="0"/>
                        </a:spcBef>
                        <a:spcAft>
                          <a:spcPts val="0"/>
                        </a:spcAft>
                        <a:buClrTx/>
                        <a:buSzPct val="120000"/>
                        <a:buFont typeface="Arial"/>
                        <a:buNone/>
                        <a:tabLst/>
                        <a:defRPr/>
                      </a:pPr>
                      <a:r>
                        <a:rPr lang="es-ES" sz="1600" kern="0" noProof="0" dirty="0">
                          <a:latin typeface="Arial" panose="020B0604020202020204" pitchFamily="34" charset="0"/>
                          <a:cs typeface="Arial" panose="020B0604020202020204" pitchFamily="34" charset="0"/>
                        </a:rPr>
                        <a:t>Criterios para los proyectos  </a:t>
                      </a:r>
                    </a:p>
                  </a:txBody>
                  <a:tcPr anchor="ctr">
                    <a:lnL w="9525" cap="flat" cmpd="sng" algn="ctr">
                      <a:solidFill>
                        <a:srgbClr val="00B8F2"/>
                      </a:solidFill>
                      <a:prstDash val="solid"/>
                      <a:round/>
                      <a:headEnd type="none" w="med" len="med"/>
                      <a:tailEnd type="none" w="med" len="med"/>
                    </a:lnL>
                    <a:lnR w="9525" cap="flat" cmpd="sng" algn="ctr">
                      <a:solidFill>
                        <a:srgbClr val="00B8F2"/>
                      </a:solidFill>
                      <a:prstDash val="solid"/>
                      <a:round/>
                      <a:headEnd type="none" w="med" len="med"/>
                      <a:tailEnd type="none" w="med" len="med"/>
                    </a:lnR>
                    <a:lnT w="9525" cap="flat" cmpd="sng" algn="ctr">
                      <a:solidFill>
                        <a:srgbClr val="00B8F2"/>
                      </a:solidFill>
                      <a:prstDash val="solid"/>
                      <a:round/>
                      <a:headEnd type="none" w="med" len="med"/>
                      <a:tailEnd type="none" w="med" len="med"/>
                    </a:lnT>
                    <a:lnB w="9525" cap="flat" cmpd="sng" algn="ctr">
                      <a:noFill/>
                      <a:prstDash val="solid"/>
                      <a:round/>
                      <a:headEnd type="none" w="med" len="med"/>
                      <a:tailEnd type="none" w="med" len="med"/>
                    </a:lnB>
                    <a:lnTlToBr w="9525" cap="flat" cmpd="sng" algn="ctr">
                      <a:noFill/>
                      <a:prstDash val="solid"/>
                      <a:round/>
                      <a:headEnd type="none" w="med" len="med"/>
                      <a:tailEnd type="none" w="med" len="med"/>
                    </a:lnTlToBr>
                    <a:lnBlToTr w="12700" cmpd="sng">
                      <a:noFill/>
                      <a:prstDash val="solid"/>
                    </a:lnBlToTr>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Pct val="120000"/>
                        <a:buFont typeface="Arial"/>
                        <a:buNone/>
                        <a:tabLst/>
                        <a:defRPr/>
                      </a:pPr>
                      <a:r>
                        <a:rPr lang="es-ES" sz="1600" kern="0" noProof="0" dirty="0">
                          <a:latin typeface="Arial" panose="020B0604020202020204" pitchFamily="34" charset="0"/>
                          <a:cs typeface="Arial" panose="020B0604020202020204" pitchFamily="34" charset="0"/>
                        </a:rPr>
                        <a:t>Criterios para las empresas  </a:t>
                      </a:r>
                    </a:p>
                  </a:txBody>
                  <a:tcPr anchor="ctr">
                    <a:lnL w="9525" cap="flat" cmpd="sng" algn="ctr">
                      <a:solidFill>
                        <a:srgbClr val="00B8F2"/>
                      </a:solidFill>
                      <a:prstDash val="solid"/>
                      <a:round/>
                      <a:headEnd type="none" w="med" len="med"/>
                      <a:tailEnd type="none" w="med" len="med"/>
                    </a:lnL>
                    <a:lnR w="9525" cap="flat" cmpd="sng" algn="ctr">
                      <a:solidFill>
                        <a:srgbClr val="00B8F2"/>
                      </a:solidFill>
                      <a:prstDash val="solid"/>
                      <a:round/>
                      <a:headEnd type="none" w="med" len="med"/>
                      <a:tailEnd type="none" w="med" len="med"/>
                    </a:lnR>
                    <a:lnT w="9525" cap="flat" cmpd="sng" algn="ctr">
                      <a:solidFill>
                        <a:srgbClr val="00B8F2"/>
                      </a:solidFill>
                      <a:prstDash val="solid"/>
                      <a:round/>
                      <a:headEnd type="none" w="med" len="med"/>
                      <a:tailEnd type="none" w="med" len="med"/>
                    </a:lnT>
                    <a:lnB w="9525" cap="flat" cmpd="sng" algn="ctr">
                      <a:noFill/>
                      <a:prstDash val="solid"/>
                      <a:round/>
                      <a:headEnd type="none" w="med" len="med"/>
                      <a:tailEnd type="none" w="med" len="med"/>
                    </a:lnB>
                    <a:lnTlToBr w="9525" cap="flat" cmpd="sng" algn="ctr">
                      <a:noFill/>
                      <a:prstDash val="solid"/>
                      <a:round/>
                      <a:headEnd type="none" w="med" len="med"/>
                      <a:tailEnd type="none" w="med" len="med"/>
                    </a:lnTlToBr>
                    <a:lnBlToTr w="12700" cmpd="sng">
                      <a:noFill/>
                      <a:prstDash val="solid"/>
                    </a:lnBlToTr>
                    <a:solidFill>
                      <a:schemeClr val="accent2"/>
                    </a:solidFill>
                  </a:tcPr>
                </a:tc>
                <a:extLst>
                  <a:ext uri="{0D108BD9-81ED-4DB2-BD59-A6C34878D82A}">
                    <a16:rowId xmlns:a16="http://schemas.microsoft.com/office/drawing/2014/main" val="10000"/>
                  </a:ext>
                </a:extLst>
              </a:tr>
              <a:tr h="652825">
                <a:tc>
                  <a:txBody>
                    <a:bodyPr/>
                    <a:lstStyle/>
                    <a:p>
                      <a:pPr marL="171450" marR="0" lvl="0" indent="-171450" algn="l" defTabSz="914400" rtl="0" eaLnBrk="1" fontAlgn="auto" latinLnBrk="0" hangingPunct="1">
                        <a:lnSpc>
                          <a:spcPts val="1800"/>
                        </a:lnSpc>
                        <a:spcBef>
                          <a:spcPts val="400"/>
                        </a:spcBef>
                        <a:spcAft>
                          <a:spcPts val="800"/>
                        </a:spcAft>
                        <a:buClr>
                          <a:schemeClr val="accent1"/>
                        </a:buClr>
                        <a:buSzPct val="120000"/>
                        <a:buFont typeface="Arial"/>
                        <a:buChar char="•"/>
                        <a:tabLst/>
                        <a:defRPr/>
                      </a:pPr>
                      <a:r>
                        <a:rPr lang="es-ES" sz="1200" b="1" kern="0" noProof="0" dirty="0">
                          <a:solidFill>
                            <a:schemeClr val="accent1"/>
                          </a:solidFill>
                          <a:latin typeface="Arial" panose="020B0604020202020204" pitchFamily="34" charset="0"/>
                          <a:cs typeface="Arial" panose="020B0604020202020204" pitchFamily="34" charset="0"/>
                        </a:rPr>
                        <a:t>Compatibilidad</a:t>
                      </a:r>
                      <a:r>
                        <a:rPr lang="es-ES" sz="1200" b="0" kern="0" noProof="0" dirty="0">
                          <a:solidFill>
                            <a:schemeClr val="accent1"/>
                          </a:solidFill>
                          <a:latin typeface="Arial" panose="020B0604020202020204" pitchFamily="34" charset="0"/>
                          <a:cs typeface="Arial" panose="020B0604020202020204" pitchFamily="34" charset="0"/>
                        </a:rPr>
                        <a:t> con los objetivos de la </a:t>
                      </a:r>
                      <a:r>
                        <a:rPr lang="es-ES" sz="1200" b="0" kern="0" noProof="0" dirty="0">
                          <a:solidFill>
                            <a:schemeClr val="accent1"/>
                          </a:solidFill>
                          <a:latin typeface="Arial" panose="020B0604020202020204" pitchFamily="34" charset="0"/>
                          <a:ea typeface="+mn-ea"/>
                          <a:cs typeface="Arial" panose="020B0604020202020204" pitchFamily="34" charset="0"/>
                        </a:rPr>
                        <a:t>política alemana </a:t>
                      </a:r>
                      <a:r>
                        <a:rPr lang="es-ES" sz="1200" b="0" kern="0" noProof="0" dirty="0">
                          <a:solidFill>
                            <a:schemeClr val="accent1"/>
                          </a:solidFill>
                          <a:latin typeface="Arial" panose="020B0604020202020204" pitchFamily="34" charset="0"/>
                          <a:cs typeface="Arial" panose="020B0604020202020204" pitchFamily="34" charset="0"/>
                        </a:rPr>
                        <a:t>de cooperación al desarrollo  </a:t>
                      </a:r>
                    </a:p>
                  </a:txBody>
                  <a:tcPr marT="46800" marB="93600">
                    <a:lnL w="9525" cap="flat" cmpd="sng" algn="ctr">
                      <a:solidFill>
                        <a:srgbClr val="00B8F2"/>
                      </a:solidFill>
                      <a:prstDash val="solid"/>
                      <a:round/>
                      <a:headEnd type="none" w="med" len="med"/>
                      <a:tailEnd type="none" w="med" len="med"/>
                    </a:lnL>
                    <a:lnR w="9525" cap="flat" cmpd="sng" algn="ctr">
                      <a:solidFill>
                        <a:srgbClr val="00B8F2"/>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9525" cap="flat" cmpd="sng" algn="ctr">
                      <a:noFill/>
                      <a:prstDash val="solid"/>
                      <a:round/>
                      <a:headEnd type="none" w="med" len="med"/>
                      <a:tailEnd type="none" w="med" len="med"/>
                    </a:lnTlToBr>
                    <a:lnBlToTr w="12700" cmpd="sng">
                      <a:noFill/>
                      <a:prstDash val="solid"/>
                    </a:lnBlToTr>
                    <a:solidFill>
                      <a:schemeClr val="accent3">
                        <a:lumMod val="20000"/>
                        <a:lumOff val="80000"/>
                        <a:alpha val="60000"/>
                      </a:schemeClr>
                    </a:solidFill>
                  </a:tcPr>
                </a:tc>
                <a:tc>
                  <a:txBody>
                    <a:bodyPr/>
                    <a:lstStyle/>
                    <a:p>
                      <a:pPr marL="171450" marR="0" lvl="0" indent="-171450" algn="l" defTabSz="914400" rtl="0" eaLnBrk="1" fontAlgn="auto" latinLnBrk="0" hangingPunct="1">
                        <a:lnSpc>
                          <a:spcPts val="1800"/>
                        </a:lnSpc>
                        <a:spcBef>
                          <a:spcPts val="400"/>
                        </a:spcBef>
                        <a:spcAft>
                          <a:spcPts val="800"/>
                        </a:spcAft>
                        <a:buClr>
                          <a:schemeClr val="accent1"/>
                        </a:buClr>
                        <a:buSzPct val="120000"/>
                        <a:buFont typeface="Arial"/>
                        <a:buChar char="•"/>
                        <a:tabLst/>
                        <a:defRPr/>
                      </a:pPr>
                      <a:r>
                        <a:rPr lang="es-ES" sz="1200" b="0" kern="0" baseline="0" noProof="0" dirty="0">
                          <a:solidFill>
                            <a:schemeClr val="accent1"/>
                          </a:solidFill>
                          <a:latin typeface="Arial" panose="020B0604020202020204" pitchFamily="34" charset="0"/>
                          <a:cs typeface="Arial" panose="020B0604020202020204" pitchFamily="34" charset="0"/>
                        </a:rPr>
                        <a:t>Empresas alemanas, europeas o locales</a:t>
                      </a:r>
                      <a:endParaRPr lang="es-ES" sz="1200" b="0" kern="0" noProof="0" dirty="0">
                        <a:solidFill>
                          <a:schemeClr val="accent1"/>
                        </a:solidFill>
                        <a:latin typeface="Arial" panose="020B0604020202020204" pitchFamily="34" charset="0"/>
                        <a:cs typeface="Arial" panose="020B0604020202020204" pitchFamily="34" charset="0"/>
                      </a:endParaRPr>
                    </a:p>
                  </a:txBody>
                  <a:tcPr marT="46800" marB="93600">
                    <a:lnL w="9525" cap="flat" cmpd="sng" algn="ctr">
                      <a:solidFill>
                        <a:srgbClr val="00B8F2"/>
                      </a:solidFill>
                      <a:prstDash val="solid"/>
                      <a:round/>
                      <a:headEnd type="none" w="med" len="med"/>
                      <a:tailEnd type="none" w="med" len="med"/>
                    </a:lnL>
                    <a:lnR w="9525" cap="flat" cmpd="sng" algn="ctr">
                      <a:solidFill>
                        <a:srgbClr val="00B8F2"/>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9525" cap="flat" cmpd="sng" algn="ctr">
                      <a:noFill/>
                      <a:prstDash val="solid"/>
                      <a:round/>
                      <a:headEnd type="none" w="med" len="med"/>
                      <a:tailEnd type="none" w="med" len="med"/>
                    </a:lnTlToBr>
                    <a:lnBlToTr w="12700" cmpd="sng">
                      <a:noFill/>
                      <a:prstDash val="solid"/>
                    </a:lnBlToTr>
                    <a:solidFill>
                      <a:schemeClr val="accent3">
                        <a:lumMod val="20000"/>
                        <a:lumOff val="80000"/>
                        <a:alpha val="60000"/>
                      </a:schemeClr>
                    </a:solidFill>
                  </a:tcPr>
                </a:tc>
                <a:extLst>
                  <a:ext uri="{0D108BD9-81ED-4DB2-BD59-A6C34878D82A}">
                    <a16:rowId xmlns:a16="http://schemas.microsoft.com/office/drawing/2014/main" val="10001"/>
                  </a:ext>
                </a:extLst>
              </a:tr>
              <a:tr h="859587">
                <a:tc>
                  <a:txBody>
                    <a:bodyPr/>
                    <a:lstStyle/>
                    <a:p>
                      <a:pPr marL="171450" marR="0" lvl="0" indent="-171450" algn="l" defTabSz="914400" rtl="0" eaLnBrk="1" fontAlgn="auto" latinLnBrk="0" hangingPunct="1">
                        <a:lnSpc>
                          <a:spcPts val="1800"/>
                        </a:lnSpc>
                        <a:spcBef>
                          <a:spcPts val="400"/>
                        </a:spcBef>
                        <a:spcAft>
                          <a:spcPts val="800"/>
                        </a:spcAft>
                        <a:buClr>
                          <a:schemeClr val="accent1"/>
                        </a:buClr>
                        <a:buSzPct val="120000"/>
                        <a:buFont typeface="Arial"/>
                        <a:buChar char="•"/>
                        <a:tabLst/>
                        <a:defRPr/>
                      </a:pPr>
                      <a:r>
                        <a:rPr lang="es-ES" sz="1200" b="1" kern="0" noProof="0" dirty="0">
                          <a:solidFill>
                            <a:schemeClr val="accent1"/>
                          </a:solidFill>
                          <a:latin typeface="Arial" panose="020B0604020202020204" pitchFamily="34" charset="0"/>
                          <a:ea typeface="+mn-ea"/>
                          <a:cs typeface="Arial" panose="020B0604020202020204" pitchFamily="34" charset="0"/>
                        </a:rPr>
                        <a:t>Complementariedad</a:t>
                      </a:r>
                      <a:r>
                        <a:rPr lang="es-ES" sz="1200" b="0" kern="0" noProof="0" dirty="0">
                          <a:solidFill>
                            <a:schemeClr val="accent1"/>
                          </a:solidFill>
                          <a:latin typeface="Arial" panose="020B0604020202020204" pitchFamily="34" charset="0"/>
                          <a:ea typeface="+mn-ea"/>
                          <a:cs typeface="Arial" panose="020B0604020202020204" pitchFamily="34" charset="0"/>
                        </a:rPr>
                        <a:t> de los objetivos públicos y privados, rentabilidad e impactos en términos de desarrollo</a:t>
                      </a:r>
                    </a:p>
                  </a:txBody>
                  <a:tcPr marT="46800" marB="93600">
                    <a:lnL w="9525" cap="flat" cmpd="sng" algn="ctr">
                      <a:solidFill>
                        <a:srgbClr val="00B8F2"/>
                      </a:solidFill>
                      <a:prstDash val="solid"/>
                      <a:round/>
                      <a:headEnd type="none" w="med" len="med"/>
                      <a:tailEnd type="none" w="med" len="med"/>
                    </a:lnL>
                    <a:lnR w="9525" cap="flat" cmpd="sng" algn="ctr">
                      <a:solidFill>
                        <a:srgbClr val="00B8F2"/>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9525" cap="flat" cmpd="sng" algn="ctr">
                      <a:noFill/>
                      <a:prstDash val="solid"/>
                      <a:round/>
                      <a:headEnd type="none" w="med" len="med"/>
                      <a:tailEnd type="none" w="med" len="med"/>
                    </a:lnTlToBr>
                    <a:lnBlToTr w="12700" cmpd="sng">
                      <a:noFill/>
                      <a:prstDash val="solid"/>
                    </a:lnBlToTr>
                  </a:tcPr>
                </a:tc>
                <a:tc>
                  <a:txBody>
                    <a:bodyPr/>
                    <a:lstStyle/>
                    <a:p>
                      <a:pPr marL="171450" marR="0" lvl="0" indent="-171450" algn="l" defTabSz="914400" rtl="0" eaLnBrk="1" fontAlgn="auto" latinLnBrk="0" hangingPunct="1">
                        <a:lnSpc>
                          <a:spcPts val="1800"/>
                        </a:lnSpc>
                        <a:spcBef>
                          <a:spcPts val="400"/>
                        </a:spcBef>
                        <a:spcAft>
                          <a:spcPts val="800"/>
                        </a:spcAft>
                        <a:buClr>
                          <a:schemeClr val="accent1"/>
                        </a:buClr>
                        <a:buSzPct val="120000"/>
                        <a:buFont typeface="Arial"/>
                        <a:buChar char="•"/>
                        <a:tabLst/>
                        <a:defRPr/>
                      </a:pPr>
                      <a:r>
                        <a:rPr lang="es-ES" sz="1200" b="0" kern="0" baseline="0" noProof="0" dirty="0">
                          <a:solidFill>
                            <a:schemeClr val="accent1"/>
                          </a:solidFill>
                          <a:latin typeface="Arial" panose="020B0604020202020204" pitchFamily="34" charset="0"/>
                          <a:cs typeface="Arial" panose="020B0604020202020204" pitchFamily="34" charset="0"/>
                        </a:rPr>
                        <a:t>Volumen anual de negocios de &gt;</a:t>
                      </a:r>
                      <a:r>
                        <a:rPr lang="es-ES" sz="1200" b="0" kern="0" noProof="0" dirty="0">
                          <a:solidFill>
                            <a:schemeClr val="accent1"/>
                          </a:solidFill>
                          <a:latin typeface="Arial" panose="020B0604020202020204" pitchFamily="34" charset="0"/>
                          <a:cs typeface="Arial" panose="020B0604020202020204" pitchFamily="34" charset="0"/>
                        </a:rPr>
                        <a:t> </a:t>
                      </a:r>
                      <a:r>
                        <a:rPr lang="es-ES" sz="1200" b="1" kern="0" noProof="0" dirty="0">
                          <a:solidFill>
                            <a:schemeClr val="accent1"/>
                          </a:solidFill>
                          <a:latin typeface="Arial" panose="020B0604020202020204" pitchFamily="34" charset="0"/>
                          <a:cs typeface="Arial" panose="020B0604020202020204" pitchFamily="34" charset="0"/>
                        </a:rPr>
                        <a:t>800.000</a:t>
                      </a:r>
                      <a:r>
                        <a:rPr lang="es-ES" sz="1200" b="1" kern="0" baseline="0" noProof="0" dirty="0">
                          <a:solidFill>
                            <a:schemeClr val="accent1"/>
                          </a:solidFill>
                          <a:latin typeface="Arial" panose="020B0604020202020204" pitchFamily="34" charset="0"/>
                          <a:cs typeface="Arial" panose="020B0604020202020204" pitchFamily="34" charset="0"/>
                        </a:rPr>
                        <a:t> Euros</a:t>
                      </a:r>
                      <a:endParaRPr lang="es-ES" sz="1200" b="1" kern="0" noProof="0" dirty="0">
                        <a:solidFill>
                          <a:schemeClr val="accent1"/>
                        </a:solidFill>
                        <a:latin typeface="Arial" panose="020B0604020202020204" pitchFamily="34" charset="0"/>
                        <a:cs typeface="Arial" panose="020B0604020202020204" pitchFamily="34" charset="0"/>
                      </a:endParaRPr>
                    </a:p>
                  </a:txBody>
                  <a:tcPr marT="46800" marB="93600">
                    <a:lnL w="9525" cap="flat" cmpd="sng" algn="ctr">
                      <a:solidFill>
                        <a:srgbClr val="00B8F2"/>
                      </a:solidFill>
                      <a:prstDash val="solid"/>
                      <a:round/>
                      <a:headEnd type="none" w="med" len="med"/>
                      <a:tailEnd type="none" w="med" len="med"/>
                    </a:lnL>
                    <a:lnR w="9525" cap="flat" cmpd="sng" algn="ctr">
                      <a:solidFill>
                        <a:srgbClr val="00B8F2"/>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9525"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10002"/>
                  </a:ext>
                </a:extLst>
              </a:tr>
              <a:tr h="571958">
                <a:tc>
                  <a:txBody>
                    <a:bodyPr/>
                    <a:lstStyle/>
                    <a:p>
                      <a:pPr marL="171450" marR="0" lvl="0" indent="-171450" algn="l" defTabSz="914400" rtl="0" eaLnBrk="1" fontAlgn="auto" latinLnBrk="0" hangingPunct="1">
                        <a:lnSpc>
                          <a:spcPts val="1800"/>
                        </a:lnSpc>
                        <a:spcBef>
                          <a:spcPts val="400"/>
                        </a:spcBef>
                        <a:spcAft>
                          <a:spcPts val="800"/>
                        </a:spcAft>
                        <a:buClr>
                          <a:schemeClr val="accent1"/>
                        </a:buClr>
                        <a:buSzPct val="120000"/>
                        <a:buFont typeface="Arial"/>
                        <a:buChar char="•"/>
                        <a:tabLst/>
                        <a:defRPr/>
                      </a:pPr>
                      <a:r>
                        <a:rPr lang="es-ES" sz="1200" b="1" kern="0" noProof="0" dirty="0">
                          <a:solidFill>
                            <a:schemeClr val="accent1"/>
                          </a:solidFill>
                          <a:latin typeface="Arial" panose="020B0604020202020204" pitchFamily="34" charset="0"/>
                          <a:ea typeface="+mn-ea"/>
                          <a:cs typeface="Arial" panose="020B0604020202020204" pitchFamily="34" charset="0"/>
                        </a:rPr>
                        <a:t>Contribución económica: </a:t>
                      </a:r>
                      <a:r>
                        <a:rPr lang="es-ES" sz="1200" b="0" kern="0" noProof="0" dirty="0">
                          <a:solidFill>
                            <a:schemeClr val="accent1"/>
                          </a:solidFill>
                          <a:latin typeface="Arial" panose="020B0604020202020204" pitchFamily="34" charset="0"/>
                          <a:cs typeface="Arial" panose="020B0604020202020204" pitchFamily="34" charset="0"/>
                        </a:rPr>
                        <a:t>El proyecto no podría</a:t>
                      </a:r>
                      <a:r>
                        <a:rPr lang="es-ES" sz="1200" b="0" kern="0" baseline="0" noProof="0" dirty="0">
                          <a:solidFill>
                            <a:schemeClr val="accent1"/>
                          </a:solidFill>
                          <a:latin typeface="Arial" panose="020B0604020202020204" pitchFamily="34" charset="0"/>
                          <a:cs typeface="Arial" panose="020B0604020202020204" pitchFamily="34" charset="0"/>
                        </a:rPr>
                        <a:t> llevarse a </a:t>
                      </a:r>
                      <a:r>
                        <a:rPr lang="es-ES" sz="1200" b="0" kern="0" noProof="0" dirty="0">
                          <a:solidFill>
                            <a:schemeClr val="accent1"/>
                          </a:solidFill>
                          <a:latin typeface="Arial" panose="020B0604020202020204" pitchFamily="34" charset="0"/>
                          <a:cs typeface="Arial" panose="020B0604020202020204" pitchFamily="34" charset="0"/>
                        </a:rPr>
                        <a:t>cabo sin la aportación pública</a:t>
                      </a:r>
                    </a:p>
                  </a:txBody>
                  <a:tcPr marT="46800" marB="93600">
                    <a:lnL w="9525" cap="flat" cmpd="sng" algn="ctr">
                      <a:solidFill>
                        <a:srgbClr val="00B8F2"/>
                      </a:solidFill>
                      <a:prstDash val="solid"/>
                      <a:round/>
                      <a:headEnd type="none" w="med" len="med"/>
                      <a:tailEnd type="none" w="med" len="med"/>
                    </a:lnL>
                    <a:lnR w="9525" cap="flat" cmpd="sng" algn="ctr">
                      <a:solidFill>
                        <a:srgbClr val="00B8F2"/>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9525" cap="flat" cmpd="sng" algn="ctr">
                      <a:noFill/>
                      <a:prstDash val="solid"/>
                      <a:round/>
                      <a:headEnd type="none" w="med" len="med"/>
                      <a:tailEnd type="none" w="med" len="med"/>
                    </a:lnTlToBr>
                    <a:lnBlToTr w="12700" cmpd="sng">
                      <a:noFill/>
                      <a:prstDash val="solid"/>
                    </a:lnBlToTr>
                    <a:solidFill>
                      <a:schemeClr val="accent3">
                        <a:lumMod val="20000"/>
                        <a:lumOff val="80000"/>
                        <a:alpha val="60000"/>
                      </a:schemeClr>
                    </a:solidFill>
                  </a:tcPr>
                </a:tc>
                <a:tc>
                  <a:txBody>
                    <a:bodyPr/>
                    <a:lstStyle/>
                    <a:p>
                      <a:pPr marL="171450" marR="0" lvl="0" indent="-171450" algn="l" defTabSz="914400" rtl="0" eaLnBrk="1" fontAlgn="auto" latinLnBrk="0" hangingPunct="1">
                        <a:lnSpc>
                          <a:spcPts val="1800"/>
                        </a:lnSpc>
                        <a:spcBef>
                          <a:spcPts val="400"/>
                        </a:spcBef>
                        <a:spcAft>
                          <a:spcPts val="800"/>
                        </a:spcAft>
                        <a:buClr>
                          <a:schemeClr val="accent1"/>
                        </a:buClr>
                        <a:buSzPct val="120000"/>
                        <a:buFont typeface="Arial"/>
                        <a:buChar char="•"/>
                        <a:tabLst/>
                        <a:defRPr/>
                      </a:pPr>
                      <a:r>
                        <a:rPr lang="es-ES" sz="1200" b="0" kern="0" noProof="0" dirty="0">
                          <a:solidFill>
                            <a:schemeClr val="accent1"/>
                          </a:solidFill>
                          <a:latin typeface="Arial" panose="020B0604020202020204" pitchFamily="34" charset="0"/>
                          <a:cs typeface="Arial" panose="020B0604020202020204" pitchFamily="34" charset="0"/>
                        </a:rPr>
                        <a:t>Más</a:t>
                      </a:r>
                      <a:r>
                        <a:rPr lang="es-ES" sz="1200" b="0" kern="0" baseline="0" noProof="0" dirty="0">
                          <a:solidFill>
                            <a:schemeClr val="accent1"/>
                          </a:solidFill>
                          <a:latin typeface="Arial" panose="020B0604020202020204" pitchFamily="34" charset="0"/>
                          <a:cs typeface="Arial" panose="020B0604020202020204" pitchFamily="34" charset="0"/>
                        </a:rPr>
                        <a:t> de </a:t>
                      </a:r>
                      <a:r>
                        <a:rPr lang="es-ES" sz="1200" b="1" kern="0" baseline="0" noProof="0" dirty="0">
                          <a:solidFill>
                            <a:schemeClr val="accent1"/>
                          </a:solidFill>
                          <a:latin typeface="Arial" panose="020B0604020202020204" pitchFamily="34" charset="0"/>
                          <a:cs typeface="Arial" panose="020B0604020202020204" pitchFamily="34" charset="0"/>
                        </a:rPr>
                        <a:t>8 empleados</a:t>
                      </a:r>
                      <a:endParaRPr lang="es-ES" sz="1200" b="1" kern="0" noProof="0" dirty="0">
                        <a:solidFill>
                          <a:schemeClr val="accent1"/>
                        </a:solidFill>
                        <a:latin typeface="Arial" panose="020B0604020202020204" pitchFamily="34" charset="0"/>
                        <a:cs typeface="Arial" panose="020B0604020202020204" pitchFamily="34" charset="0"/>
                      </a:endParaRPr>
                    </a:p>
                  </a:txBody>
                  <a:tcPr marT="46800" marB="93600">
                    <a:lnL w="9525" cap="flat" cmpd="sng" algn="ctr">
                      <a:solidFill>
                        <a:srgbClr val="00B8F2"/>
                      </a:solidFill>
                      <a:prstDash val="solid"/>
                      <a:round/>
                      <a:headEnd type="none" w="med" len="med"/>
                      <a:tailEnd type="none" w="med" len="med"/>
                    </a:lnL>
                    <a:lnR w="9525" cap="flat" cmpd="sng" algn="ctr">
                      <a:solidFill>
                        <a:srgbClr val="00B8F2"/>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9525" cap="flat" cmpd="sng" algn="ctr">
                      <a:noFill/>
                      <a:prstDash val="solid"/>
                      <a:round/>
                      <a:headEnd type="none" w="med" len="med"/>
                      <a:tailEnd type="none" w="med" len="med"/>
                    </a:lnTlToBr>
                    <a:lnBlToTr w="12700" cmpd="sng">
                      <a:noFill/>
                      <a:prstDash val="solid"/>
                    </a:lnBlToTr>
                    <a:solidFill>
                      <a:schemeClr val="accent3">
                        <a:lumMod val="20000"/>
                        <a:lumOff val="80000"/>
                        <a:alpha val="60000"/>
                      </a:schemeClr>
                    </a:solidFill>
                  </a:tcPr>
                </a:tc>
                <a:extLst>
                  <a:ext uri="{0D108BD9-81ED-4DB2-BD59-A6C34878D82A}">
                    <a16:rowId xmlns:a16="http://schemas.microsoft.com/office/drawing/2014/main" val="10003"/>
                  </a:ext>
                </a:extLst>
              </a:tr>
              <a:tr h="693359">
                <a:tc>
                  <a:txBody>
                    <a:bodyPr/>
                    <a:lstStyle/>
                    <a:p>
                      <a:pPr marL="171450" marR="0" lvl="0" indent="-171450" algn="l" defTabSz="914400" rtl="0" eaLnBrk="1" fontAlgn="auto" latinLnBrk="0" hangingPunct="1">
                        <a:lnSpc>
                          <a:spcPts val="1800"/>
                        </a:lnSpc>
                        <a:spcBef>
                          <a:spcPts val="400"/>
                        </a:spcBef>
                        <a:spcAft>
                          <a:spcPts val="800"/>
                        </a:spcAft>
                        <a:buClr>
                          <a:schemeClr val="accent1"/>
                        </a:buClr>
                        <a:buSzPct val="120000"/>
                        <a:buFont typeface="Arial"/>
                        <a:buChar char="•"/>
                        <a:tabLst/>
                        <a:defRPr/>
                      </a:pPr>
                      <a:r>
                        <a:rPr lang="es-ES" sz="1200" b="1" kern="0" noProof="0" dirty="0">
                          <a:solidFill>
                            <a:schemeClr val="accent1"/>
                          </a:solidFill>
                          <a:latin typeface="Arial" panose="020B0604020202020204" pitchFamily="34" charset="0"/>
                          <a:cs typeface="Arial" panose="020B0604020202020204" pitchFamily="34" charset="0"/>
                        </a:rPr>
                        <a:t>Neutralidad competitiva: </a:t>
                      </a:r>
                      <a:r>
                        <a:rPr lang="es-ES" sz="1200" b="0" kern="0" noProof="0" dirty="0">
                          <a:solidFill>
                            <a:schemeClr val="accent1"/>
                          </a:solidFill>
                          <a:latin typeface="Arial" panose="020B0604020202020204" pitchFamily="34" charset="0"/>
                          <a:cs typeface="Arial" panose="020B0604020202020204" pitchFamily="34" charset="0"/>
                        </a:rPr>
                        <a:t>abierto a todas las empresas</a:t>
                      </a:r>
                      <a:r>
                        <a:rPr lang="es-ES" sz="1200" b="1" kern="0" noProof="0" dirty="0">
                          <a:solidFill>
                            <a:schemeClr val="accent1"/>
                          </a:solidFill>
                          <a:latin typeface="Arial" panose="020B0604020202020204" pitchFamily="34" charset="0"/>
                          <a:cs typeface="Arial" panose="020B0604020202020204" pitchFamily="34" charset="0"/>
                        </a:rPr>
                        <a:t> </a:t>
                      </a:r>
                      <a:r>
                        <a:rPr lang="es-ES" sz="1200" b="0" kern="0" noProof="0" dirty="0">
                          <a:solidFill>
                            <a:schemeClr val="accent1"/>
                          </a:solidFill>
                          <a:latin typeface="Arial" panose="020B0604020202020204" pitchFamily="34" charset="0"/>
                          <a:cs typeface="Arial" panose="020B0604020202020204" pitchFamily="34" charset="0"/>
                        </a:rPr>
                        <a:t> sin </a:t>
                      </a:r>
                      <a:r>
                        <a:rPr lang="es-ES" sz="1200" b="0" kern="0" baseline="0" noProof="0" dirty="0">
                          <a:solidFill>
                            <a:schemeClr val="accent1"/>
                          </a:solidFill>
                          <a:latin typeface="Arial" panose="020B0604020202020204" pitchFamily="34" charset="0"/>
                          <a:cs typeface="Arial" panose="020B0604020202020204" pitchFamily="34" charset="0"/>
                        </a:rPr>
                        <a:t>distorsionar la competencia en el mercado</a:t>
                      </a:r>
                      <a:endParaRPr lang="es-ES" sz="1200" b="0" kern="0" noProof="0" dirty="0">
                        <a:solidFill>
                          <a:schemeClr val="accent1"/>
                        </a:solidFill>
                        <a:latin typeface="Arial" panose="020B0604020202020204" pitchFamily="34" charset="0"/>
                        <a:cs typeface="Arial" panose="020B0604020202020204" pitchFamily="34" charset="0"/>
                      </a:endParaRPr>
                    </a:p>
                  </a:txBody>
                  <a:tcPr marT="46800" marB="93600">
                    <a:lnL w="9525" cap="flat" cmpd="sng" algn="ctr">
                      <a:solidFill>
                        <a:srgbClr val="00B8F2"/>
                      </a:solidFill>
                      <a:prstDash val="solid"/>
                      <a:round/>
                      <a:headEnd type="none" w="med" len="med"/>
                      <a:tailEnd type="none" w="med" len="med"/>
                    </a:lnL>
                    <a:lnR w="9525" cap="flat" cmpd="sng" algn="ctr">
                      <a:solidFill>
                        <a:srgbClr val="00B8F2"/>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9525" cap="flat" cmpd="sng" algn="ctr">
                      <a:noFill/>
                      <a:prstDash val="solid"/>
                      <a:round/>
                      <a:headEnd type="none" w="med" len="med"/>
                      <a:tailEnd type="none" w="med" len="med"/>
                    </a:lnTlToBr>
                    <a:lnBlToTr w="12700" cmpd="sng">
                      <a:noFill/>
                      <a:prstDash val="solid"/>
                    </a:lnBlToTr>
                  </a:tcPr>
                </a:tc>
                <a:tc>
                  <a:txBody>
                    <a:bodyPr/>
                    <a:lstStyle/>
                    <a:p>
                      <a:pPr marL="171450" marR="0" lvl="0" indent="-171450" algn="l" defTabSz="914400" rtl="0" eaLnBrk="1" fontAlgn="auto" latinLnBrk="0" hangingPunct="1">
                        <a:lnSpc>
                          <a:spcPts val="1800"/>
                        </a:lnSpc>
                        <a:spcBef>
                          <a:spcPts val="400"/>
                        </a:spcBef>
                        <a:spcAft>
                          <a:spcPts val="800"/>
                        </a:spcAft>
                        <a:buClr>
                          <a:schemeClr val="accent1"/>
                        </a:buClr>
                        <a:buSzPct val="120000"/>
                        <a:buFont typeface="Arial"/>
                        <a:buChar char="•"/>
                        <a:tabLst/>
                        <a:defRPr/>
                      </a:pPr>
                      <a:r>
                        <a:rPr lang="es-ES" sz="1200" b="1" kern="0" noProof="0" dirty="0">
                          <a:solidFill>
                            <a:schemeClr val="accent1"/>
                          </a:solidFill>
                          <a:latin typeface="Arial" panose="020B0604020202020204" pitchFamily="34" charset="0"/>
                          <a:cs typeface="Arial" panose="020B0604020202020204" pitchFamily="34" charset="0"/>
                        </a:rPr>
                        <a:t>2</a:t>
                      </a:r>
                      <a:r>
                        <a:rPr lang="es-ES" sz="1200" b="1" kern="0" baseline="0" noProof="0" dirty="0">
                          <a:solidFill>
                            <a:schemeClr val="accent1"/>
                          </a:solidFill>
                          <a:latin typeface="Arial" panose="020B0604020202020204" pitchFamily="34" charset="0"/>
                          <a:cs typeface="Arial" panose="020B0604020202020204" pitchFamily="34" charset="0"/>
                        </a:rPr>
                        <a:t> años </a:t>
                      </a:r>
                      <a:r>
                        <a:rPr lang="es-ES" sz="1200" b="0" kern="0" baseline="0" noProof="0" dirty="0">
                          <a:solidFill>
                            <a:schemeClr val="accent1"/>
                          </a:solidFill>
                          <a:latin typeface="Arial" panose="020B0604020202020204" pitchFamily="34" charset="0"/>
                          <a:cs typeface="Arial" panose="020B0604020202020204" pitchFamily="34" charset="0"/>
                        </a:rPr>
                        <a:t>en el mercado</a:t>
                      </a:r>
                      <a:endParaRPr lang="es-ES" sz="1200" b="0" kern="0" noProof="0" dirty="0">
                        <a:solidFill>
                          <a:schemeClr val="accent1"/>
                        </a:solidFill>
                        <a:latin typeface="Arial" panose="020B0604020202020204" pitchFamily="34" charset="0"/>
                        <a:cs typeface="Arial" panose="020B0604020202020204" pitchFamily="34" charset="0"/>
                      </a:endParaRPr>
                    </a:p>
                  </a:txBody>
                  <a:tcPr marT="46800" marB="93600">
                    <a:lnL w="9525" cap="flat" cmpd="sng" algn="ctr">
                      <a:solidFill>
                        <a:srgbClr val="00B8F2"/>
                      </a:solidFill>
                      <a:prstDash val="solid"/>
                      <a:round/>
                      <a:headEnd type="none" w="med" len="med"/>
                      <a:tailEnd type="none" w="med" len="med"/>
                    </a:lnL>
                    <a:lnR w="9525" cap="flat" cmpd="sng" algn="ctr">
                      <a:solidFill>
                        <a:srgbClr val="00B8F2"/>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9525"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10004"/>
                  </a:ext>
                </a:extLst>
              </a:tr>
              <a:tr h="571958">
                <a:tc>
                  <a:txBody>
                    <a:bodyPr/>
                    <a:lstStyle/>
                    <a:p>
                      <a:pPr marL="171450" marR="0" lvl="0" indent="-171450" algn="l" defTabSz="914400" rtl="0" eaLnBrk="1" fontAlgn="auto" latinLnBrk="0" hangingPunct="1">
                        <a:lnSpc>
                          <a:spcPts val="1800"/>
                        </a:lnSpc>
                        <a:spcBef>
                          <a:spcPts val="400"/>
                        </a:spcBef>
                        <a:spcAft>
                          <a:spcPts val="800"/>
                        </a:spcAft>
                        <a:buClr>
                          <a:schemeClr val="accent1"/>
                        </a:buClr>
                        <a:buSzPct val="120000"/>
                        <a:buFont typeface="Arial"/>
                        <a:buChar char="•"/>
                        <a:tabLst/>
                        <a:defRPr/>
                      </a:pPr>
                      <a:r>
                        <a:rPr lang="es-ES" sz="1200" b="1" kern="0" noProof="0" dirty="0">
                          <a:solidFill>
                            <a:schemeClr val="accent1"/>
                          </a:solidFill>
                          <a:latin typeface="Arial" panose="020B0604020202020204" pitchFamily="34" charset="0"/>
                          <a:cs typeface="Arial" panose="020B0604020202020204" pitchFamily="34" charset="0"/>
                        </a:rPr>
                        <a:t>Aportación del socio privado: </a:t>
                      </a:r>
                      <a:br>
                        <a:rPr lang="es-ES" sz="1200" b="1" kern="0" noProof="0" dirty="0">
                          <a:solidFill>
                            <a:schemeClr val="accent1"/>
                          </a:solidFill>
                          <a:latin typeface="Arial" panose="020B0604020202020204" pitchFamily="34" charset="0"/>
                          <a:cs typeface="Arial" panose="020B0604020202020204" pitchFamily="34" charset="0"/>
                        </a:rPr>
                      </a:br>
                      <a:r>
                        <a:rPr lang="es-ES" sz="1200" b="0" kern="0" noProof="0" dirty="0">
                          <a:solidFill>
                            <a:schemeClr val="accent1"/>
                          </a:solidFill>
                          <a:latin typeface="Arial" panose="020B0604020202020204" pitchFamily="34" charset="0"/>
                          <a:cs typeface="Arial" panose="020B0604020202020204" pitchFamily="34" charset="0"/>
                        </a:rPr>
                        <a:t>Como mínimo,</a:t>
                      </a:r>
                      <a:r>
                        <a:rPr lang="es-ES" sz="1200" b="0" kern="0" baseline="0" noProof="0" dirty="0">
                          <a:solidFill>
                            <a:schemeClr val="accent1"/>
                          </a:solidFill>
                          <a:latin typeface="Arial" panose="020B0604020202020204" pitchFamily="34" charset="0"/>
                          <a:cs typeface="Arial" panose="020B0604020202020204" pitchFamily="34" charset="0"/>
                        </a:rPr>
                        <a:t> </a:t>
                      </a:r>
                      <a:r>
                        <a:rPr lang="es-ES" sz="1200" b="0" kern="0" noProof="0" dirty="0">
                          <a:solidFill>
                            <a:schemeClr val="accent1"/>
                          </a:solidFill>
                          <a:latin typeface="Arial" panose="020B0604020202020204" pitchFamily="34" charset="0"/>
                          <a:cs typeface="Arial" panose="020B0604020202020204" pitchFamily="34" charset="0"/>
                        </a:rPr>
                        <a:t>el 50% de los costos del proyecto  </a:t>
                      </a:r>
                    </a:p>
                  </a:txBody>
                  <a:tcPr marT="46800" marB="93600">
                    <a:lnL w="9525" cap="flat" cmpd="sng" algn="ctr">
                      <a:solidFill>
                        <a:srgbClr val="00B8F2"/>
                      </a:solidFill>
                      <a:prstDash val="solid"/>
                      <a:round/>
                      <a:headEnd type="none" w="med" len="med"/>
                      <a:tailEnd type="none" w="med" len="med"/>
                    </a:lnL>
                    <a:lnR w="9525" cap="flat" cmpd="sng" algn="ctr">
                      <a:solidFill>
                        <a:srgbClr val="00B8F2"/>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9525" cap="flat" cmpd="sng" algn="ctr">
                      <a:noFill/>
                      <a:prstDash val="solid"/>
                      <a:round/>
                      <a:headEnd type="none" w="med" len="med"/>
                      <a:tailEnd type="none" w="med" len="med"/>
                    </a:lnTlToBr>
                    <a:lnBlToTr w="12700" cmpd="sng">
                      <a:noFill/>
                      <a:prstDash val="solid"/>
                    </a:lnBlToTr>
                    <a:solidFill>
                      <a:schemeClr val="accent3">
                        <a:lumMod val="20000"/>
                        <a:lumOff val="80000"/>
                        <a:alpha val="60000"/>
                      </a:schemeClr>
                    </a:solidFill>
                  </a:tcPr>
                </a:tc>
                <a:tc>
                  <a:txBody>
                    <a:bodyPr/>
                    <a:lstStyle/>
                    <a:p>
                      <a:pPr marL="171450" marR="0" lvl="0" indent="-171450" algn="l" defTabSz="914400" rtl="0" eaLnBrk="1" fontAlgn="auto" latinLnBrk="0" hangingPunct="1">
                        <a:lnSpc>
                          <a:spcPts val="1800"/>
                        </a:lnSpc>
                        <a:spcBef>
                          <a:spcPts val="400"/>
                        </a:spcBef>
                        <a:spcAft>
                          <a:spcPts val="800"/>
                        </a:spcAft>
                        <a:buClr>
                          <a:schemeClr val="accent1"/>
                        </a:buClr>
                        <a:buSzPct val="120000"/>
                        <a:buFont typeface="Arial"/>
                        <a:buChar char="•"/>
                        <a:tabLst/>
                        <a:defRPr/>
                      </a:pPr>
                      <a:r>
                        <a:rPr lang="es-ES" sz="1200" b="0" kern="0" noProof="0" dirty="0">
                          <a:solidFill>
                            <a:schemeClr val="accent1"/>
                          </a:solidFill>
                          <a:latin typeface="Arial" panose="020B0604020202020204" pitchFamily="34" charset="0"/>
                          <a:cs typeface="Arial" panose="020B0604020202020204" pitchFamily="34" charset="0"/>
                        </a:rPr>
                        <a:t>Compromiso</a:t>
                      </a:r>
                      <a:r>
                        <a:rPr lang="es-ES" sz="1200" b="0" kern="0" baseline="0" noProof="0" dirty="0">
                          <a:solidFill>
                            <a:schemeClr val="accent1"/>
                          </a:solidFill>
                          <a:latin typeface="Arial" panose="020B0604020202020204" pitchFamily="34" charset="0"/>
                          <a:cs typeface="Arial" panose="020B0604020202020204" pitchFamily="34" charset="0"/>
                        </a:rPr>
                        <a:t> </a:t>
                      </a:r>
                      <a:r>
                        <a:rPr lang="es-ES" sz="1200" b="0" kern="0" noProof="0" dirty="0">
                          <a:solidFill>
                            <a:schemeClr val="accent1"/>
                          </a:solidFill>
                          <a:latin typeface="Arial" panose="020B0604020202020204" pitchFamily="34" charset="0"/>
                          <a:cs typeface="Arial" panose="020B0604020202020204" pitchFamily="34" charset="0"/>
                        </a:rPr>
                        <a:t>a largo plazo en el país</a:t>
                      </a:r>
                    </a:p>
                  </a:txBody>
                  <a:tcPr marT="46800" marB="93600">
                    <a:lnL w="9525" cap="flat" cmpd="sng" algn="ctr">
                      <a:solidFill>
                        <a:srgbClr val="00B8F2"/>
                      </a:solidFill>
                      <a:prstDash val="solid"/>
                      <a:round/>
                      <a:headEnd type="none" w="med" len="med"/>
                      <a:tailEnd type="none" w="med" len="med"/>
                    </a:lnL>
                    <a:lnR w="9525" cap="flat" cmpd="sng" algn="ctr">
                      <a:solidFill>
                        <a:srgbClr val="00B8F2"/>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9525" cap="flat" cmpd="sng" algn="ctr">
                      <a:noFill/>
                      <a:prstDash val="solid"/>
                      <a:round/>
                      <a:headEnd type="none" w="med" len="med"/>
                      <a:tailEnd type="none" w="med" len="med"/>
                    </a:lnTlToBr>
                    <a:lnBlToTr w="12700" cmpd="sng">
                      <a:noFill/>
                      <a:prstDash val="solid"/>
                    </a:lnBlToTr>
                    <a:solidFill>
                      <a:schemeClr val="accent3">
                        <a:lumMod val="20000"/>
                        <a:lumOff val="80000"/>
                        <a:alpha val="60000"/>
                      </a:schemeClr>
                    </a:solidFill>
                  </a:tcPr>
                </a:tc>
                <a:extLst>
                  <a:ext uri="{0D108BD9-81ED-4DB2-BD59-A6C34878D82A}">
                    <a16:rowId xmlns:a16="http://schemas.microsoft.com/office/drawing/2014/main" val="10005"/>
                  </a:ext>
                </a:extLst>
              </a:tr>
              <a:tr h="571958">
                <a:tc>
                  <a:txBody>
                    <a:bodyPr/>
                    <a:lstStyle/>
                    <a:p>
                      <a:pPr marL="171450" marR="0" lvl="0" indent="-171450" algn="l" defTabSz="914400" rtl="0" eaLnBrk="1" fontAlgn="auto" latinLnBrk="0" hangingPunct="1">
                        <a:lnSpc>
                          <a:spcPts val="1800"/>
                        </a:lnSpc>
                        <a:spcBef>
                          <a:spcPts val="400"/>
                        </a:spcBef>
                        <a:spcAft>
                          <a:spcPts val="800"/>
                        </a:spcAft>
                        <a:buClr>
                          <a:schemeClr val="accent1"/>
                        </a:buClr>
                        <a:buSzPct val="120000"/>
                        <a:buFont typeface="Arial"/>
                        <a:buChar char="•"/>
                        <a:tabLst/>
                        <a:defRPr/>
                      </a:pPr>
                      <a:r>
                        <a:rPr lang="es-ES" sz="1200" b="0" kern="0" noProof="0" dirty="0">
                          <a:solidFill>
                            <a:schemeClr val="accent1"/>
                          </a:solidFill>
                          <a:latin typeface="Arial" panose="020B0604020202020204" pitchFamily="34" charset="0"/>
                          <a:cs typeface="Arial" panose="020B0604020202020204" pitchFamily="34" charset="0"/>
                        </a:rPr>
                        <a:t>Integración del proyecto en una actividad sostenible de la empresa en el país destinatario</a:t>
                      </a:r>
                    </a:p>
                  </a:txBody>
                  <a:tcPr marT="46800" marB="93600">
                    <a:lnL w="9525" cap="flat" cmpd="sng" algn="ctr">
                      <a:solidFill>
                        <a:srgbClr val="00B8F2"/>
                      </a:solidFill>
                      <a:prstDash val="solid"/>
                      <a:round/>
                      <a:headEnd type="none" w="med" len="med"/>
                      <a:tailEnd type="none" w="med" len="med"/>
                    </a:lnL>
                    <a:lnR w="9525" cap="flat" cmpd="sng" algn="ctr">
                      <a:solidFill>
                        <a:srgbClr val="00B8F2"/>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00B8F2"/>
                      </a:solidFill>
                      <a:prstDash val="solid"/>
                      <a:round/>
                      <a:headEnd type="none" w="med" len="med"/>
                      <a:tailEnd type="none" w="med" len="med"/>
                    </a:lnB>
                    <a:lnTlToBr w="9525" cap="flat" cmpd="sng" algn="ctr">
                      <a:noFill/>
                      <a:prstDash val="solid"/>
                      <a:round/>
                      <a:headEnd type="none" w="med" len="med"/>
                      <a:tailEnd type="none" w="med" len="med"/>
                    </a:lnTlToBr>
                    <a:lnBlToTr w="12700" cmpd="sng">
                      <a:noFill/>
                      <a:prstDash val="solid"/>
                    </a:lnBlToTr>
                  </a:tcPr>
                </a:tc>
                <a:tc>
                  <a:txBody>
                    <a:bodyPr/>
                    <a:lstStyle/>
                    <a:p>
                      <a:pPr marL="171450" marR="0" lvl="0" indent="-171450" algn="l" defTabSz="914400" rtl="0" eaLnBrk="1" fontAlgn="auto" latinLnBrk="0" hangingPunct="1">
                        <a:lnSpc>
                          <a:spcPts val="1800"/>
                        </a:lnSpc>
                        <a:spcBef>
                          <a:spcPts val="400"/>
                        </a:spcBef>
                        <a:spcAft>
                          <a:spcPts val="800"/>
                        </a:spcAft>
                        <a:buClr>
                          <a:schemeClr val="accent1"/>
                        </a:buClr>
                        <a:buSzPct val="120000"/>
                        <a:buFont typeface="Arial"/>
                        <a:buChar char="•"/>
                        <a:tabLst/>
                        <a:defRPr/>
                      </a:pPr>
                      <a:r>
                        <a:rPr lang="es-ES" sz="1200" b="0" noProof="0" dirty="0">
                          <a:solidFill>
                            <a:schemeClr val="accent1"/>
                          </a:solidFill>
                          <a:latin typeface="Arial" panose="020B0604020202020204" pitchFamily="34" charset="0"/>
                          <a:cs typeface="Arial" panose="020B0604020202020204" pitchFamily="34" charset="0"/>
                        </a:rPr>
                        <a:t>Interés comercial </a:t>
                      </a:r>
                      <a:r>
                        <a:rPr lang="es-ES" sz="1200" b="0" baseline="0" noProof="0" dirty="0">
                          <a:solidFill>
                            <a:schemeClr val="accent1"/>
                          </a:solidFill>
                          <a:latin typeface="Arial" panose="020B0604020202020204" pitchFamily="34" charset="0"/>
                          <a:cs typeface="Arial" panose="020B0604020202020204" pitchFamily="34" charset="0"/>
                        </a:rPr>
                        <a:t>de la empresa</a:t>
                      </a:r>
                      <a:endParaRPr lang="es-ES" sz="1200" b="0" noProof="0" dirty="0">
                        <a:solidFill>
                          <a:schemeClr val="accent1"/>
                        </a:solidFill>
                        <a:latin typeface="Arial" panose="020B0604020202020204" pitchFamily="34" charset="0"/>
                        <a:cs typeface="Arial" panose="020B0604020202020204" pitchFamily="34" charset="0"/>
                      </a:endParaRPr>
                    </a:p>
                  </a:txBody>
                  <a:tcPr marT="46800" marB="93600">
                    <a:lnL w="9525" cap="flat" cmpd="sng" algn="ctr">
                      <a:solidFill>
                        <a:srgbClr val="00B8F2"/>
                      </a:solidFill>
                      <a:prstDash val="solid"/>
                      <a:round/>
                      <a:headEnd type="none" w="med" len="med"/>
                      <a:tailEnd type="none" w="med" len="med"/>
                    </a:lnL>
                    <a:lnR w="9525" cap="flat" cmpd="sng" algn="ctr">
                      <a:solidFill>
                        <a:srgbClr val="00B8F2"/>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00B8F2"/>
                      </a:solidFill>
                      <a:prstDash val="solid"/>
                      <a:round/>
                      <a:headEnd type="none" w="med" len="med"/>
                      <a:tailEnd type="none" w="med" len="med"/>
                    </a:lnB>
                    <a:lnTlToBr w="9525" cap="flat" cmpd="sng" algn="ctr">
                      <a:noFill/>
                      <a:prstDash val="solid"/>
                      <a:round/>
                      <a:headEnd type="none" w="med" len="med"/>
                      <a:tailEnd type="none" w="med" len="med"/>
                    </a:lnTlToBr>
                    <a:lnBlToTr w="12700" cmpd="sng">
                      <a:noFill/>
                      <a:prstDash val="solid"/>
                    </a:lnBlToTr>
                  </a:tcPr>
                </a:tc>
                <a:extLst>
                  <a:ext uri="{0D108BD9-81ED-4DB2-BD59-A6C34878D82A}">
                    <a16:rowId xmlns:a16="http://schemas.microsoft.com/office/drawing/2014/main" val="10006"/>
                  </a:ext>
                </a:extLst>
              </a:tr>
            </a:tbl>
          </a:graphicData>
        </a:graphic>
      </p:graphicFrame>
      <p:pic>
        <p:nvPicPr>
          <p:cNvPr id="4" name="Picture 2" descr="http://www.developpp.de/sites/default/files/styles/large/public/teilnahmekriterien_lupe.png?itok=r4d-ZFKB"/>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34894" y="1205778"/>
            <a:ext cx="404887" cy="404888"/>
          </a:xfrm>
          <a:prstGeom prst="rect">
            <a:avLst/>
          </a:prstGeom>
          <a:noFill/>
          <a:extLst>
            <a:ext uri="{909E8E84-426E-40DD-AFC4-6F175D3DCCD1}">
              <a14:hiddenFill xmlns:a14="http://schemas.microsoft.com/office/drawing/2010/main">
                <a:solidFill>
                  <a:srgbClr val="FFFFFF"/>
                </a:solidFill>
              </a14:hiddenFill>
            </a:ext>
          </a:extLst>
        </p:spPr>
      </p:pic>
      <p:pic>
        <p:nvPicPr>
          <p:cNvPr id="6" name="Bildplatzhalter 1"/>
          <p:cNvPicPr>
            <a:picLocks noChangeAspect="1"/>
          </p:cNvPicPr>
          <p:nvPr/>
        </p:nvPicPr>
        <p:blipFill>
          <a:blip r:embed="rId4">
            <a:extLst>
              <a:ext uri="{28A0092B-C50C-407E-A947-70E740481C1C}">
                <a14:useLocalDpi xmlns:a14="http://schemas.microsoft.com/office/drawing/2010/main" val="0"/>
              </a:ext>
            </a:extLst>
          </a:blip>
          <a:srcRect l="2240" r="2240"/>
          <a:stretch>
            <a:fillRect/>
          </a:stretch>
        </p:blipFill>
        <p:spPr>
          <a:xfrm>
            <a:off x="8904000" y="44624"/>
            <a:ext cx="1397000" cy="609600"/>
          </a:xfrm>
          <a:prstGeom prst="rect">
            <a:avLst/>
          </a:prstGeom>
          <a:blipFill dpi="0" rotWithShape="1">
            <a:blip r:embed="rId4">
              <a:extLst>
                <a:ext uri="{28A0092B-C50C-407E-A947-70E740481C1C}">
                  <a14:useLocalDpi xmlns:a14="http://schemas.microsoft.com/office/drawing/2010/main" val="0"/>
                </a:ext>
              </a:extLst>
            </a:blip>
            <a:srcRect/>
            <a:stretch>
              <a:fillRect/>
            </a:stretch>
          </a:blipFill>
        </p:spPr>
      </p:pic>
    </p:spTree>
    <p:extLst>
      <p:ext uri="{BB962C8B-B14F-4D97-AF65-F5344CB8AC3E}">
        <p14:creationId xmlns:p14="http://schemas.microsoft.com/office/powerpoint/2010/main" val="3245223696"/>
      </p:ext>
    </p:extLst>
  </p:cSld>
  <p:clrMapOvr>
    <a:masterClrMapping/>
  </p:clrMapOvr>
  <mc:AlternateContent xmlns:mc="http://schemas.openxmlformats.org/markup-compatibility/2006" xmlns:p14="http://schemas.microsoft.com/office/powerpoint/2010/main">
    <mc:Choice Requires="p14">
      <p:transition spd="slow" p14:dur="20000" advClick="0" advTm="14278"/>
    </mc:Choice>
    <mc:Fallback xmlns="">
      <p:transition spd="slow" advClick="0" advTm="14278"/>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90B211D-37EB-4AFA-B384-0FF1D9CD1267}"/>
              </a:ext>
            </a:extLst>
          </p:cNvPr>
          <p:cNvSpPr>
            <a:spLocks noGrp="1"/>
          </p:cNvSpPr>
          <p:nvPr>
            <p:ph type="title"/>
          </p:nvPr>
        </p:nvSpPr>
        <p:spPr>
          <a:xfrm>
            <a:off x="1775520" y="1023169"/>
            <a:ext cx="7704136" cy="920508"/>
          </a:xfrm>
        </p:spPr>
        <p:txBody>
          <a:bodyPr/>
          <a:lstStyle/>
          <a:p>
            <a:r>
              <a:rPr lang="de-DE" dirty="0" err="1"/>
              <a:t>Con</a:t>
            </a:r>
            <a:r>
              <a:rPr lang="de-DE" dirty="0"/>
              <a:t> develoPPP.de </a:t>
            </a:r>
            <a:r>
              <a:rPr lang="de-DE" sz="3200" b="1" dirty="0" err="1"/>
              <a:t>no</a:t>
            </a:r>
            <a:r>
              <a:rPr lang="de-DE" dirty="0"/>
              <a:t> (</a:t>
            </a:r>
            <a:r>
              <a:rPr lang="de-DE" dirty="0" err="1"/>
              <a:t>co</a:t>
            </a:r>
            <a:r>
              <a:rPr lang="de-DE" dirty="0"/>
              <a:t>-)</a:t>
            </a:r>
            <a:r>
              <a:rPr lang="de-DE" dirty="0" err="1"/>
              <a:t>financiamos</a:t>
            </a:r>
            <a:r>
              <a:rPr lang="de-DE" dirty="0"/>
              <a:t>....</a:t>
            </a:r>
            <a:br>
              <a:rPr lang="de-DE" dirty="0"/>
            </a:br>
            <a:endParaRPr lang="es-MX" dirty="0"/>
          </a:p>
        </p:txBody>
      </p:sp>
      <p:sp>
        <p:nvSpPr>
          <p:cNvPr id="3" name="Marcador de texto 2">
            <a:extLst>
              <a:ext uri="{FF2B5EF4-FFF2-40B4-BE49-F238E27FC236}">
                <a16:creationId xmlns:a16="http://schemas.microsoft.com/office/drawing/2014/main" id="{ED24EA08-566D-4D87-AAF3-2E4B6AC89D69}"/>
              </a:ext>
            </a:extLst>
          </p:cNvPr>
          <p:cNvSpPr>
            <a:spLocks noGrp="1"/>
          </p:cNvSpPr>
          <p:nvPr>
            <p:ph type="body" sz="quarter" idx="10"/>
          </p:nvPr>
        </p:nvSpPr>
        <p:spPr/>
        <p:txBody>
          <a:bodyPr/>
          <a:lstStyle/>
          <a:p>
            <a:pPr marL="342900" indent="-342900">
              <a:buFont typeface="Arial" panose="020B0604020202020204" pitchFamily="34" charset="0"/>
              <a:buChar char="•"/>
            </a:pPr>
            <a:r>
              <a:rPr lang="es-ES" dirty="0"/>
              <a:t>Proyectos de investigación</a:t>
            </a:r>
          </a:p>
          <a:p>
            <a:pPr marL="342900" indent="-342900">
              <a:buFont typeface="Arial" panose="020B0604020202020204" pitchFamily="34" charset="0"/>
              <a:buChar char="•"/>
            </a:pPr>
            <a:r>
              <a:rPr lang="es-ES" dirty="0"/>
              <a:t>Subvenciones directas a las empresas </a:t>
            </a:r>
          </a:p>
          <a:p>
            <a:pPr marL="342900" indent="-342900">
              <a:buFont typeface="Arial" panose="020B0604020202020204" pitchFamily="34" charset="0"/>
              <a:buChar char="•"/>
            </a:pPr>
            <a:r>
              <a:rPr lang="es-ES" dirty="0"/>
              <a:t>Promoción pura de las exportaciones</a:t>
            </a:r>
          </a:p>
          <a:p>
            <a:pPr marL="342900" indent="-342900">
              <a:buFont typeface="Arial" panose="020B0604020202020204" pitchFamily="34" charset="0"/>
              <a:buChar char="•"/>
            </a:pPr>
            <a:r>
              <a:rPr lang="es-ES" dirty="0"/>
              <a:t>Proyectos de capital </a:t>
            </a:r>
            <a:r>
              <a:rPr lang="es-ES" dirty="0" err="1"/>
              <a:t>venture</a:t>
            </a:r>
            <a:endParaRPr lang="es-ES" dirty="0"/>
          </a:p>
          <a:p>
            <a:pPr marL="342900" indent="-342900">
              <a:buFont typeface="Arial" panose="020B0604020202020204" pitchFamily="34" charset="0"/>
              <a:buChar char="•"/>
            </a:pPr>
            <a:r>
              <a:rPr lang="es-ES" dirty="0"/>
              <a:t>Préstamos a bajo interés</a:t>
            </a:r>
          </a:p>
          <a:p>
            <a:pPr marL="342900" indent="-342900">
              <a:buFont typeface="Arial" panose="020B0604020202020204" pitchFamily="34" charset="0"/>
              <a:buChar char="•"/>
            </a:pPr>
            <a:r>
              <a:rPr lang="es-ES" dirty="0"/>
              <a:t>Estudios de viabilidad como contenido del proyecto</a:t>
            </a:r>
            <a:endParaRPr lang="de-DE" sz="1800" dirty="0"/>
          </a:p>
          <a:p>
            <a:endParaRPr lang="es-MX" dirty="0"/>
          </a:p>
        </p:txBody>
      </p:sp>
    </p:spTree>
    <p:extLst>
      <p:ext uri="{BB962C8B-B14F-4D97-AF65-F5344CB8AC3E}">
        <p14:creationId xmlns:p14="http://schemas.microsoft.com/office/powerpoint/2010/main" val="2710722964"/>
      </p:ext>
    </p:extLst>
  </p:cSld>
  <p:clrMapOvr>
    <a:masterClrMapping/>
  </p:clrMapOvr>
  <mc:AlternateContent xmlns:mc="http://schemas.openxmlformats.org/markup-compatibility/2006" xmlns:p14="http://schemas.microsoft.com/office/powerpoint/2010/main">
    <mc:Choice Requires="p14">
      <p:transition spd="slow" p14:dur="20000" advClick="0" advTm="20000"/>
    </mc:Choice>
    <mc:Fallback xmlns="">
      <p:transition spd="slow" advClick="0" advTm="2000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178A2C5-68CC-49BF-BFBE-96B6992CF7B2}"/>
              </a:ext>
            </a:extLst>
          </p:cNvPr>
          <p:cNvSpPr>
            <a:spLocks noGrp="1"/>
          </p:cNvSpPr>
          <p:nvPr>
            <p:ph type="title"/>
          </p:nvPr>
        </p:nvSpPr>
        <p:spPr>
          <a:xfrm>
            <a:off x="3368843" y="50214"/>
            <a:ext cx="6977062" cy="1869486"/>
          </a:xfrm>
        </p:spPr>
        <p:txBody>
          <a:bodyPr/>
          <a:lstStyle/>
          <a:p>
            <a:r>
              <a:rPr lang="es-ES" sz="3200" b="1" dirty="0"/>
              <a:t>Financiación: Diferencias entre los contratos de implementación y cooperación:</a:t>
            </a:r>
            <a:br>
              <a:rPr lang="de-DE" sz="3200" b="1" dirty="0">
                <a:latin typeface="Arial" panose="020B0604020202020204" pitchFamily="34" charset="0"/>
                <a:cs typeface="Arial" panose="020B0604020202020204" pitchFamily="34" charset="0"/>
              </a:rPr>
            </a:br>
            <a:endParaRPr lang="es-MX" dirty="0"/>
          </a:p>
        </p:txBody>
      </p:sp>
      <p:sp>
        <p:nvSpPr>
          <p:cNvPr id="3" name="Marcador de texto 2">
            <a:extLst>
              <a:ext uri="{FF2B5EF4-FFF2-40B4-BE49-F238E27FC236}">
                <a16:creationId xmlns:a16="http://schemas.microsoft.com/office/drawing/2014/main" id="{F5901245-6C27-42F8-8161-B63D67277DFA}"/>
              </a:ext>
            </a:extLst>
          </p:cNvPr>
          <p:cNvSpPr>
            <a:spLocks noGrp="1"/>
          </p:cNvSpPr>
          <p:nvPr>
            <p:ph type="body" sz="quarter" idx="10"/>
          </p:nvPr>
        </p:nvSpPr>
        <p:spPr/>
        <p:txBody>
          <a:bodyPr/>
          <a:lstStyle/>
          <a:p>
            <a:endParaRPr lang="es-MX" dirty="0"/>
          </a:p>
        </p:txBody>
      </p:sp>
      <p:graphicFrame>
        <p:nvGraphicFramePr>
          <p:cNvPr id="4" name="Diagrama 3">
            <a:extLst>
              <a:ext uri="{FF2B5EF4-FFF2-40B4-BE49-F238E27FC236}">
                <a16:creationId xmlns:a16="http://schemas.microsoft.com/office/drawing/2014/main" id="{A34BF2BC-1854-4A17-B200-4DE5E2FD3E86}"/>
              </a:ext>
            </a:extLst>
          </p:cNvPr>
          <p:cNvGraphicFramePr/>
          <p:nvPr/>
        </p:nvGraphicFramePr>
        <p:xfrm>
          <a:off x="1774726" y="1027002"/>
          <a:ext cx="8640960" cy="59052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62589895"/>
      </p:ext>
    </p:extLst>
  </p:cSld>
  <p:clrMapOvr>
    <a:masterClrMapping/>
  </p:clrMapOvr>
  <mc:AlternateContent xmlns:mc="http://schemas.openxmlformats.org/markup-compatibility/2006" xmlns:p14="http://schemas.microsoft.com/office/powerpoint/2010/main">
    <mc:Choice Requires="p14">
      <p:transition spd="slow" p14:dur="20000" advClick="0" advTm="20000"/>
    </mc:Choice>
    <mc:Fallback xmlns="">
      <p:transition spd="slow" advClick="0" advTm="2000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umsplatzhalter 7">
            <a:extLst>
              <a:ext uri="{FF2B5EF4-FFF2-40B4-BE49-F238E27FC236}">
                <a16:creationId xmlns:a16="http://schemas.microsoft.com/office/drawing/2014/main" id="{1BDEAAC8-7AF1-4B59-B6C6-7968DEAC9702}"/>
              </a:ext>
            </a:extLst>
          </p:cNvPr>
          <p:cNvSpPr>
            <a:spLocks noGrp="1"/>
          </p:cNvSpPr>
          <p:nvPr>
            <p:ph type="dt" sz="half" idx="10"/>
          </p:nvPr>
        </p:nvSpPr>
        <p:spPr>
          <a:xfrm>
            <a:off x="1379738" y="6475058"/>
            <a:ext cx="2743200" cy="365125"/>
          </a:xfrm>
        </p:spPr>
        <p:txBody>
          <a:bodyPr/>
          <a:lstStyle/>
          <a:p>
            <a:r>
              <a:rPr lang="es-ES" dirty="0"/>
              <a:t>14.02.2019</a:t>
            </a:r>
          </a:p>
        </p:txBody>
      </p:sp>
      <p:sp>
        <p:nvSpPr>
          <p:cNvPr id="9" name="Fußzeilenplatzhalter 8">
            <a:extLst>
              <a:ext uri="{FF2B5EF4-FFF2-40B4-BE49-F238E27FC236}">
                <a16:creationId xmlns:a16="http://schemas.microsoft.com/office/drawing/2014/main" id="{1BEF9E05-563A-4A39-9005-D02CBC237040}"/>
              </a:ext>
            </a:extLst>
          </p:cNvPr>
          <p:cNvSpPr>
            <a:spLocks noGrp="1"/>
          </p:cNvSpPr>
          <p:nvPr>
            <p:ph type="ftr" sz="quarter" idx="11"/>
          </p:nvPr>
        </p:nvSpPr>
        <p:spPr/>
        <p:txBody>
          <a:bodyPr/>
          <a:lstStyle/>
          <a:p>
            <a:r>
              <a:rPr lang="es-ES" dirty="0"/>
              <a:t>Clúster de Cambio Climático | GIZ MX </a:t>
            </a:r>
          </a:p>
        </p:txBody>
      </p:sp>
      <p:sp>
        <p:nvSpPr>
          <p:cNvPr id="10" name="Foliennummernplatzhalter 9">
            <a:extLst>
              <a:ext uri="{FF2B5EF4-FFF2-40B4-BE49-F238E27FC236}">
                <a16:creationId xmlns:a16="http://schemas.microsoft.com/office/drawing/2014/main" id="{DFFDD7F2-C7BA-455F-91D2-374A8599BA6F}"/>
              </a:ext>
            </a:extLst>
          </p:cNvPr>
          <p:cNvSpPr>
            <a:spLocks noGrp="1"/>
          </p:cNvSpPr>
          <p:nvPr>
            <p:ph type="sldNum" sz="quarter" idx="12"/>
          </p:nvPr>
        </p:nvSpPr>
        <p:spPr/>
        <p:txBody>
          <a:bodyPr/>
          <a:lstStyle/>
          <a:p>
            <a:r>
              <a:rPr lang="es-ES"/>
              <a:t>Página </a:t>
            </a:r>
            <a:fld id="{3A8B5DB7-81A8-4ED4-916B-6B23CD603687}" type="slidenum">
              <a:rPr lang="es-ES" smtClean="0"/>
              <a:pPr/>
              <a:t>2</a:t>
            </a:fld>
            <a:endParaRPr lang="es-ES" dirty="0"/>
          </a:p>
        </p:txBody>
      </p:sp>
      <p:sp>
        <p:nvSpPr>
          <p:cNvPr id="2" name="Rectángulo 1">
            <a:extLst>
              <a:ext uri="{FF2B5EF4-FFF2-40B4-BE49-F238E27FC236}">
                <a16:creationId xmlns:a16="http://schemas.microsoft.com/office/drawing/2014/main" id="{ECFC2AC6-E4CA-461B-95F2-268AC0867427}"/>
              </a:ext>
            </a:extLst>
          </p:cNvPr>
          <p:cNvSpPr/>
          <p:nvPr/>
        </p:nvSpPr>
        <p:spPr>
          <a:xfrm>
            <a:off x="10884138" y="6125592"/>
            <a:ext cx="1260000" cy="71021"/>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 name="Rectángulo 2">
            <a:extLst>
              <a:ext uri="{FF2B5EF4-FFF2-40B4-BE49-F238E27FC236}">
                <a16:creationId xmlns:a16="http://schemas.microsoft.com/office/drawing/2014/main" id="{B964C7BA-654A-4EBC-A52E-FEDBEB5A1380}"/>
              </a:ext>
            </a:extLst>
          </p:cNvPr>
          <p:cNvSpPr/>
          <p:nvPr/>
        </p:nvSpPr>
        <p:spPr>
          <a:xfrm>
            <a:off x="647700" y="6533302"/>
            <a:ext cx="2743200" cy="2486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7" name="Marcador de texto 2">
            <a:extLst>
              <a:ext uri="{FF2B5EF4-FFF2-40B4-BE49-F238E27FC236}">
                <a16:creationId xmlns:a16="http://schemas.microsoft.com/office/drawing/2014/main" id="{19BBC271-AD8C-4542-9BC2-AA0087A432F3}"/>
              </a:ext>
            </a:extLst>
          </p:cNvPr>
          <p:cNvSpPr txBox="1">
            <a:spLocks/>
          </p:cNvSpPr>
          <p:nvPr/>
        </p:nvSpPr>
        <p:spPr>
          <a:xfrm>
            <a:off x="1250067" y="1529638"/>
            <a:ext cx="9439964" cy="1034243"/>
          </a:xfrm>
          <a:prstGeom prst="rect">
            <a:avLst/>
          </a:prstGeom>
        </p:spPr>
        <p:txBody>
          <a:bodyPr vert="horz" lIns="91440" tIns="45720" rIns="91440" bIns="45720" rtlCol="0">
            <a:noAutofit/>
          </a:bodyPr>
          <a:lstStyle>
            <a:lvl1pPr marL="0" indent="0" algn="l" defTabSz="914377" rtl="0" eaLnBrk="1" latinLnBrk="0" hangingPunct="1">
              <a:lnSpc>
                <a:spcPct val="90000"/>
              </a:lnSpc>
              <a:spcBef>
                <a:spcPts val="1000"/>
              </a:spcBef>
              <a:buFont typeface="Arial" panose="020B0604020202020204" pitchFamily="34" charset="0"/>
              <a:buNone/>
              <a:defRPr sz="1600" kern="1200">
                <a:solidFill>
                  <a:schemeClr val="tx1">
                    <a:lumMod val="65000"/>
                    <a:lumOff val="35000"/>
                  </a:schemeClr>
                </a:solidFill>
                <a:latin typeface="Helvetica Condensed" panose="020B0606020202030204" pitchFamily="34" charset="0"/>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s-ES" sz="2200" dirty="0">
                <a:latin typeface="GIZ Gravur Pro Cond" panose="02010506010101020102" pitchFamily="50" charset="0"/>
              </a:rPr>
              <a:t>El Clúster de Cambio Climático </a:t>
            </a:r>
            <a:r>
              <a:rPr lang="es-ES" sz="2200" b="1" dirty="0">
                <a:latin typeface="GIZ Gravur Pro Cond" panose="02010506010101020102" pitchFamily="50" charset="0"/>
              </a:rPr>
              <a:t>apoya al Gobierno de México </a:t>
            </a:r>
            <a:r>
              <a:rPr lang="es-ES" sz="2200" dirty="0">
                <a:latin typeface="GIZ Gravur Pro Cond" panose="02010506010101020102" pitchFamily="50" charset="0"/>
              </a:rPr>
              <a:t>para la implementación de </a:t>
            </a:r>
            <a:r>
              <a:rPr lang="es-ES" sz="2200" b="1" dirty="0">
                <a:latin typeface="GIZ Gravur Pro Cond" panose="02010506010101020102" pitchFamily="50" charset="0"/>
              </a:rPr>
              <a:t>políticas climáticas que contribuyen al desarrollo local y nacional, a partir de lo cual se aporta a los objetivos globales</a:t>
            </a:r>
          </a:p>
        </p:txBody>
      </p:sp>
      <p:pic>
        <p:nvPicPr>
          <p:cNvPr id="38" name="Imagen 37">
            <a:extLst>
              <a:ext uri="{FF2B5EF4-FFF2-40B4-BE49-F238E27FC236}">
                <a16:creationId xmlns:a16="http://schemas.microsoft.com/office/drawing/2014/main" id="{499F302A-DF58-48BF-806C-1AFDDCF36E2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86214" y="2852637"/>
            <a:ext cx="4054503" cy="1644396"/>
          </a:xfrm>
          <a:prstGeom prst="rect">
            <a:avLst/>
          </a:prstGeom>
        </p:spPr>
      </p:pic>
      <p:sp>
        <p:nvSpPr>
          <p:cNvPr id="39" name="Rectangle 10">
            <a:extLst>
              <a:ext uri="{FF2B5EF4-FFF2-40B4-BE49-F238E27FC236}">
                <a16:creationId xmlns:a16="http://schemas.microsoft.com/office/drawing/2014/main" id="{3E50F1F7-6A2B-4667-8AC1-1C8A057178F8}"/>
              </a:ext>
            </a:extLst>
          </p:cNvPr>
          <p:cNvSpPr/>
          <p:nvPr/>
        </p:nvSpPr>
        <p:spPr>
          <a:xfrm>
            <a:off x="370392" y="178340"/>
            <a:ext cx="8704160" cy="954107"/>
          </a:xfrm>
          <a:prstGeom prst="rect">
            <a:avLst/>
          </a:prstGeom>
          <a:solidFill>
            <a:srgbClr val="C00000"/>
          </a:solidFill>
        </p:spPr>
        <p:txBody>
          <a:bodyPr wrap="square">
            <a:spAutoFit/>
          </a:bodyPr>
          <a:lstStyle/>
          <a:p>
            <a:pPr defTabSz="914400"/>
            <a:r>
              <a:rPr lang="es-ES" sz="2800" b="1" dirty="0">
                <a:solidFill>
                  <a:prstClr val="white"/>
                </a:solidFill>
                <a:latin typeface="GIZ Gravur Pro Cond" panose="02010506010101020102" pitchFamily="50" charset="0"/>
              </a:rPr>
              <a:t>En GIZ impulsamos acciones para un desarrollo sostenible frente al cambio climático </a:t>
            </a:r>
          </a:p>
        </p:txBody>
      </p:sp>
      <p:pic>
        <p:nvPicPr>
          <p:cNvPr id="40" name="Imagen 39">
            <a:extLst>
              <a:ext uri="{FF2B5EF4-FFF2-40B4-BE49-F238E27FC236}">
                <a16:creationId xmlns:a16="http://schemas.microsoft.com/office/drawing/2014/main" id="{9FAF6974-6B3A-4AD4-8012-7F8C94E75100}"/>
              </a:ext>
            </a:extLst>
          </p:cNvPr>
          <p:cNvPicPr>
            <a:picLocks noChangeAspect="1"/>
          </p:cNvPicPr>
          <p:nvPr/>
        </p:nvPicPr>
        <p:blipFill>
          <a:blip r:embed="rId4"/>
          <a:stretch>
            <a:fillRect/>
          </a:stretch>
        </p:blipFill>
        <p:spPr>
          <a:xfrm>
            <a:off x="1520610" y="4785789"/>
            <a:ext cx="7958671" cy="1158340"/>
          </a:xfrm>
          <a:prstGeom prst="rect">
            <a:avLst/>
          </a:prstGeom>
        </p:spPr>
      </p:pic>
      <p:pic>
        <p:nvPicPr>
          <p:cNvPr id="41" name="Picture 5">
            <a:extLst>
              <a:ext uri="{FF2B5EF4-FFF2-40B4-BE49-F238E27FC236}">
                <a16:creationId xmlns:a16="http://schemas.microsoft.com/office/drawing/2014/main" id="{E029F28A-516C-4CF3-8B15-F1C064F9F0DE}"/>
              </a:ext>
            </a:extLst>
          </p:cNvPr>
          <p:cNvPicPr>
            <a:picLocks noChangeAspect="1"/>
          </p:cNvPicPr>
          <p:nvPr/>
        </p:nvPicPr>
        <p:blipFill>
          <a:blip r:embed="rId5"/>
          <a:stretch>
            <a:fillRect/>
          </a:stretch>
        </p:blipFill>
        <p:spPr>
          <a:xfrm>
            <a:off x="8313673" y="4785788"/>
            <a:ext cx="1165609" cy="1158340"/>
          </a:xfrm>
          <a:prstGeom prst="rect">
            <a:avLst/>
          </a:prstGeom>
        </p:spPr>
      </p:pic>
      <p:pic>
        <p:nvPicPr>
          <p:cNvPr id="42" name="Picture 6">
            <a:extLst>
              <a:ext uri="{FF2B5EF4-FFF2-40B4-BE49-F238E27FC236}">
                <a16:creationId xmlns:a16="http://schemas.microsoft.com/office/drawing/2014/main" id="{1FDC20CB-6979-45D7-8D80-0A67F2C05EA6}"/>
              </a:ext>
            </a:extLst>
          </p:cNvPr>
          <p:cNvPicPr>
            <a:picLocks noChangeAspect="1"/>
          </p:cNvPicPr>
          <p:nvPr/>
        </p:nvPicPr>
        <p:blipFill>
          <a:blip r:embed="rId6"/>
          <a:stretch>
            <a:fillRect/>
          </a:stretch>
        </p:blipFill>
        <p:spPr>
          <a:xfrm>
            <a:off x="9655992" y="4777727"/>
            <a:ext cx="1166400" cy="1166400"/>
          </a:xfrm>
          <a:prstGeom prst="rect">
            <a:avLst/>
          </a:prstGeom>
        </p:spPr>
      </p:pic>
    </p:spTree>
    <p:extLst>
      <p:ext uri="{BB962C8B-B14F-4D97-AF65-F5344CB8AC3E}">
        <p14:creationId xmlns:p14="http://schemas.microsoft.com/office/powerpoint/2010/main" val="207265955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703512" y="1916834"/>
            <a:ext cx="6264696" cy="44621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el 4"/>
          <p:cNvSpPr>
            <a:spLocks noGrp="1"/>
          </p:cNvSpPr>
          <p:nvPr>
            <p:ph type="title"/>
          </p:nvPr>
        </p:nvSpPr>
        <p:spPr>
          <a:xfrm>
            <a:off x="2243141" y="724959"/>
            <a:ext cx="7237411" cy="920508"/>
          </a:xfrm>
        </p:spPr>
        <p:txBody>
          <a:bodyPr/>
          <a:lstStyle/>
          <a:p>
            <a:pPr lvl="0"/>
            <a:r>
              <a:rPr lang="de-DE" dirty="0"/>
              <a:t>Pasos generales en las convocatorias de develoPPP.de</a:t>
            </a:r>
          </a:p>
        </p:txBody>
      </p:sp>
      <p:sp>
        <p:nvSpPr>
          <p:cNvPr id="2" name="Textfeld 1"/>
          <p:cNvSpPr txBox="1"/>
          <p:nvPr/>
        </p:nvSpPr>
        <p:spPr>
          <a:xfrm>
            <a:off x="7240997" y="4940010"/>
            <a:ext cx="3038603" cy="1134413"/>
          </a:xfrm>
          <a:prstGeom prst="rect">
            <a:avLst/>
          </a:prstGeom>
          <a:noFill/>
          <a:ln w="6350" cap="flat" cmpd="sng" algn="ctr">
            <a:noFill/>
            <a:prstDash val="solid"/>
            <a:round/>
            <a:headEnd type="none" w="med" len="med"/>
            <a:tailEnd type="none" w="med" len="med"/>
          </a:ln>
        </p:spPr>
        <p:txBody>
          <a:bodyPr wrap="square" lIns="0" tIns="0" rIns="0" bIns="0" rtlCol="0">
            <a:spAutoFit/>
          </a:bodyPr>
          <a:lstStyle/>
          <a:p>
            <a:pPr>
              <a:lnSpc>
                <a:spcPts val="1800"/>
              </a:lnSpc>
              <a:buClr>
                <a:schemeClr val="accent2"/>
              </a:buClr>
              <a:buSzPct val="120000"/>
            </a:pPr>
            <a:r>
              <a:rPr lang="de-DE" sz="1300" b="1" dirty="0">
                <a:solidFill>
                  <a:schemeClr val="accent2"/>
                </a:solidFill>
                <a:latin typeface="Arial" panose="020B0604020202020204" pitchFamily="34" charset="0"/>
                <a:cs typeface="Arial" panose="020B0604020202020204" pitchFamily="34" charset="0"/>
              </a:rPr>
              <a:t>Ciclos de aplicación:</a:t>
            </a:r>
          </a:p>
          <a:p>
            <a:pPr marL="285750" indent="-285750">
              <a:lnSpc>
                <a:spcPts val="1800"/>
              </a:lnSpc>
              <a:buClr>
                <a:schemeClr val="accent2"/>
              </a:buClr>
              <a:buSzPct val="120000"/>
              <a:buFont typeface="Wingdings" panose="05000000000000000000" pitchFamily="2" charset="2"/>
              <a:buChar char="Ø"/>
            </a:pPr>
            <a:r>
              <a:rPr lang="de-DE" sz="1300" b="1" dirty="0">
                <a:latin typeface="Arial" panose="020B0604020202020204" pitchFamily="34" charset="0"/>
                <a:cs typeface="Arial" panose="020B0604020202020204" pitchFamily="34" charset="0"/>
              </a:rPr>
              <a:t>15.02.2020 – 31.03.2020</a:t>
            </a:r>
          </a:p>
          <a:p>
            <a:pPr marL="285750" indent="-285750">
              <a:lnSpc>
                <a:spcPts val="1800"/>
              </a:lnSpc>
              <a:buClr>
                <a:schemeClr val="accent2"/>
              </a:buClr>
              <a:buSzPct val="120000"/>
              <a:buFont typeface="Wingdings" panose="05000000000000000000" pitchFamily="2" charset="2"/>
              <a:buChar char="Ø"/>
            </a:pPr>
            <a:r>
              <a:rPr lang="de-DE" sz="1300" b="1" dirty="0">
                <a:latin typeface="Arial" panose="020B0604020202020204" pitchFamily="34" charset="0"/>
                <a:cs typeface="Arial" panose="020B0604020202020204" pitchFamily="34" charset="0"/>
              </a:rPr>
              <a:t>15.05.2020 – 30.06.2020</a:t>
            </a:r>
          </a:p>
          <a:p>
            <a:pPr marL="285750" indent="-285750">
              <a:lnSpc>
                <a:spcPts val="1800"/>
              </a:lnSpc>
              <a:buClr>
                <a:schemeClr val="accent2"/>
              </a:buClr>
              <a:buSzPct val="120000"/>
              <a:buFont typeface="Wingdings" panose="05000000000000000000" pitchFamily="2" charset="2"/>
              <a:buChar char="Ø"/>
            </a:pPr>
            <a:r>
              <a:rPr lang="de-DE" sz="1300" b="1" dirty="0">
                <a:latin typeface="Arial" panose="020B0604020202020204" pitchFamily="34" charset="0"/>
                <a:cs typeface="Arial" panose="020B0604020202020204" pitchFamily="34" charset="0"/>
              </a:rPr>
              <a:t>15.08.2020 – 30.09.2020</a:t>
            </a:r>
          </a:p>
          <a:p>
            <a:pPr marL="285750" indent="-285750">
              <a:lnSpc>
                <a:spcPts val="1800"/>
              </a:lnSpc>
              <a:buClr>
                <a:schemeClr val="accent2"/>
              </a:buClr>
              <a:buSzPct val="120000"/>
              <a:buFont typeface="Wingdings" panose="05000000000000000000" pitchFamily="2" charset="2"/>
              <a:buChar char="Ø"/>
            </a:pPr>
            <a:r>
              <a:rPr lang="de-DE" sz="1300" b="1" dirty="0">
                <a:latin typeface="Arial" panose="020B0604020202020204" pitchFamily="34" charset="0"/>
                <a:cs typeface="Arial" panose="020B0604020202020204" pitchFamily="34" charset="0"/>
              </a:rPr>
              <a:t>15.11.2020 – 31.12.2020</a:t>
            </a:r>
          </a:p>
        </p:txBody>
      </p:sp>
      <p:pic>
        <p:nvPicPr>
          <p:cNvPr id="6" name="Bildplatzhalter 1"/>
          <p:cNvPicPr>
            <a:picLocks noChangeAspect="1"/>
          </p:cNvPicPr>
          <p:nvPr/>
        </p:nvPicPr>
        <p:blipFill>
          <a:blip r:embed="rId4">
            <a:extLst>
              <a:ext uri="{28A0092B-C50C-407E-A947-70E740481C1C}">
                <a14:useLocalDpi xmlns:a14="http://schemas.microsoft.com/office/drawing/2010/main" val="0"/>
              </a:ext>
            </a:extLst>
          </a:blip>
          <a:srcRect l="2240" r="2240"/>
          <a:stretch>
            <a:fillRect/>
          </a:stretch>
        </p:blipFill>
        <p:spPr>
          <a:xfrm>
            <a:off x="8904000" y="44624"/>
            <a:ext cx="1397000" cy="609600"/>
          </a:xfrm>
          <a:prstGeom prst="rect">
            <a:avLst/>
          </a:prstGeom>
          <a:blipFill dpi="0" rotWithShape="1">
            <a:blip r:embed="rId4">
              <a:extLst>
                <a:ext uri="{28A0092B-C50C-407E-A947-70E740481C1C}">
                  <a14:useLocalDpi xmlns:a14="http://schemas.microsoft.com/office/drawing/2010/main" val="0"/>
                </a:ext>
              </a:extLst>
            </a:blip>
            <a:srcRect/>
            <a:stretch>
              <a:fillRect/>
            </a:stretch>
          </a:blipFill>
        </p:spPr>
      </p:pic>
      <p:sp>
        <p:nvSpPr>
          <p:cNvPr id="11" name="CuadroTexto 10">
            <a:extLst>
              <a:ext uri="{FF2B5EF4-FFF2-40B4-BE49-F238E27FC236}">
                <a16:creationId xmlns:a16="http://schemas.microsoft.com/office/drawing/2014/main" id="{A422C53D-5A23-463C-A75D-4D09D1633C63}"/>
              </a:ext>
            </a:extLst>
          </p:cNvPr>
          <p:cNvSpPr txBox="1"/>
          <p:nvPr/>
        </p:nvSpPr>
        <p:spPr>
          <a:xfrm>
            <a:off x="2243138" y="4522162"/>
            <a:ext cx="2016224" cy="430887"/>
          </a:xfrm>
          <a:prstGeom prst="rect">
            <a:avLst/>
          </a:prstGeom>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r>
              <a:rPr lang="es-MX" sz="1100" dirty="0">
                <a:latin typeface="Arial" panose="020B0604020202020204" pitchFamily="34" charset="0"/>
                <a:cs typeface="Arial" panose="020B0604020202020204" pitchFamily="34" charset="0"/>
              </a:rPr>
              <a:t>Examinar los criterios de participación</a:t>
            </a:r>
          </a:p>
        </p:txBody>
      </p:sp>
      <p:sp>
        <p:nvSpPr>
          <p:cNvPr id="12" name="CuadroTexto 11">
            <a:extLst>
              <a:ext uri="{FF2B5EF4-FFF2-40B4-BE49-F238E27FC236}">
                <a16:creationId xmlns:a16="http://schemas.microsoft.com/office/drawing/2014/main" id="{4B65A1C8-8AC4-46CB-905D-C2F934956711}"/>
              </a:ext>
            </a:extLst>
          </p:cNvPr>
          <p:cNvSpPr txBox="1"/>
          <p:nvPr/>
        </p:nvSpPr>
        <p:spPr>
          <a:xfrm>
            <a:off x="5230930" y="2270575"/>
            <a:ext cx="2160240" cy="430887"/>
          </a:xfrm>
          <a:prstGeom prst="rect">
            <a:avLst/>
          </a:prstGeom>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r>
              <a:rPr lang="es-MX" sz="1100" dirty="0">
                <a:latin typeface="Arial" panose="020B0604020202020204" pitchFamily="34" charset="0"/>
                <a:cs typeface="Arial" panose="020B0604020202020204" pitchFamily="34" charset="0"/>
              </a:rPr>
              <a:t>Desarrollar ideas para un proyecto</a:t>
            </a:r>
          </a:p>
        </p:txBody>
      </p:sp>
      <p:sp>
        <p:nvSpPr>
          <p:cNvPr id="13" name="CuadroTexto 12">
            <a:extLst>
              <a:ext uri="{FF2B5EF4-FFF2-40B4-BE49-F238E27FC236}">
                <a16:creationId xmlns:a16="http://schemas.microsoft.com/office/drawing/2014/main" id="{215E119A-25B4-4D68-B9DD-44860A077BD7}"/>
              </a:ext>
            </a:extLst>
          </p:cNvPr>
          <p:cNvSpPr txBox="1"/>
          <p:nvPr/>
        </p:nvSpPr>
        <p:spPr>
          <a:xfrm>
            <a:off x="6600056" y="3941098"/>
            <a:ext cx="2160240" cy="600164"/>
          </a:xfrm>
          <a:prstGeom prst="rect">
            <a:avLst/>
          </a:prstGeom>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r>
              <a:rPr lang="es-MX" sz="1100" dirty="0">
                <a:latin typeface="Arial" panose="020B0604020202020204" pitchFamily="34" charset="0"/>
                <a:cs typeface="Arial" panose="020B0604020202020204" pitchFamily="34" charset="0"/>
              </a:rPr>
              <a:t>Presentar solicitud</a:t>
            </a:r>
          </a:p>
          <a:p>
            <a:r>
              <a:rPr lang="es-MX" sz="1100" dirty="0">
                <a:latin typeface="Arial" panose="020B0604020202020204" pitchFamily="34" charset="0"/>
                <a:cs typeface="Arial" panose="020B0604020202020204" pitchFamily="34" charset="0"/>
              </a:rPr>
              <a:t>*En el año existen 4 ciclos de concurso</a:t>
            </a:r>
          </a:p>
        </p:txBody>
      </p:sp>
      <p:sp>
        <p:nvSpPr>
          <p:cNvPr id="14" name="CuadroTexto 13">
            <a:extLst>
              <a:ext uri="{FF2B5EF4-FFF2-40B4-BE49-F238E27FC236}">
                <a16:creationId xmlns:a16="http://schemas.microsoft.com/office/drawing/2014/main" id="{D07FAACA-C087-4BCC-BB34-AC209DEBB894}"/>
              </a:ext>
            </a:extLst>
          </p:cNvPr>
          <p:cNvSpPr txBox="1"/>
          <p:nvPr/>
        </p:nvSpPr>
        <p:spPr>
          <a:xfrm>
            <a:off x="4439816" y="5863534"/>
            <a:ext cx="1512168" cy="430887"/>
          </a:xfrm>
          <a:prstGeom prst="rect">
            <a:avLst/>
          </a:prstGeom>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r>
              <a:rPr lang="es-MX" sz="1100" dirty="0">
                <a:latin typeface="Arial" panose="020B0604020202020204" pitchFamily="34" charset="0"/>
                <a:cs typeface="Arial" panose="020B0604020202020204" pitchFamily="34" charset="0"/>
              </a:rPr>
              <a:t>Iniciar la ejecución</a:t>
            </a:r>
          </a:p>
          <a:p>
            <a:endParaRPr lang="es-MX"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73629545"/>
      </p:ext>
    </p:extLst>
  </p:cSld>
  <p:clrMapOvr>
    <a:masterClrMapping/>
  </p:clrMapOvr>
  <mc:AlternateContent xmlns:mc="http://schemas.openxmlformats.org/markup-compatibility/2006" xmlns:p14="http://schemas.microsoft.com/office/powerpoint/2010/main">
    <mc:Choice Requires="p14">
      <p:transition spd="slow" p14:dur="20000" advClick="0" advTm="17476"/>
    </mc:Choice>
    <mc:Fallback xmlns="">
      <p:transition spd="slow" advClick="0" advTm="17476"/>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CFDB60B-75A7-45FA-B58D-87D5B83E27A7}"/>
              </a:ext>
            </a:extLst>
          </p:cNvPr>
          <p:cNvSpPr>
            <a:spLocks noGrp="1"/>
          </p:cNvSpPr>
          <p:nvPr>
            <p:ph type="title"/>
          </p:nvPr>
        </p:nvSpPr>
        <p:spPr>
          <a:xfrm>
            <a:off x="2243139" y="1199447"/>
            <a:ext cx="6977062" cy="446020"/>
          </a:xfrm>
        </p:spPr>
        <p:txBody>
          <a:bodyPr/>
          <a:lstStyle/>
          <a:p>
            <a:r>
              <a:rPr lang="es-ES" dirty="0" err="1"/>
              <a:t>DeveloPPP</a:t>
            </a:r>
            <a:r>
              <a:rPr lang="es-ES" dirty="0"/>
              <a:t> </a:t>
            </a:r>
            <a:r>
              <a:rPr lang="es-ES" dirty="0" err="1"/>
              <a:t>Classic</a:t>
            </a:r>
            <a:endParaRPr lang="es-MX" dirty="0"/>
          </a:p>
        </p:txBody>
      </p:sp>
      <p:sp>
        <p:nvSpPr>
          <p:cNvPr id="3" name="Marcador de texto 2">
            <a:extLst>
              <a:ext uri="{FF2B5EF4-FFF2-40B4-BE49-F238E27FC236}">
                <a16:creationId xmlns:a16="http://schemas.microsoft.com/office/drawing/2014/main" id="{DA2843CC-5545-4981-ADCC-75CEB5E72E71}"/>
              </a:ext>
            </a:extLst>
          </p:cNvPr>
          <p:cNvSpPr>
            <a:spLocks noGrp="1"/>
          </p:cNvSpPr>
          <p:nvPr>
            <p:ph type="body" sz="quarter" idx="10"/>
          </p:nvPr>
        </p:nvSpPr>
        <p:spPr/>
        <p:txBody>
          <a:bodyPr/>
          <a:lstStyle/>
          <a:p>
            <a:endParaRPr lang="es-MX" dirty="0"/>
          </a:p>
        </p:txBody>
      </p:sp>
      <p:sp>
        <p:nvSpPr>
          <p:cNvPr id="4" name="Bildplatzhalter 8">
            <a:extLst>
              <a:ext uri="{FF2B5EF4-FFF2-40B4-BE49-F238E27FC236}">
                <a16:creationId xmlns:a16="http://schemas.microsoft.com/office/drawing/2014/main" id="{A6E276F3-3F5E-4905-8D40-F35101B4CA0C}"/>
              </a:ext>
            </a:extLst>
          </p:cNvPr>
          <p:cNvSpPr txBox="1">
            <a:spLocks/>
          </p:cNvSpPr>
          <p:nvPr/>
        </p:nvSpPr>
        <p:spPr>
          <a:xfrm>
            <a:off x="1524000" y="2025254"/>
            <a:ext cx="9157582" cy="3456384"/>
          </a:xfrm>
          <a:prstGeom prst="rect">
            <a:avLst/>
          </a:prstGeom>
          <a:gradFill flip="none" rotWithShape="1">
            <a:gsLst>
              <a:gs pos="53000">
                <a:srgbClr val="C00000"/>
              </a:gs>
              <a:gs pos="0">
                <a:srgbClr val="5A0606"/>
              </a:gs>
              <a:gs pos="84000">
                <a:schemeClr val="accent1">
                  <a:lumMod val="75000"/>
                  <a:shade val="67500"/>
                  <a:satMod val="115000"/>
                  <a:alpha val="86000"/>
                </a:schemeClr>
              </a:gs>
              <a:gs pos="100000">
                <a:srgbClr val="5A0606"/>
              </a:gs>
            </a:gsLst>
            <a:path path="circle">
              <a:fillToRect t="100000" r="100000"/>
            </a:path>
            <a:tileRect l="-100000" b="-100000"/>
          </a:gradFill>
        </p:spPr>
        <p:txBody>
          <a:bodyPr lIns="68579" tIns="34289" rIns="68579" bIns="34289"/>
          <a:lstStyle/>
          <a:p>
            <a:endParaRPr lang="de-DE" sz="1650" dirty="0"/>
          </a:p>
        </p:txBody>
      </p:sp>
      <p:sp>
        <p:nvSpPr>
          <p:cNvPr id="6" name="Textfeld 11">
            <a:extLst>
              <a:ext uri="{FF2B5EF4-FFF2-40B4-BE49-F238E27FC236}">
                <a16:creationId xmlns:a16="http://schemas.microsoft.com/office/drawing/2014/main" id="{064FEC52-24F8-4BF2-941E-E20C92A8AB3F}"/>
              </a:ext>
            </a:extLst>
          </p:cNvPr>
          <p:cNvSpPr txBox="1"/>
          <p:nvPr/>
        </p:nvSpPr>
        <p:spPr>
          <a:xfrm>
            <a:off x="6375468" y="4645645"/>
            <a:ext cx="3996928" cy="553998"/>
          </a:xfrm>
          <a:prstGeom prst="rect">
            <a:avLst/>
          </a:prstGeom>
          <a:noFill/>
        </p:spPr>
        <p:txBody>
          <a:bodyPr wrap="square" lIns="0" tIns="0" rIns="0" bIns="0" numCol="1" spcCol="179996" rtlCol="0" anchor="t">
            <a:spAutoFit/>
          </a:bodyPr>
          <a:lstStyle/>
          <a:p>
            <a:pPr lvl="0">
              <a:buClr>
                <a:srgbClr val="004F80"/>
              </a:buClr>
              <a:defRPr/>
            </a:pPr>
            <a:endParaRPr lang="de-DE" sz="1200" dirty="0">
              <a:solidFill>
                <a:schemeClr val="bg2"/>
              </a:solidFill>
              <a:latin typeface="Arial" panose="020B0604020202020204" pitchFamily="34" charset="0"/>
              <a:cs typeface="Arial" panose="020B0604020202020204" pitchFamily="34" charset="0"/>
            </a:endParaRPr>
          </a:p>
          <a:p>
            <a:pPr lvl="0">
              <a:buClr>
                <a:srgbClr val="004F80"/>
              </a:buClr>
              <a:defRPr/>
            </a:pPr>
            <a:endParaRPr lang="de-DE" sz="1200" dirty="0">
              <a:solidFill>
                <a:schemeClr val="bg2"/>
              </a:solidFill>
              <a:latin typeface="Arial" panose="020B0604020202020204" pitchFamily="34" charset="0"/>
              <a:cs typeface="Arial" panose="020B0604020202020204" pitchFamily="34" charset="0"/>
            </a:endParaRPr>
          </a:p>
          <a:p>
            <a:endParaRPr lang="de-DE" sz="1200" dirty="0">
              <a:solidFill>
                <a:schemeClr val="bg2"/>
              </a:solidFill>
              <a:latin typeface="Arial" panose="020B0604020202020204" pitchFamily="34" charset="0"/>
              <a:cs typeface="Arial" panose="020B0604020202020204" pitchFamily="34" charset="0"/>
            </a:endParaRPr>
          </a:p>
        </p:txBody>
      </p:sp>
      <p:sp>
        <p:nvSpPr>
          <p:cNvPr id="7" name="Textfeld 12">
            <a:extLst>
              <a:ext uri="{FF2B5EF4-FFF2-40B4-BE49-F238E27FC236}">
                <a16:creationId xmlns:a16="http://schemas.microsoft.com/office/drawing/2014/main" id="{74CBD2ED-75BE-4DF5-8D17-3759A3794ADB}"/>
              </a:ext>
            </a:extLst>
          </p:cNvPr>
          <p:cNvSpPr txBox="1"/>
          <p:nvPr/>
        </p:nvSpPr>
        <p:spPr>
          <a:xfrm>
            <a:off x="2432787" y="5137590"/>
            <a:ext cx="7885360" cy="215444"/>
          </a:xfrm>
          <a:prstGeom prst="rect">
            <a:avLst/>
          </a:prstGeom>
          <a:noFill/>
        </p:spPr>
        <p:txBody>
          <a:bodyPr wrap="square" lIns="0" tIns="0" rIns="0" bIns="0" numCol="1" spcCol="179996" rtlCol="0" anchor="t">
            <a:spAutoFit/>
          </a:bodyPr>
          <a:lstStyle/>
          <a:p>
            <a:pPr>
              <a:buClr>
                <a:srgbClr val="004F80"/>
              </a:buClr>
            </a:pPr>
            <a:r>
              <a:rPr lang="es-ES" sz="1400" dirty="0">
                <a:solidFill>
                  <a:schemeClr val="bg2"/>
                </a:solidFill>
                <a:latin typeface="Arial" panose="020B0604020202020204" pitchFamily="34" charset="0"/>
                <a:cs typeface="Arial" panose="020B0604020202020204" pitchFamily="34" charset="0"/>
              </a:rPr>
              <a:t>Participación a través del concurso de ideas, que tiene lugar cada trimestre del año</a:t>
            </a:r>
            <a:r>
              <a:rPr lang="de-DE" sz="1400" dirty="0">
                <a:solidFill>
                  <a:schemeClr val="bg2"/>
                </a:solidFill>
                <a:latin typeface="Arial" panose="020B0604020202020204" pitchFamily="34" charset="0"/>
                <a:cs typeface="Arial" panose="020B0604020202020204" pitchFamily="34" charset="0"/>
              </a:rPr>
              <a:t>!</a:t>
            </a:r>
          </a:p>
        </p:txBody>
      </p:sp>
      <p:sp>
        <p:nvSpPr>
          <p:cNvPr id="8" name="Oval 13">
            <a:extLst>
              <a:ext uri="{FF2B5EF4-FFF2-40B4-BE49-F238E27FC236}">
                <a16:creationId xmlns:a16="http://schemas.microsoft.com/office/drawing/2014/main" id="{72F7921D-D15A-4C08-86EF-7EB737822EC1}"/>
              </a:ext>
            </a:extLst>
          </p:cNvPr>
          <p:cNvSpPr/>
          <p:nvPr/>
        </p:nvSpPr>
        <p:spPr>
          <a:xfrm>
            <a:off x="2655963" y="2441484"/>
            <a:ext cx="1080000" cy="1080000"/>
          </a:xfrm>
          <a:prstGeom prst="ellipse">
            <a:avLst/>
          </a:prstGeom>
          <a:solidFill>
            <a:schemeClr val="bg2"/>
          </a:solidFill>
          <a:ln w="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650" dirty="0"/>
          </a:p>
        </p:txBody>
      </p:sp>
      <p:sp>
        <p:nvSpPr>
          <p:cNvPr id="9" name="Textplatzhalter 5">
            <a:extLst>
              <a:ext uri="{FF2B5EF4-FFF2-40B4-BE49-F238E27FC236}">
                <a16:creationId xmlns:a16="http://schemas.microsoft.com/office/drawing/2014/main" id="{2A09B37F-515E-48C4-B7AD-1A89FE8D1614}"/>
              </a:ext>
            </a:extLst>
          </p:cNvPr>
          <p:cNvSpPr txBox="1">
            <a:spLocks/>
          </p:cNvSpPr>
          <p:nvPr/>
        </p:nvSpPr>
        <p:spPr>
          <a:xfrm>
            <a:off x="2294631" y="3990154"/>
            <a:ext cx="1996990" cy="861774"/>
          </a:xfrm>
          <a:prstGeom prst="rect">
            <a:avLst/>
          </a:prstGeom>
        </p:spPr>
        <p:txBody>
          <a:bodyPr vert="horz" wrap="square" lIns="0" tIns="0" rIns="0" bIns="0" numCol="1" rtlCol="0">
            <a:spAutoFit/>
          </a:bodyPr>
          <a:lstStyle>
            <a:lvl1pPr marL="0" indent="0" algn="l" defTabSz="914400" rtl="0" eaLnBrk="1" latinLnBrk="0" hangingPunct="1">
              <a:lnSpc>
                <a:spcPts val="2200"/>
              </a:lnSpc>
              <a:spcBef>
                <a:spcPts val="0"/>
              </a:spcBef>
              <a:spcAft>
                <a:spcPts val="1200"/>
              </a:spcAft>
              <a:buClr>
                <a:schemeClr val="accent1"/>
              </a:buClr>
              <a:buFont typeface="Arial" pitchFamily="34" charset="0"/>
              <a:buNone/>
              <a:defRPr sz="1500" b="0" kern="1200">
                <a:solidFill>
                  <a:schemeClr val="accent1"/>
                </a:solidFill>
                <a:latin typeface="Arial" pitchFamily="34" charset="0"/>
                <a:ea typeface="+mn-ea"/>
                <a:cs typeface="Arial" pitchFamily="34" charset="0"/>
              </a:defRPr>
            </a:lvl1pPr>
            <a:lvl2pPr marL="180000" indent="-180000" algn="l" defTabSz="914400" rtl="0" eaLnBrk="1" latinLnBrk="0" hangingPunct="1">
              <a:lnSpc>
                <a:spcPts val="2200"/>
              </a:lnSpc>
              <a:spcBef>
                <a:spcPts val="0"/>
              </a:spcBef>
              <a:spcAft>
                <a:spcPts val="1200"/>
              </a:spcAft>
              <a:buClr>
                <a:schemeClr val="accent1"/>
              </a:buClr>
              <a:buFont typeface="Arial" pitchFamily="34" charset="0"/>
              <a:buChar char="•"/>
              <a:defRPr sz="1600" kern="1200">
                <a:solidFill>
                  <a:schemeClr val="accent1"/>
                </a:solidFill>
                <a:latin typeface="Arial" pitchFamily="34" charset="0"/>
                <a:ea typeface="+mn-ea"/>
                <a:cs typeface="Arial" pitchFamily="34" charset="0"/>
              </a:defRPr>
            </a:lvl2pPr>
            <a:lvl3pPr marL="468000" indent="-252000" algn="l" defTabSz="914400" rtl="0" eaLnBrk="1" latinLnBrk="0" hangingPunct="1">
              <a:lnSpc>
                <a:spcPts val="2200"/>
              </a:lnSpc>
              <a:spcBef>
                <a:spcPts val="0"/>
              </a:spcBef>
              <a:spcAft>
                <a:spcPts val="1200"/>
              </a:spcAft>
              <a:buClr>
                <a:schemeClr val="accent2"/>
              </a:buClr>
              <a:buSzPct val="120000"/>
              <a:buFont typeface="Wingdings 3" charset="2"/>
              <a:buChar char="➔"/>
              <a:defRPr sz="1600" kern="1200">
                <a:solidFill>
                  <a:schemeClr val="accent2"/>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Clr>
                <a:srgbClr val="004F80"/>
              </a:buClr>
              <a:defRPr/>
            </a:pPr>
            <a:r>
              <a:rPr lang="es-ES" sz="1400">
                <a:solidFill>
                  <a:schemeClr val="bg2"/>
                </a:solidFill>
              </a:rPr>
              <a:t>Empresas con ideas de proyectos que tienen un impacto en el desarrollo del país</a:t>
            </a:r>
            <a:endParaRPr lang="de-DE" sz="1400" dirty="0">
              <a:solidFill>
                <a:schemeClr val="bg2"/>
              </a:solidFill>
            </a:endParaRPr>
          </a:p>
        </p:txBody>
      </p:sp>
      <p:sp>
        <p:nvSpPr>
          <p:cNvPr id="10" name="Textplatzhalter 5">
            <a:extLst>
              <a:ext uri="{FF2B5EF4-FFF2-40B4-BE49-F238E27FC236}">
                <a16:creationId xmlns:a16="http://schemas.microsoft.com/office/drawing/2014/main" id="{59F9E122-805B-4614-B336-E91F75535715}"/>
              </a:ext>
            </a:extLst>
          </p:cNvPr>
          <p:cNvSpPr txBox="1">
            <a:spLocks/>
          </p:cNvSpPr>
          <p:nvPr/>
        </p:nvSpPr>
        <p:spPr>
          <a:xfrm>
            <a:off x="4146440" y="3990155"/>
            <a:ext cx="1987064" cy="861774"/>
          </a:xfrm>
          <a:prstGeom prst="rect">
            <a:avLst/>
          </a:prstGeom>
        </p:spPr>
        <p:txBody>
          <a:bodyPr vert="horz" lIns="0" tIns="0" rIns="0" bIns="0" rtlCol="0">
            <a:spAutoFit/>
          </a:bodyPr>
          <a:lstStyle>
            <a:lvl1pPr marL="0" indent="0" algn="l" defTabSz="914400" rtl="0" eaLnBrk="1" latinLnBrk="0" hangingPunct="1">
              <a:lnSpc>
                <a:spcPts val="2200"/>
              </a:lnSpc>
              <a:spcBef>
                <a:spcPts val="0"/>
              </a:spcBef>
              <a:spcAft>
                <a:spcPts val="1200"/>
              </a:spcAft>
              <a:buClr>
                <a:schemeClr val="accent1"/>
              </a:buClr>
              <a:buFont typeface="Arial" pitchFamily="34" charset="0"/>
              <a:buNone/>
              <a:defRPr sz="1600" b="1" kern="1200">
                <a:solidFill>
                  <a:schemeClr val="accent2"/>
                </a:solidFill>
                <a:latin typeface="Arial" pitchFamily="34" charset="0"/>
                <a:ea typeface="+mn-ea"/>
                <a:cs typeface="Arial" pitchFamily="34" charset="0"/>
              </a:defRPr>
            </a:lvl1pPr>
            <a:lvl2pPr marL="180000" indent="-180000" algn="l" defTabSz="914400" rtl="0" eaLnBrk="1" latinLnBrk="0" hangingPunct="1">
              <a:lnSpc>
                <a:spcPts val="2200"/>
              </a:lnSpc>
              <a:spcBef>
                <a:spcPts val="0"/>
              </a:spcBef>
              <a:spcAft>
                <a:spcPts val="1200"/>
              </a:spcAft>
              <a:buClr>
                <a:schemeClr val="accent1"/>
              </a:buClr>
              <a:buFont typeface="Arial" pitchFamily="34" charset="0"/>
              <a:buChar char="•"/>
              <a:defRPr sz="1600" kern="1200">
                <a:solidFill>
                  <a:schemeClr val="accent1"/>
                </a:solidFill>
                <a:latin typeface="Arial" pitchFamily="34" charset="0"/>
                <a:ea typeface="+mn-ea"/>
                <a:cs typeface="Arial" pitchFamily="34" charset="0"/>
              </a:defRPr>
            </a:lvl2pPr>
            <a:lvl3pPr marL="11430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685783">
              <a:lnSpc>
                <a:spcPct val="100000"/>
              </a:lnSpc>
              <a:buClr>
                <a:srgbClr val="004F80"/>
              </a:buClr>
              <a:defRPr/>
            </a:pPr>
            <a:r>
              <a:rPr lang="de-DE" sz="1400" b="0" dirty="0">
                <a:solidFill>
                  <a:schemeClr val="bg2"/>
                </a:solidFill>
              </a:rPr>
              <a:t>100.000 </a:t>
            </a:r>
            <a:r>
              <a:rPr lang="de-DE" sz="1400" b="0" dirty="0" err="1">
                <a:solidFill>
                  <a:schemeClr val="bg2"/>
                </a:solidFill>
              </a:rPr>
              <a:t>hasta</a:t>
            </a:r>
            <a:r>
              <a:rPr lang="de-DE" sz="1400" b="0" dirty="0">
                <a:solidFill>
                  <a:schemeClr val="bg2"/>
                </a:solidFill>
              </a:rPr>
              <a:t> </a:t>
            </a:r>
            <a:br>
              <a:rPr lang="de-DE" sz="1400" b="0" dirty="0">
                <a:solidFill>
                  <a:schemeClr val="bg2"/>
                </a:solidFill>
              </a:rPr>
            </a:br>
            <a:r>
              <a:rPr lang="de-DE" sz="1400" b="0" dirty="0">
                <a:solidFill>
                  <a:schemeClr val="bg2"/>
                </a:solidFill>
              </a:rPr>
              <a:t>2 Mio. </a:t>
            </a:r>
            <a:r>
              <a:rPr lang="de-DE" sz="1400" b="0" dirty="0" err="1">
                <a:solidFill>
                  <a:schemeClr val="bg2"/>
                </a:solidFill>
              </a:rPr>
              <a:t>euros</a:t>
            </a:r>
            <a:r>
              <a:rPr lang="de-DE" sz="1400" b="0" dirty="0">
                <a:solidFill>
                  <a:schemeClr val="bg2"/>
                </a:solidFill>
              </a:rPr>
              <a:t> </a:t>
            </a:r>
            <a:br>
              <a:rPr lang="de-DE" sz="1400" b="0" dirty="0">
                <a:solidFill>
                  <a:schemeClr val="bg2"/>
                </a:solidFill>
              </a:rPr>
            </a:br>
            <a:r>
              <a:rPr lang="de-DE" sz="1400" b="0" dirty="0" err="1">
                <a:solidFill>
                  <a:schemeClr val="bg2"/>
                </a:solidFill>
              </a:rPr>
              <a:t>con</a:t>
            </a:r>
            <a:r>
              <a:rPr lang="de-DE" sz="1400" b="0" dirty="0">
                <a:solidFill>
                  <a:schemeClr val="bg2"/>
                </a:solidFill>
              </a:rPr>
              <a:t> ≥ 50% </a:t>
            </a:r>
            <a:br>
              <a:rPr lang="de-DE" sz="1400" b="0" dirty="0">
                <a:solidFill>
                  <a:schemeClr val="bg2"/>
                </a:solidFill>
              </a:rPr>
            </a:br>
            <a:r>
              <a:rPr lang="de-DE" sz="1400" b="0" dirty="0" err="1">
                <a:solidFill>
                  <a:schemeClr val="bg2"/>
                </a:solidFill>
              </a:rPr>
              <a:t>contribución</a:t>
            </a:r>
            <a:r>
              <a:rPr lang="de-DE" sz="1400" b="0" dirty="0">
                <a:solidFill>
                  <a:schemeClr val="bg2"/>
                </a:solidFill>
              </a:rPr>
              <a:t> </a:t>
            </a:r>
            <a:r>
              <a:rPr lang="de-DE" sz="1400" b="0" dirty="0" err="1">
                <a:solidFill>
                  <a:schemeClr val="bg2"/>
                </a:solidFill>
              </a:rPr>
              <a:t>privada</a:t>
            </a:r>
            <a:endParaRPr lang="de-DE" sz="1400" b="0" dirty="0">
              <a:solidFill>
                <a:schemeClr val="bg2"/>
              </a:solidFill>
            </a:endParaRPr>
          </a:p>
        </p:txBody>
      </p:sp>
      <p:sp>
        <p:nvSpPr>
          <p:cNvPr id="11" name="Textplatzhalter 5">
            <a:extLst>
              <a:ext uri="{FF2B5EF4-FFF2-40B4-BE49-F238E27FC236}">
                <a16:creationId xmlns:a16="http://schemas.microsoft.com/office/drawing/2014/main" id="{4C29876D-9EB5-4D02-9739-9118A67B7729}"/>
              </a:ext>
            </a:extLst>
          </p:cNvPr>
          <p:cNvSpPr txBox="1">
            <a:spLocks/>
          </p:cNvSpPr>
          <p:nvPr/>
        </p:nvSpPr>
        <p:spPr>
          <a:xfrm>
            <a:off x="6220035" y="3990155"/>
            <a:ext cx="1951399" cy="892552"/>
          </a:xfrm>
          <a:prstGeom prst="rect">
            <a:avLst/>
          </a:prstGeom>
        </p:spPr>
        <p:txBody>
          <a:bodyPr vert="horz" wrap="square" lIns="0" tIns="0" rIns="0" bIns="0" rtlCol="0">
            <a:spAutoFit/>
          </a:bodyPr>
          <a:lstStyle>
            <a:lvl1pPr marL="0" indent="0" algn="l" defTabSz="914400" rtl="0" eaLnBrk="1" latinLnBrk="0" hangingPunct="1">
              <a:lnSpc>
                <a:spcPts val="2200"/>
              </a:lnSpc>
              <a:spcBef>
                <a:spcPts val="0"/>
              </a:spcBef>
              <a:spcAft>
                <a:spcPts val="1200"/>
              </a:spcAft>
              <a:buClr>
                <a:schemeClr val="accent1"/>
              </a:buClr>
              <a:buFont typeface="Arial" pitchFamily="34" charset="0"/>
              <a:buNone/>
              <a:defRPr sz="1600" b="1" kern="1200">
                <a:solidFill>
                  <a:schemeClr val="accent2"/>
                </a:solidFill>
                <a:latin typeface="Arial" pitchFamily="34" charset="0"/>
                <a:ea typeface="+mn-ea"/>
                <a:cs typeface="Arial" pitchFamily="34" charset="0"/>
              </a:defRPr>
            </a:lvl1pPr>
            <a:lvl2pPr marL="180000" indent="-180000" algn="l" defTabSz="914400" rtl="0" eaLnBrk="1" latinLnBrk="0" hangingPunct="1">
              <a:lnSpc>
                <a:spcPts val="2200"/>
              </a:lnSpc>
              <a:spcBef>
                <a:spcPts val="0"/>
              </a:spcBef>
              <a:spcAft>
                <a:spcPts val="1200"/>
              </a:spcAft>
              <a:buClr>
                <a:schemeClr val="accent1"/>
              </a:buClr>
              <a:buFont typeface="Arial" pitchFamily="34" charset="0"/>
              <a:buChar char="•"/>
              <a:defRPr sz="1600" kern="1200">
                <a:solidFill>
                  <a:schemeClr val="accent1"/>
                </a:solidFill>
                <a:latin typeface="Arial" pitchFamily="34" charset="0"/>
                <a:ea typeface="+mn-ea"/>
                <a:cs typeface="Arial" pitchFamily="34" charset="0"/>
              </a:defRPr>
            </a:lvl2pPr>
            <a:lvl3pPr marL="11430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Clr>
                <a:srgbClr val="004F80"/>
              </a:buClr>
            </a:pPr>
            <a:r>
              <a:rPr lang="de-DE" sz="1400" b="0" dirty="0">
                <a:solidFill>
                  <a:schemeClr val="bg2"/>
                </a:solidFill>
              </a:rPr>
              <a:t>800.000 Euros </a:t>
            </a:r>
            <a:r>
              <a:rPr lang="de-DE" sz="1400" b="0" dirty="0" err="1">
                <a:solidFill>
                  <a:schemeClr val="bg2"/>
                </a:solidFill>
              </a:rPr>
              <a:t>volumen</a:t>
            </a:r>
            <a:r>
              <a:rPr lang="de-DE" sz="1400" b="0" dirty="0">
                <a:solidFill>
                  <a:schemeClr val="bg2"/>
                </a:solidFill>
              </a:rPr>
              <a:t> </a:t>
            </a:r>
            <a:r>
              <a:rPr lang="de-DE" sz="1400" b="0" dirty="0" err="1">
                <a:solidFill>
                  <a:schemeClr val="bg2"/>
                </a:solidFill>
              </a:rPr>
              <a:t>anual</a:t>
            </a:r>
            <a:r>
              <a:rPr lang="de-DE" sz="1400" b="0" dirty="0">
                <a:solidFill>
                  <a:schemeClr val="bg2"/>
                </a:solidFill>
              </a:rPr>
              <a:t> de </a:t>
            </a:r>
            <a:r>
              <a:rPr lang="de-DE" sz="1400" b="0" dirty="0" err="1">
                <a:solidFill>
                  <a:schemeClr val="bg2"/>
                </a:solidFill>
              </a:rPr>
              <a:t>negocios</a:t>
            </a:r>
            <a:r>
              <a:rPr lang="de-DE" sz="1400" b="0" dirty="0">
                <a:solidFill>
                  <a:schemeClr val="bg2"/>
                </a:solidFill>
              </a:rPr>
              <a:t>, </a:t>
            </a:r>
            <a:br>
              <a:rPr lang="de-DE" sz="1400" b="0" dirty="0">
                <a:solidFill>
                  <a:schemeClr val="bg2"/>
                </a:solidFill>
              </a:rPr>
            </a:br>
            <a:r>
              <a:rPr lang="de-DE" sz="1400" b="0" dirty="0">
                <a:solidFill>
                  <a:schemeClr val="bg2"/>
                </a:solidFill>
              </a:rPr>
              <a:t>8 </a:t>
            </a:r>
            <a:r>
              <a:rPr lang="de-DE" sz="1400" b="0" dirty="0" err="1">
                <a:solidFill>
                  <a:schemeClr val="bg2"/>
                </a:solidFill>
              </a:rPr>
              <a:t>empleados</a:t>
            </a:r>
            <a:r>
              <a:rPr lang="de-DE" sz="1400" b="0" dirty="0">
                <a:solidFill>
                  <a:schemeClr val="bg2"/>
                </a:solidFill>
              </a:rPr>
              <a:t>,</a:t>
            </a:r>
            <a:br>
              <a:rPr lang="de-DE" sz="1400" b="0" dirty="0">
                <a:solidFill>
                  <a:schemeClr val="bg2"/>
                </a:solidFill>
              </a:rPr>
            </a:br>
            <a:r>
              <a:rPr lang="de-DE" sz="1400" b="0" dirty="0">
                <a:solidFill>
                  <a:schemeClr val="bg2"/>
                </a:solidFill>
              </a:rPr>
              <a:t>2 </a:t>
            </a:r>
            <a:r>
              <a:rPr lang="de-DE" sz="1400" b="0" dirty="0" err="1">
                <a:solidFill>
                  <a:schemeClr val="bg2"/>
                </a:solidFill>
              </a:rPr>
              <a:t>años</a:t>
            </a:r>
            <a:r>
              <a:rPr lang="de-DE" sz="1400" b="0" dirty="0">
                <a:solidFill>
                  <a:schemeClr val="bg2"/>
                </a:solidFill>
              </a:rPr>
              <a:t> en el </a:t>
            </a:r>
            <a:r>
              <a:rPr lang="de-DE" sz="1400" b="0" dirty="0" err="1">
                <a:solidFill>
                  <a:schemeClr val="bg2"/>
                </a:solidFill>
              </a:rPr>
              <a:t>mercado</a:t>
            </a:r>
            <a:r>
              <a:rPr lang="de-DE" sz="1400" b="0" dirty="0">
                <a:solidFill>
                  <a:schemeClr val="bg2"/>
                </a:solidFill>
              </a:rPr>
              <a:t> </a:t>
            </a:r>
          </a:p>
        </p:txBody>
      </p:sp>
      <p:sp>
        <p:nvSpPr>
          <p:cNvPr id="12" name="Textplatzhalter 5">
            <a:extLst>
              <a:ext uri="{FF2B5EF4-FFF2-40B4-BE49-F238E27FC236}">
                <a16:creationId xmlns:a16="http://schemas.microsoft.com/office/drawing/2014/main" id="{0A92EF6B-39D9-4CFE-A38E-E1584301957F}"/>
              </a:ext>
            </a:extLst>
          </p:cNvPr>
          <p:cNvSpPr txBox="1">
            <a:spLocks/>
          </p:cNvSpPr>
          <p:nvPr/>
        </p:nvSpPr>
        <p:spPr>
          <a:xfrm>
            <a:off x="8171432" y="3990158"/>
            <a:ext cx="1485000" cy="646331"/>
          </a:xfrm>
          <a:prstGeom prst="rect">
            <a:avLst/>
          </a:prstGeom>
        </p:spPr>
        <p:txBody>
          <a:bodyPr vert="horz" lIns="0" tIns="0" rIns="0" bIns="0" rtlCol="0">
            <a:spAutoFit/>
          </a:bodyPr>
          <a:lstStyle>
            <a:lvl1pPr marL="0" indent="0" algn="l" defTabSz="914400" rtl="0" eaLnBrk="1" latinLnBrk="0" hangingPunct="1">
              <a:lnSpc>
                <a:spcPts val="2200"/>
              </a:lnSpc>
              <a:spcBef>
                <a:spcPts val="0"/>
              </a:spcBef>
              <a:spcAft>
                <a:spcPts val="1200"/>
              </a:spcAft>
              <a:buClr>
                <a:schemeClr val="accent1"/>
              </a:buClr>
              <a:buFont typeface="Arial" pitchFamily="34" charset="0"/>
              <a:buNone/>
              <a:defRPr sz="1600" b="1" kern="1200">
                <a:solidFill>
                  <a:schemeClr val="accent2"/>
                </a:solidFill>
                <a:latin typeface="Arial" pitchFamily="34" charset="0"/>
                <a:ea typeface="+mn-ea"/>
                <a:cs typeface="Arial" pitchFamily="34" charset="0"/>
              </a:defRPr>
            </a:lvl1pPr>
            <a:lvl2pPr marL="180000" indent="-180000" algn="l" defTabSz="914400" rtl="0" eaLnBrk="1" latinLnBrk="0" hangingPunct="1">
              <a:lnSpc>
                <a:spcPts val="2200"/>
              </a:lnSpc>
              <a:spcBef>
                <a:spcPts val="0"/>
              </a:spcBef>
              <a:spcAft>
                <a:spcPts val="1200"/>
              </a:spcAft>
              <a:buClr>
                <a:schemeClr val="accent1"/>
              </a:buClr>
              <a:buFont typeface="Arial" pitchFamily="34" charset="0"/>
              <a:buChar char="•"/>
              <a:defRPr sz="1600" kern="1200">
                <a:solidFill>
                  <a:schemeClr val="accent1"/>
                </a:solidFill>
                <a:latin typeface="Arial" pitchFamily="34" charset="0"/>
                <a:ea typeface="+mn-ea"/>
                <a:cs typeface="Arial" pitchFamily="34" charset="0"/>
              </a:defRPr>
            </a:lvl2pPr>
            <a:lvl3pPr marL="11430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pPr>
            <a:r>
              <a:rPr lang="es-ES" sz="1400" b="0" dirty="0">
                <a:solidFill>
                  <a:schemeClr val="bg2"/>
                </a:solidFill>
              </a:rPr>
              <a:t>Hasta 3 años de duración del proyecto</a:t>
            </a:r>
            <a:endParaRPr lang="de-DE" sz="1400" b="0" dirty="0">
              <a:solidFill>
                <a:schemeClr val="bg2"/>
              </a:solidFill>
            </a:endParaRPr>
          </a:p>
        </p:txBody>
      </p:sp>
      <p:sp>
        <p:nvSpPr>
          <p:cNvPr id="13" name="Oval 19">
            <a:extLst>
              <a:ext uri="{FF2B5EF4-FFF2-40B4-BE49-F238E27FC236}">
                <a16:creationId xmlns:a16="http://schemas.microsoft.com/office/drawing/2014/main" id="{A1096DD8-63F5-4F61-A29A-216F95786C6E}"/>
              </a:ext>
            </a:extLst>
          </p:cNvPr>
          <p:cNvSpPr/>
          <p:nvPr/>
        </p:nvSpPr>
        <p:spPr>
          <a:xfrm>
            <a:off x="4561952" y="2441484"/>
            <a:ext cx="1080000" cy="1080000"/>
          </a:xfrm>
          <a:prstGeom prst="ellipse">
            <a:avLst/>
          </a:prstGeom>
          <a:solidFill>
            <a:schemeClr val="bg2"/>
          </a:solidFill>
          <a:ln w="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650" dirty="0"/>
          </a:p>
        </p:txBody>
      </p:sp>
      <p:sp>
        <p:nvSpPr>
          <p:cNvPr id="14" name="Oval 20">
            <a:extLst>
              <a:ext uri="{FF2B5EF4-FFF2-40B4-BE49-F238E27FC236}">
                <a16:creationId xmlns:a16="http://schemas.microsoft.com/office/drawing/2014/main" id="{8F4B5F70-4407-4E4C-A73E-51FDD7AD7268}"/>
              </a:ext>
            </a:extLst>
          </p:cNvPr>
          <p:cNvSpPr/>
          <p:nvPr/>
        </p:nvSpPr>
        <p:spPr>
          <a:xfrm>
            <a:off x="6467942" y="2441484"/>
            <a:ext cx="1080000" cy="1080000"/>
          </a:xfrm>
          <a:prstGeom prst="ellipse">
            <a:avLst/>
          </a:prstGeom>
          <a:solidFill>
            <a:schemeClr val="bg2"/>
          </a:solidFill>
          <a:ln w="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650" dirty="0"/>
          </a:p>
        </p:txBody>
      </p:sp>
      <p:sp>
        <p:nvSpPr>
          <p:cNvPr id="15" name="Oval 21">
            <a:extLst>
              <a:ext uri="{FF2B5EF4-FFF2-40B4-BE49-F238E27FC236}">
                <a16:creationId xmlns:a16="http://schemas.microsoft.com/office/drawing/2014/main" id="{14A671BD-6622-4154-A657-B2083E320C66}"/>
              </a:ext>
            </a:extLst>
          </p:cNvPr>
          <p:cNvSpPr/>
          <p:nvPr/>
        </p:nvSpPr>
        <p:spPr>
          <a:xfrm>
            <a:off x="8373932" y="2441484"/>
            <a:ext cx="1080000" cy="1080000"/>
          </a:xfrm>
          <a:prstGeom prst="ellipse">
            <a:avLst/>
          </a:prstGeom>
          <a:solidFill>
            <a:schemeClr val="bg2"/>
          </a:solidFill>
          <a:ln w="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650" dirty="0"/>
          </a:p>
        </p:txBody>
      </p:sp>
      <p:pic>
        <p:nvPicPr>
          <p:cNvPr id="16" name="Grafik 22">
            <a:extLst>
              <a:ext uri="{FF2B5EF4-FFF2-40B4-BE49-F238E27FC236}">
                <a16:creationId xmlns:a16="http://schemas.microsoft.com/office/drawing/2014/main" id="{DCF425F9-BC01-4AC5-8722-D868E66910E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70691" y="2640960"/>
            <a:ext cx="459439" cy="612585"/>
          </a:xfrm>
          <a:prstGeom prst="rect">
            <a:avLst/>
          </a:prstGeom>
        </p:spPr>
      </p:pic>
      <p:pic>
        <p:nvPicPr>
          <p:cNvPr id="17" name="Grafik 23">
            <a:extLst>
              <a:ext uri="{FF2B5EF4-FFF2-40B4-BE49-F238E27FC236}">
                <a16:creationId xmlns:a16="http://schemas.microsoft.com/office/drawing/2014/main" id="{5C3B4D1F-282F-4A4D-8F95-33BA63FE093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91234" y="2743066"/>
            <a:ext cx="863806" cy="415907"/>
          </a:xfrm>
          <a:prstGeom prst="rect">
            <a:avLst/>
          </a:prstGeom>
        </p:spPr>
      </p:pic>
      <p:pic>
        <p:nvPicPr>
          <p:cNvPr id="18" name="Grafik 24">
            <a:extLst>
              <a:ext uri="{FF2B5EF4-FFF2-40B4-BE49-F238E27FC236}">
                <a16:creationId xmlns:a16="http://schemas.microsoft.com/office/drawing/2014/main" id="{E09B121E-944D-47F0-9106-FB77378CCD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94909" y="2609790"/>
            <a:ext cx="636032" cy="706702"/>
          </a:xfrm>
          <a:prstGeom prst="rect">
            <a:avLst/>
          </a:prstGeom>
        </p:spPr>
      </p:pic>
      <p:sp>
        <p:nvSpPr>
          <p:cNvPr id="19" name="Textplatzhalter 5">
            <a:extLst>
              <a:ext uri="{FF2B5EF4-FFF2-40B4-BE49-F238E27FC236}">
                <a16:creationId xmlns:a16="http://schemas.microsoft.com/office/drawing/2014/main" id="{094822D0-5FE6-49E2-A8E7-640979A58554}"/>
              </a:ext>
            </a:extLst>
          </p:cNvPr>
          <p:cNvSpPr txBox="1">
            <a:spLocks/>
          </p:cNvSpPr>
          <p:nvPr/>
        </p:nvSpPr>
        <p:spPr>
          <a:xfrm>
            <a:off x="2451234" y="3501562"/>
            <a:ext cx="1538604" cy="811761"/>
          </a:xfrm>
          <a:prstGeom prst="rect">
            <a:avLst/>
          </a:prstGeom>
        </p:spPr>
        <p:txBody>
          <a:bodyPr wrap="square" lIns="0" tIns="0" rIns="0" bIns="0" numCol="1">
            <a:spAutoFit/>
          </a:bodyPr>
          <a:lstStyle>
            <a:lvl1pPr marL="0" indent="0" algn="l" defTabSz="914377" rtl="0" eaLnBrk="1" latinLnBrk="0" hangingPunct="1">
              <a:lnSpc>
                <a:spcPts val="2200"/>
              </a:lnSpc>
              <a:spcBef>
                <a:spcPts val="0"/>
              </a:spcBef>
              <a:spcAft>
                <a:spcPts val="1200"/>
              </a:spcAft>
              <a:buClr>
                <a:schemeClr val="accent1"/>
              </a:buClr>
              <a:buFontTx/>
              <a:buNone/>
              <a:defRPr sz="1600" b="1" kern="1200">
                <a:solidFill>
                  <a:schemeClr val="accent2"/>
                </a:solidFill>
                <a:latin typeface="Arial" pitchFamily="34" charset="0"/>
                <a:ea typeface="+mn-ea"/>
                <a:cs typeface="Arial" pitchFamily="34" charset="0"/>
              </a:defRPr>
            </a:lvl1pPr>
            <a:lvl2pPr marL="179996" indent="-179996" algn="l" defTabSz="914377" rtl="0" eaLnBrk="1" latinLnBrk="0" hangingPunct="1">
              <a:lnSpc>
                <a:spcPts val="2200"/>
              </a:lnSpc>
              <a:spcBef>
                <a:spcPts val="0"/>
              </a:spcBef>
              <a:spcAft>
                <a:spcPts val="1200"/>
              </a:spcAft>
              <a:buClr>
                <a:schemeClr val="accent1"/>
              </a:buClr>
              <a:buFont typeface="Arial" pitchFamily="34" charset="0"/>
              <a:buChar char="•"/>
              <a:defRPr sz="1600" kern="1200">
                <a:solidFill>
                  <a:schemeClr val="accent1"/>
                </a:solidFill>
                <a:latin typeface="Arial" pitchFamily="34" charset="0"/>
                <a:ea typeface="+mn-ea"/>
                <a:cs typeface="Arial" pitchFamily="34" charset="0"/>
              </a:defRPr>
            </a:lvl2pPr>
            <a:lvl3pPr marL="1142971" indent="-228594" algn="l" defTabSz="914377" rtl="0" eaLnBrk="1" latinLnBrk="0" hangingPunct="1">
              <a:spcBef>
                <a:spcPct val="20000"/>
              </a:spcBef>
              <a:buClr>
                <a:schemeClr val="accent1"/>
              </a:buClr>
              <a:buFont typeface="Arial" pitchFamily="34" charset="0"/>
              <a:buChar char="•"/>
              <a:defRPr sz="1900" kern="1200">
                <a:solidFill>
                  <a:schemeClr val="tx1"/>
                </a:solidFill>
                <a:latin typeface="Arial" pitchFamily="34" charset="0"/>
                <a:ea typeface="+mn-ea"/>
                <a:cs typeface="Arial" pitchFamily="34" charset="0"/>
              </a:defRPr>
            </a:lvl3pPr>
            <a:lvl4pPr marL="1600160" indent="-228594" algn="l" defTabSz="914377" rtl="0" eaLnBrk="1" latinLnBrk="0" hangingPunct="1">
              <a:spcBef>
                <a:spcPct val="20000"/>
              </a:spcBef>
              <a:buFont typeface="Arial" pitchFamily="34" charset="0"/>
              <a:buChar char="–"/>
              <a:defRPr sz="1900" kern="1200">
                <a:solidFill>
                  <a:schemeClr val="tx1"/>
                </a:solidFill>
                <a:latin typeface="Arial" pitchFamily="34" charset="0"/>
                <a:ea typeface="+mn-ea"/>
                <a:cs typeface="Arial" pitchFamily="34" charset="0"/>
              </a:defRPr>
            </a:lvl4pPr>
            <a:lvl5pPr marL="2057349" indent="-228594" algn="l" defTabSz="914377" rtl="0" eaLnBrk="1" latinLnBrk="0" hangingPunct="1">
              <a:spcBef>
                <a:spcPct val="20000"/>
              </a:spcBef>
              <a:buFont typeface="Arial" pitchFamily="34" charset="0"/>
              <a:buChar char="»"/>
              <a:defRPr sz="1900" kern="1200">
                <a:solidFill>
                  <a:schemeClr val="tx1"/>
                </a:solidFill>
                <a:latin typeface="Arial" pitchFamily="34" charset="0"/>
                <a:ea typeface="+mn-ea"/>
                <a:cs typeface="Arial" pitchFamily="34"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pPr>
            <a:r>
              <a:rPr lang="de-DE" sz="1425" dirty="0">
                <a:solidFill>
                  <a:schemeClr val="bg2"/>
                </a:solidFill>
              </a:rPr>
              <a:t>GRUPO DESTINATARIO </a:t>
            </a:r>
          </a:p>
          <a:p>
            <a:pPr algn="ctr">
              <a:lnSpc>
                <a:spcPct val="100000"/>
              </a:lnSpc>
            </a:pPr>
            <a:endParaRPr lang="de-DE" sz="1425" b="0" dirty="0">
              <a:solidFill>
                <a:schemeClr val="tx1">
                  <a:lumMod val="85000"/>
                  <a:lumOff val="15000"/>
                </a:schemeClr>
              </a:solidFill>
            </a:endParaRPr>
          </a:p>
        </p:txBody>
      </p:sp>
      <p:sp>
        <p:nvSpPr>
          <p:cNvPr id="20" name="Textplatzhalter 5">
            <a:extLst>
              <a:ext uri="{FF2B5EF4-FFF2-40B4-BE49-F238E27FC236}">
                <a16:creationId xmlns:a16="http://schemas.microsoft.com/office/drawing/2014/main" id="{4BF7A2F6-B08A-4F12-86AB-8D73FE8F692A}"/>
              </a:ext>
            </a:extLst>
          </p:cNvPr>
          <p:cNvSpPr txBox="1">
            <a:spLocks/>
          </p:cNvSpPr>
          <p:nvPr/>
        </p:nvSpPr>
        <p:spPr>
          <a:xfrm>
            <a:off x="4291624" y="3598489"/>
            <a:ext cx="1620663" cy="219291"/>
          </a:xfrm>
          <a:prstGeom prst="rect">
            <a:avLst/>
          </a:prstGeom>
        </p:spPr>
        <p:txBody>
          <a:bodyPr vert="horz" lIns="0" tIns="0" rIns="0" bIns="0" rtlCol="0">
            <a:spAutoFit/>
          </a:bodyPr>
          <a:lstStyle>
            <a:lvl1pPr marL="0" indent="0" algn="l" defTabSz="914400" rtl="0" eaLnBrk="1" latinLnBrk="0" hangingPunct="1">
              <a:lnSpc>
                <a:spcPts val="2200"/>
              </a:lnSpc>
              <a:spcBef>
                <a:spcPts val="0"/>
              </a:spcBef>
              <a:spcAft>
                <a:spcPts val="1200"/>
              </a:spcAft>
              <a:buClr>
                <a:schemeClr val="accent1"/>
              </a:buClr>
              <a:buFont typeface="Arial" pitchFamily="34" charset="0"/>
              <a:buNone/>
              <a:defRPr sz="1600" b="1" kern="1200">
                <a:solidFill>
                  <a:schemeClr val="accent2"/>
                </a:solidFill>
                <a:latin typeface="Arial" pitchFamily="34" charset="0"/>
                <a:ea typeface="+mn-ea"/>
                <a:cs typeface="Arial" pitchFamily="34" charset="0"/>
              </a:defRPr>
            </a:lvl1pPr>
            <a:lvl2pPr marL="180000" indent="-180000" algn="l" defTabSz="914400" rtl="0" eaLnBrk="1" latinLnBrk="0" hangingPunct="1">
              <a:lnSpc>
                <a:spcPts val="2200"/>
              </a:lnSpc>
              <a:spcBef>
                <a:spcPts val="0"/>
              </a:spcBef>
              <a:spcAft>
                <a:spcPts val="1200"/>
              </a:spcAft>
              <a:buClr>
                <a:schemeClr val="accent1"/>
              </a:buClr>
              <a:buFont typeface="Arial" pitchFamily="34" charset="0"/>
              <a:buChar char="•"/>
              <a:defRPr sz="1600" kern="1200">
                <a:solidFill>
                  <a:schemeClr val="accent1"/>
                </a:solidFill>
                <a:latin typeface="Arial" pitchFamily="34" charset="0"/>
                <a:ea typeface="+mn-ea"/>
                <a:cs typeface="Arial" pitchFamily="34" charset="0"/>
              </a:defRPr>
            </a:lvl2pPr>
            <a:lvl3pPr marL="11430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pPr>
            <a:r>
              <a:rPr lang="de-DE" sz="1425" dirty="0">
                <a:solidFill>
                  <a:schemeClr val="bg2"/>
                </a:solidFill>
              </a:rPr>
              <a:t>SUBSIDIO</a:t>
            </a:r>
            <a:endParaRPr lang="de-DE" sz="1425" dirty="0">
              <a:solidFill>
                <a:schemeClr val="tx1">
                  <a:lumMod val="85000"/>
                  <a:lumOff val="15000"/>
                </a:schemeClr>
              </a:solidFill>
            </a:endParaRPr>
          </a:p>
        </p:txBody>
      </p:sp>
      <p:sp>
        <p:nvSpPr>
          <p:cNvPr id="21" name="Textplatzhalter 5">
            <a:extLst>
              <a:ext uri="{FF2B5EF4-FFF2-40B4-BE49-F238E27FC236}">
                <a16:creationId xmlns:a16="http://schemas.microsoft.com/office/drawing/2014/main" id="{D43545E6-0A96-44E5-BD55-82BD4CAA1493}"/>
              </a:ext>
            </a:extLst>
          </p:cNvPr>
          <p:cNvSpPr txBox="1">
            <a:spLocks/>
          </p:cNvSpPr>
          <p:nvPr/>
        </p:nvSpPr>
        <p:spPr>
          <a:xfrm>
            <a:off x="6354721" y="3598489"/>
            <a:ext cx="1241999" cy="219291"/>
          </a:xfrm>
          <a:prstGeom prst="rect">
            <a:avLst/>
          </a:prstGeom>
        </p:spPr>
        <p:txBody>
          <a:bodyPr vert="horz" lIns="0" tIns="0" rIns="0" bIns="0" rtlCol="0">
            <a:spAutoFit/>
          </a:bodyPr>
          <a:lstStyle>
            <a:lvl1pPr marL="0" indent="0" algn="l" defTabSz="914400" rtl="0" eaLnBrk="1" latinLnBrk="0" hangingPunct="1">
              <a:lnSpc>
                <a:spcPts val="2200"/>
              </a:lnSpc>
              <a:spcBef>
                <a:spcPts val="0"/>
              </a:spcBef>
              <a:spcAft>
                <a:spcPts val="1200"/>
              </a:spcAft>
              <a:buClr>
                <a:schemeClr val="accent1"/>
              </a:buClr>
              <a:buFont typeface="Arial" pitchFamily="34" charset="0"/>
              <a:buNone/>
              <a:defRPr sz="1600" b="1" kern="1200">
                <a:solidFill>
                  <a:schemeClr val="accent2"/>
                </a:solidFill>
                <a:latin typeface="Arial" pitchFamily="34" charset="0"/>
                <a:ea typeface="+mn-ea"/>
                <a:cs typeface="Arial" pitchFamily="34" charset="0"/>
              </a:defRPr>
            </a:lvl1pPr>
            <a:lvl2pPr marL="180000" indent="-180000" algn="l" defTabSz="914400" rtl="0" eaLnBrk="1" latinLnBrk="0" hangingPunct="1">
              <a:lnSpc>
                <a:spcPts val="2200"/>
              </a:lnSpc>
              <a:spcBef>
                <a:spcPts val="0"/>
              </a:spcBef>
              <a:spcAft>
                <a:spcPts val="1200"/>
              </a:spcAft>
              <a:buClr>
                <a:schemeClr val="accent1"/>
              </a:buClr>
              <a:buFont typeface="Arial" pitchFamily="34" charset="0"/>
              <a:buChar char="•"/>
              <a:defRPr sz="1600" kern="1200">
                <a:solidFill>
                  <a:schemeClr val="accent1"/>
                </a:solidFill>
                <a:latin typeface="Arial" pitchFamily="34" charset="0"/>
                <a:ea typeface="+mn-ea"/>
                <a:cs typeface="Arial" pitchFamily="34" charset="0"/>
              </a:defRPr>
            </a:lvl2pPr>
            <a:lvl3pPr marL="11430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pPr>
            <a:r>
              <a:rPr lang="de-DE" sz="1425" dirty="0">
                <a:solidFill>
                  <a:schemeClr val="bg2"/>
                </a:solidFill>
              </a:rPr>
              <a:t> CRITERIOS</a:t>
            </a:r>
            <a:endParaRPr lang="de-DE" sz="1425" b="0" dirty="0">
              <a:solidFill>
                <a:schemeClr val="tx1">
                  <a:lumMod val="85000"/>
                  <a:lumOff val="15000"/>
                </a:schemeClr>
              </a:solidFill>
            </a:endParaRPr>
          </a:p>
        </p:txBody>
      </p:sp>
      <p:sp>
        <p:nvSpPr>
          <p:cNvPr id="22" name="Textplatzhalter 5">
            <a:extLst>
              <a:ext uri="{FF2B5EF4-FFF2-40B4-BE49-F238E27FC236}">
                <a16:creationId xmlns:a16="http://schemas.microsoft.com/office/drawing/2014/main" id="{4DF698DF-0318-4E42-90B7-93E503FA6F9C}"/>
              </a:ext>
            </a:extLst>
          </p:cNvPr>
          <p:cNvSpPr txBox="1">
            <a:spLocks/>
          </p:cNvSpPr>
          <p:nvPr/>
        </p:nvSpPr>
        <p:spPr>
          <a:xfrm>
            <a:off x="8171432" y="3598489"/>
            <a:ext cx="1485000" cy="219291"/>
          </a:xfrm>
          <a:prstGeom prst="rect">
            <a:avLst/>
          </a:prstGeom>
        </p:spPr>
        <p:txBody>
          <a:bodyPr vert="horz" lIns="0" tIns="0" rIns="0" bIns="0" rtlCol="0">
            <a:spAutoFit/>
          </a:bodyPr>
          <a:lstStyle>
            <a:lvl1pPr marL="0" indent="0" algn="l" defTabSz="914400" rtl="0" eaLnBrk="1" latinLnBrk="0" hangingPunct="1">
              <a:lnSpc>
                <a:spcPts val="2200"/>
              </a:lnSpc>
              <a:spcBef>
                <a:spcPts val="0"/>
              </a:spcBef>
              <a:spcAft>
                <a:spcPts val="1200"/>
              </a:spcAft>
              <a:buClr>
                <a:schemeClr val="accent1"/>
              </a:buClr>
              <a:buFont typeface="Arial" pitchFamily="34" charset="0"/>
              <a:buNone/>
              <a:defRPr sz="1600" b="1" kern="1200">
                <a:solidFill>
                  <a:schemeClr val="accent2"/>
                </a:solidFill>
                <a:latin typeface="Arial" pitchFamily="34" charset="0"/>
                <a:ea typeface="+mn-ea"/>
                <a:cs typeface="Arial" pitchFamily="34" charset="0"/>
              </a:defRPr>
            </a:lvl1pPr>
            <a:lvl2pPr marL="180000" indent="-180000" algn="l" defTabSz="914400" rtl="0" eaLnBrk="1" latinLnBrk="0" hangingPunct="1">
              <a:lnSpc>
                <a:spcPts val="2200"/>
              </a:lnSpc>
              <a:spcBef>
                <a:spcPts val="0"/>
              </a:spcBef>
              <a:spcAft>
                <a:spcPts val="1200"/>
              </a:spcAft>
              <a:buClr>
                <a:schemeClr val="accent1"/>
              </a:buClr>
              <a:buFont typeface="Arial" pitchFamily="34" charset="0"/>
              <a:buChar char="•"/>
              <a:defRPr sz="1600" kern="1200">
                <a:solidFill>
                  <a:schemeClr val="accent1"/>
                </a:solidFill>
                <a:latin typeface="Arial" pitchFamily="34" charset="0"/>
                <a:ea typeface="+mn-ea"/>
                <a:cs typeface="Arial" pitchFamily="34" charset="0"/>
              </a:defRPr>
            </a:lvl2pPr>
            <a:lvl3pPr marL="11430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pPr>
            <a:r>
              <a:rPr lang="de-DE" sz="1425" dirty="0">
                <a:solidFill>
                  <a:schemeClr val="bg2"/>
                </a:solidFill>
              </a:rPr>
              <a:t>DURACIÓN</a:t>
            </a:r>
            <a:endParaRPr lang="de-DE" sz="1425" b="0" dirty="0">
              <a:solidFill>
                <a:schemeClr val="tx1">
                  <a:lumMod val="85000"/>
                  <a:lumOff val="15000"/>
                </a:schemeClr>
              </a:solidFill>
            </a:endParaRPr>
          </a:p>
        </p:txBody>
      </p:sp>
      <p:pic>
        <p:nvPicPr>
          <p:cNvPr id="23" name="Grafik 18">
            <a:extLst>
              <a:ext uri="{FF2B5EF4-FFF2-40B4-BE49-F238E27FC236}">
                <a16:creationId xmlns:a16="http://schemas.microsoft.com/office/drawing/2014/main" id="{9BE13432-10DF-4C79-A7B1-CE955C61EB2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61934" y="2788960"/>
            <a:ext cx="756083" cy="464582"/>
          </a:xfrm>
          <a:prstGeom prst="rect">
            <a:avLst/>
          </a:prstGeom>
        </p:spPr>
      </p:pic>
      <p:grpSp>
        <p:nvGrpSpPr>
          <p:cNvPr id="24" name="Gruppieren 30">
            <a:extLst>
              <a:ext uri="{FF2B5EF4-FFF2-40B4-BE49-F238E27FC236}">
                <a16:creationId xmlns:a16="http://schemas.microsoft.com/office/drawing/2014/main" id="{715CA1C8-5423-416D-9786-A512EC3BED9F}"/>
              </a:ext>
            </a:extLst>
          </p:cNvPr>
          <p:cNvGrpSpPr/>
          <p:nvPr/>
        </p:nvGrpSpPr>
        <p:grpSpPr>
          <a:xfrm>
            <a:off x="2655964" y="3915054"/>
            <a:ext cx="6789062" cy="0"/>
            <a:chOff x="1509284" y="4077072"/>
            <a:chExt cx="9052083" cy="0"/>
          </a:xfrm>
        </p:grpSpPr>
        <p:cxnSp>
          <p:nvCxnSpPr>
            <p:cNvPr id="25" name="Gerade Verbindung 31">
              <a:extLst>
                <a:ext uri="{FF2B5EF4-FFF2-40B4-BE49-F238E27FC236}">
                  <a16:creationId xmlns:a16="http://schemas.microsoft.com/office/drawing/2014/main" id="{031DE77F-8574-4A31-9B83-BBF2BA02FF6A}"/>
                </a:ext>
              </a:extLst>
            </p:cNvPr>
            <p:cNvCxnSpPr>
              <a:cxnSpLocks/>
            </p:cNvCxnSpPr>
            <p:nvPr/>
          </p:nvCxnSpPr>
          <p:spPr>
            <a:xfrm>
              <a:off x="1509284" y="4077072"/>
              <a:ext cx="144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Gerade Verbindung 32">
              <a:extLst>
                <a:ext uri="{FF2B5EF4-FFF2-40B4-BE49-F238E27FC236}">
                  <a16:creationId xmlns:a16="http://schemas.microsoft.com/office/drawing/2014/main" id="{214B3AE8-B979-4E07-A9CD-A8B9D9D8EBEE}"/>
                </a:ext>
              </a:extLst>
            </p:cNvPr>
            <p:cNvCxnSpPr>
              <a:cxnSpLocks/>
            </p:cNvCxnSpPr>
            <p:nvPr/>
          </p:nvCxnSpPr>
          <p:spPr>
            <a:xfrm>
              <a:off x="4062479" y="4077072"/>
              <a:ext cx="144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Gerade Verbindung 33">
              <a:extLst>
                <a:ext uri="{FF2B5EF4-FFF2-40B4-BE49-F238E27FC236}">
                  <a16:creationId xmlns:a16="http://schemas.microsoft.com/office/drawing/2014/main" id="{AD3C63A6-37B7-4E94-8100-8FF862984840}"/>
                </a:ext>
              </a:extLst>
            </p:cNvPr>
            <p:cNvCxnSpPr>
              <a:cxnSpLocks/>
            </p:cNvCxnSpPr>
            <p:nvPr/>
          </p:nvCxnSpPr>
          <p:spPr>
            <a:xfrm>
              <a:off x="6600216" y="4077072"/>
              <a:ext cx="144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Gerade Verbindung 34">
              <a:extLst>
                <a:ext uri="{FF2B5EF4-FFF2-40B4-BE49-F238E27FC236}">
                  <a16:creationId xmlns:a16="http://schemas.microsoft.com/office/drawing/2014/main" id="{7498509C-4A2B-412C-A1D9-D4161BCE7775}"/>
                </a:ext>
              </a:extLst>
            </p:cNvPr>
            <p:cNvCxnSpPr>
              <a:cxnSpLocks/>
            </p:cNvCxnSpPr>
            <p:nvPr/>
          </p:nvCxnSpPr>
          <p:spPr>
            <a:xfrm>
              <a:off x="9121367" y="4077072"/>
              <a:ext cx="144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29" name="Gerade Verbindung mit Pfeil 35">
            <a:extLst>
              <a:ext uri="{FF2B5EF4-FFF2-40B4-BE49-F238E27FC236}">
                <a16:creationId xmlns:a16="http://schemas.microsoft.com/office/drawing/2014/main" id="{85F44913-C2CA-4258-B25B-FD3941912800}"/>
              </a:ext>
            </a:extLst>
          </p:cNvPr>
          <p:cNvCxnSpPr>
            <a:cxnSpLocks/>
          </p:cNvCxnSpPr>
          <p:nvPr/>
        </p:nvCxnSpPr>
        <p:spPr>
          <a:xfrm>
            <a:off x="2109238" y="5212610"/>
            <a:ext cx="260787" cy="0"/>
          </a:xfrm>
          <a:prstGeom prst="straightConnector1">
            <a:avLst/>
          </a:prstGeom>
          <a:ln w="25400">
            <a:solidFill>
              <a:schemeClr val="bg1"/>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30" name="Oval 15">
            <a:extLst>
              <a:ext uri="{FF2B5EF4-FFF2-40B4-BE49-F238E27FC236}">
                <a16:creationId xmlns:a16="http://schemas.microsoft.com/office/drawing/2014/main" id="{754119CD-94D3-471D-BE3A-B47F61C50E46}"/>
              </a:ext>
            </a:extLst>
          </p:cNvPr>
          <p:cNvSpPr/>
          <p:nvPr/>
        </p:nvSpPr>
        <p:spPr>
          <a:xfrm>
            <a:off x="9484670" y="4659175"/>
            <a:ext cx="1251461" cy="1265602"/>
          </a:xfrm>
          <a:prstGeom prst="ellipse">
            <a:avLst/>
          </a:prstGeom>
          <a:solidFill>
            <a:schemeClr val="bg2"/>
          </a:solidFill>
          <a:ln>
            <a:noFill/>
          </a:ln>
          <a:effectLst>
            <a:outerShdw blurRad="114300" dist="38100" dir="1134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50" dirty="0"/>
          </a:p>
        </p:txBody>
      </p:sp>
      <p:sp>
        <p:nvSpPr>
          <p:cNvPr id="31" name="Textfeld 1">
            <a:extLst>
              <a:ext uri="{FF2B5EF4-FFF2-40B4-BE49-F238E27FC236}">
                <a16:creationId xmlns:a16="http://schemas.microsoft.com/office/drawing/2014/main" id="{DC3149C0-E236-424E-8E97-5BF9957D81F0}"/>
              </a:ext>
            </a:extLst>
          </p:cNvPr>
          <p:cNvSpPr txBox="1"/>
          <p:nvPr/>
        </p:nvSpPr>
        <p:spPr>
          <a:xfrm rot="20770542">
            <a:off x="9665339" y="4793306"/>
            <a:ext cx="1163714" cy="830997"/>
          </a:xfrm>
          <a:prstGeom prst="rect">
            <a:avLst/>
          </a:prstGeom>
          <a:noFill/>
        </p:spPr>
        <p:txBody>
          <a:bodyPr wrap="square" rtlCol="0">
            <a:spAutoFit/>
          </a:bodyPr>
          <a:lstStyle/>
          <a:p>
            <a:r>
              <a:rPr lang="de-DE" sz="1600" dirty="0">
                <a:solidFill>
                  <a:srgbClr val="DA0000"/>
                </a:solidFill>
              </a:rPr>
              <a:t>NUEVO: </a:t>
            </a:r>
            <a:r>
              <a:rPr lang="de-DE" sz="1600" dirty="0" err="1">
                <a:solidFill>
                  <a:srgbClr val="DA0000"/>
                </a:solidFill>
              </a:rPr>
              <a:t>empresas</a:t>
            </a:r>
            <a:r>
              <a:rPr lang="de-DE" sz="1600" dirty="0">
                <a:solidFill>
                  <a:srgbClr val="DA0000"/>
                </a:solidFill>
              </a:rPr>
              <a:t> </a:t>
            </a:r>
            <a:r>
              <a:rPr lang="de-DE" sz="1600" dirty="0" err="1">
                <a:solidFill>
                  <a:srgbClr val="DA0000"/>
                </a:solidFill>
              </a:rPr>
              <a:t>locales</a:t>
            </a:r>
            <a:endParaRPr lang="de-DE" sz="1600" dirty="0">
              <a:solidFill>
                <a:srgbClr val="DA0000"/>
              </a:solidFill>
            </a:endParaRPr>
          </a:p>
        </p:txBody>
      </p:sp>
    </p:spTree>
    <p:custDataLst>
      <p:tags r:id="rId1"/>
    </p:custDataLst>
    <p:extLst>
      <p:ext uri="{BB962C8B-B14F-4D97-AF65-F5344CB8AC3E}">
        <p14:creationId xmlns:p14="http://schemas.microsoft.com/office/powerpoint/2010/main" val="2397909282"/>
      </p:ext>
    </p:extLst>
  </p:cSld>
  <p:clrMapOvr>
    <a:masterClrMapping/>
  </p:clrMapOvr>
  <mc:AlternateContent xmlns:mc="http://schemas.openxmlformats.org/markup-compatibility/2006" xmlns:p14="http://schemas.microsoft.com/office/powerpoint/2010/main">
    <mc:Choice Requires="p14">
      <p:transition spd="slow" p14:dur="20000" advClick="0" advTm="11314"/>
    </mc:Choice>
    <mc:Fallback xmlns="">
      <p:transition spd="slow" advClick="0" advTm="1131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10"/>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nodeType="afterEffect">
                                  <p:stCondLst>
                                    <p:cond delay="0"/>
                                  </p:stCondLst>
                                  <p:childTnLst>
                                    <p:set>
                                      <p:cBhvr>
                                        <p:cTn id="12" dur="1" fill="hold">
                                          <p:stCondLst>
                                            <p:cond delay="0"/>
                                          </p:stCondLst>
                                        </p:cTn>
                                        <p:tgtEl>
                                          <p:spTgt spid="11">
                                            <p:txEl>
                                              <p:pRg st="0" end="0"/>
                                            </p:txEl>
                                          </p:spTgt>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nodeType="afterEffect">
                                  <p:stCondLst>
                                    <p:cond delay="0"/>
                                  </p:stCondLst>
                                  <p:childTnLst>
                                    <p:set>
                                      <p:cBhvr>
                                        <p:cTn id="15"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1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27437" y="4097218"/>
            <a:ext cx="4340565" cy="27607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el 4"/>
          <p:cNvSpPr>
            <a:spLocks noGrp="1"/>
          </p:cNvSpPr>
          <p:nvPr>
            <p:ph type="title"/>
          </p:nvPr>
        </p:nvSpPr>
        <p:spPr>
          <a:xfrm>
            <a:off x="2243141" y="1199447"/>
            <a:ext cx="7237411" cy="446020"/>
          </a:xfrm>
        </p:spPr>
        <p:txBody>
          <a:bodyPr/>
          <a:lstStyle/>
          <a:p>
            <a:pPr lvl="0"/>
            <a:r>
              <a:rPr lang="de-DE" dirty="0"/>
              <a:t>¡Contáctenos!</a:t>
            </a:r>
          </a:p>
        </p:txBody>
      </p:sp>
      <p:sp>
        <p:nvSpPr>
          <p:cNvPr id="6" name="Textplatzhalter 5"/>
          <p:cNvSpPr>
            <a:spLocks noGrp="1"/>
          </p:cNvSpPr>
          <p:nvPr>
            <p:ph type="body" sz="quarter" idx="10"/>
          </p:nvPr>
        </p:nvSpPr>
        <p:spPr/>
        <p:txBody>
          <a:bodyPr/>
          <a:lstStyle/>
          <a:p>
            <a:pPr>
              <a:lnSpc>
                <a:spcPts val="2000"/>
              </a:lnSpc>
              <a:spcAft>
                <a:spcPts val="0"/>
              </a:spcAft>
            </a:pPr>
            <a:r>
              <a:rPr lang="es-ES" b="0" dirty="0">
                <a:solidFill>
                  <a:schemeClr val="accent1"/>
                </a:solidFill>
              </a:rPr>
              <a:t>Cooperación con Sector Privado GIZ México</a:t>
            </a:r>
          </a:p>
          <a:p>
            <a:pPr>
              <a:lnSpc>
                <a:spcPts val="2000"/>
              </a:lnSpc>
              <a:spcAft>
                <a:spcPts val="0"/>
              </a:spcAft>
            </a:pPr>
            <a:endParaRPr lang="es-ES" b="0" dirty="0">
              <a:solidFill>
                <a:schemeClr val="accent1"/>
              </a:solidFill>
            </a:endParaRPr>
          </a:p>
          <a:p>
            <a:pPr>
              <a:lnSpc>
                <a:spcPts val="2000"/>
              </a:lnSpc>
              <a:spcAft>
                <a:spcPts val="0"/>
              </a:spcAft>
            </a:pPr>
            <a:r>
              <a:rPr lang="es-ES" b="0" dirty="0" err="1">
                <a:solidFill>
                  <a:schemeClr val="accent1"/>
                </a:solidFill>
                <a:hlinkClick r:id="rId4"/>
              </a:rPr>
              <a:t>sectorprivadomexico@giz.de</a:t>
            </a:r>
            <a:endParaRPr lang="es-ES" b="0" dirty="0">
              <a:solidFill>
                <a:schemeClr val="accent1"/>
              </a:solidFill>
            </a:endParaRPr>
          </a:p>
          <a:p>
            <a:pPr>
              <a:lnSpc>
                <a:spcPts val="2000"/>
              </a:lnSpc>
              <a:spcAft>
                <a:spcPts val="0"/>
              </a:spcAft>
            </a:pPr>
            <a:endParaRPr lang="de-DE" b="0" dirty="0">
              <a:solidFill>
                <a:schemeClr val="accent1"/>
              </a:solidFill>
            </a:endParaRPr>
          </a:p>
          <a:p>
            <a:pPr>
              <a:lnSpc>
                <a:spcPts val="2000"/>
              </a:lnSpc>
              <a:spcAft>
                <a:spcPts val="0"/>
              </a:spcAft>
            </a:pPr>
            <a:endParaRPr lang="de-DE" b="0" dirty="0">
              <a:solidFill>
                <a:schemeClr val="accent1"/>
              </a:solidFill>
            </a:endParaRPr>
          </a:p>
          <a:p>
            <a:pPr>
              <a:lnSpc>
                <a:spcPts val="2000"/>
              </a:lnSpc>
              <a:spcAft>
                <a:spcPts val="0"/>
              </a:spcAft>
            </a:pPr>
            <a:r>
              <a:rPr lang="de-DE" b="0" dirty="0">
                <a:solidFill>
                  <a:schemeClr val="accent1"/>
                </a:solidFill>
              </a:rPr>
              <a:t>Deutsche Gesellschaft für Internationale Zusammenarbeit (GIZ) GmbH</a:t>
            </a:r>
          </a:p>
          <a:p>
            <a:pPr>
              <a:lnSpc>
                <a:spcPts val="2000"/>
              </a:lnSpc>
              <a:spcAft>
                <a:spcPts val="0"/>
              </a:spcAft>
            </a:pPr>
            <a:r>
              <a:rPr lang="es-ES" b="0" dirty="0">
                <a:solidFill>
                  <a:schemeClr val="accent1"/>
                </a:solidFill>
              </a:rPr>
              <a:t>Cooperación Alemana al Desarrollo Sustentable en México</a:t>
            </a:r>
          </a:p>
          <a:p>
            <a:pPr>
              <a:lnSpc>
                <a:spcPts val="2000"/>
              </a:lnSpc>
              <a:spcAft>
                <a:spcPts val="0"/>
              </a:spcAft>
            </a:pPr>
            <a:endParaRPr lang="de-DE" b="0" dirty="0">
              <a:solidFill>
                <a:schemeClr val="accent1"/>
              </a:solidFill>
            </a:endParaRPr>
          </a:p>
          <a:p>
            <a:pPr>
              <a:lnSpc>
                <a:spcPts val="2000"/>
              </a:lnSpc>
              <a:spcAft>
                <a:spcPts val="0"/>
              </a:spcAft>
            </a:pPr>
            <a:endParaRPr lang="de-DE" b="0" dirty="0">
              <a:solidFill>
                <a:schemeClr val="accent1"/>
              </a:solidFill>
            </a:endParaRPr>
          </a:p>
          <a:p>
            <a:pPr>
              <a:lnSpc>
                <a:spcPts val="2000"/>
              </a:lnSpc>
              <a:spcAft>
                <a:spcPts val="0"/>
              </a:spcAft>
            </a:pPr>
            <a:r>
              <a:rPr lang="de-DE" b="0" dirty="0">
                <a:solidFill>
                  <a:schemeClr val="accent1"/>
                </a:solidFill>
                <a:hlinkClick r:id="rId5"/>
              </a:rPr>
              <a:t>www.develoPPP.de/en</a:t>
            </a:r>
            <a:endParaRPr lang="de-DE" b="0" dirty="0">
              <a:solidFill>
                <a:schemeClr val="accent1"/>
              </a:solidFill>
            </a:endParaRPr>
          </a:p>
          <a:p>
            <a:pPr>
              <a:lnSpc>
                <a:spcPts val="2000"/>
              </a:lnSpc>
              <a:spcAft>
                <a:spcPts val="0"/>
              </a:spcAft>
            </a:pPr>
            <a:endParaRPr lang="de-DE" b="0" dirty="0">
              <a:solidFill>
                <a:schemeClr val="accent1"/>
              </a:solidFill>
            </a:endParaRPr>
          </a:p>
        </p:txBody>
      </p:sp>
      <p:pic>
        <p:nvPicPr>
          <p:cNvPr id="8" name="Bildplatzhalter 1"/>
          <p:cNvPicPr>
            <a:picLocks noChangeAspect="1"/>
          </p:cNvPicPr>
          <p:nvPr/>
        </p:nvPicPr>
        <p:blipFill>
          <a:blip r:embed="rId6">
            <a:extLst>
              <a:ext uri="{28A0092B-C50C-407E-A947-70E740481C1C}">
                <a14:useLocalDpi xmlns:a14="http://schemas.microsoft.com/office/drawing/2010/main" val="0"/>
              </a:ext>
            </a:extLst>
          </a:blip>
          <a:srcRect l="2240" r="2240"/>
          <a:stretch>
            <a:fillRect/>
          </a:stretch>
        </p:blipFill>
        <p:spPr>
          <a:xfrm>
            <a:off x="8904000" y="44624"/>
            <a:ext cx="1397000" cy="609600"/>
          </a:xfrm>
          <a:prstGeom prst="rect">
            <a:avLst/>
          </a:prstGeom>
          <a:blipFill dpi="0" rotWithShape="1">
            <a:blip r:embed="rId6">
              <a:extLst>
                <a:ext uri="{28A0092B-C50C-407E-A947-70E740481C1C}">
                  <a14:useLocalDpi xmlns:a14="http://schemas.microsoft.com/office/drawing/2010/main" val="0"/>
                </a:ext>
              </a:extLst>
            </a:blip>
            <a:srcRect/>
            <a:stretch>
              <a:fillRect/>
            </a:stretch>
          </a:blipFill>
        </p:spPr>
      </p:pic>
    </p:spTree>
    <p:extLst>
      <p:ext uri="{BB962C8B-B14F-4D97-AF65-F5344CB8AC3E}">
        <p14:creationId xmlns:p14="http://schemas.microsoft.com/office/powerpoint/2010/main" val="2569243158"/>
      </p:ext>
    </p:extLst>
  </p:cSld>
  <p:clrMapOvr>
    <a:masterClrMapping/>
  </p:clrMapOvr>
  <mc:AlternateContent xmlns:mc="http://schemas.openxmlformats.org/markup-compatibility/2006" xmlns:p14="http://schemas.microsoft.com/office/powerpoint/2010/main">
    <mc:Choice Requires="p14">
      <p:transition spd="slow" p14:dur="20000" advClick="0" advTm="15841"/>
    </mc:Choice>
    <mc:Fallback xmlns="">
      <p:transition spd="slow" advClick="0" advTm="15841"/>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244000" y="2711156"/>
            <a:ext cx="7704000" cy="461665"/>
          </a:xfrm>
        </p:spPr>
        <p:txBody>
          <a:bodyPr/>
          <a:lstStyle/>
          <a:p>
            <a:r>
              <a:rPr lang="de-DE" dirty="0">
                <a:latin typeface="Times"/>
                <a:cs typeface="Times"/>
              </a:rPr>
              <a:t>Muchas gracias por su atención</a:t>
            </a:r>
            <a:r>
              <a:rPr lang="de-DE" b="1" dirty="0">
                <a:latin typeface="Times"/>
                <a:cs typeface="Times"/>
              </a:rPr>
              <a:t>.</a:t>
            </a:r>
          </a:p>
        </p:txBody>
      </p:sp>
      <p:sp>
        <p:nvSpPr>
          <p:cNvPr id="7" name="Untertitel 6"/>
          <p:cNvSpPr>
            <a:spLocks noGrp="1"/>
          </p:cNvSpPr>
          <p:nvPr>
            <p:ph type="subTitle" idx="1"/>
          </p:nvPr>
        </p:nvSpPr>
        <p:spPr>
          <a:xfrm>
            <a:off x="2243140" y="3211939"/>
            <a:ext cx="7704137" cy="415498"/>
          </a:xfrm>
        </p:spPr>
        <p:txBody>
          <a:bodyPr/>
          <a:lstStyle/>
          <a:p>
            <a:r>
              <a:rPr lang="de-DE" dirty="0">
                <a:latin typeface="Times"/>
                <a:cs typeface="Times"/>
              </a:rPr>
              <a:t>Nos complacerá recibir sus ideas.</a:t>
            </a:r>
          </a:p>
        </p:txBody>
      </p:sp>
      <p:pic>
        <p:nvPicPr>
          <p:cNvPr id="5" name="Bildplatzhalter 1"/>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2240" r="2240"/>
          <a:stretch>
            <a:fillRect/>
          </a:stretch>
        </p:blipFill>
        <p:spPr>
          <a:prstGeom prst="rect">
            <a:avLst/>
          </a:prstGeom>
          <a:blipFill dpi="0" rotWithShape="1">
            <a:blip r:embed="rId3">
              <a:extLst>
                <a:ext uri="{28A0092B-C50C-407E-A947-70E740481C1C}">
                  <a14:useLocalDpi xmlns:a14="http://schemas.microsoft.com/office/drawing/2010/main" val="0"/>
                </a:ext>
              </a:extLst>
            </a:blip>
            <a:srcRect/>
            <a:stretch>
              <a:fillRect/>
            </a:stretch>
          </a:blipFill>
        </p:spPr>
      </p:pic>
    </p:spTree>
    <p:extLst>
      <p:ext uri="{BB962C8B-B14F-4D97-AF65-F5344CB8AC3E}">
        <p14:creationId xmlns:p14="http://schemas.microsoft.com/office/powerpoint/2010/main" val="4160090262"/>
      </p:ext>
    </p:extLst>
  </p:cSld>
  <p:clrMapOvr>
    <a:masterClrMapping/>
  </p:clrMapOvr>
  <mc:AlternateContent xmlns:mc="http://schemas.openxmlformats.org/markup-compatibility/2006" xmlns:p14="http://schemas.microsoft.com/office/powerpoint/2010/main">
    <mc:Choice Requires="p14">
      <p:transition spd="slow" p14:dur="20000" advClick="0" advTm="9608"/>
    </mc:Choice>
    <mc:Fallback xmlns="">
      <p:transition spd="slow" advClick="0" advTm="9608"/>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7B58959D-3442-4668-912F-1D0EC3324454}"/>
              </a:ext>
            </a:extLst>
          </p:cNvPr>
          <p:cNvSpPr>
            <a:spLocks noGrp="1"/>
          </p:cNvSpPr>
          <p:nvPr>
            <p:ph type="title"/>
          </p:nvPr>
        </p:nvSpPr>
        <p:spPr>
          <a:xfrm>
            <a:off x="933131" y="2699167"/>
            <a:ext cx="10628948" cy="646331"/>
          </a:xfrm>
        </p:spPr>
        <p:txBody>
          <a:bodyPr/>
          <a:lstStyle/>
          <a:p>
            <a:r>
              <a:rPr lang="es-ES" sz="4000" dirty="0">
                <a:solidFill>
                  <a:srgbClr val="C00000"/>
                </a:solidFill>
              </a:rPr>
              <a:t>Alianza Mexicana Alemana de Cambio Climático</a:t>
            </a:r>
            <a:endParaRPr lang="es-MX" sz="4000" dirty="0">
              <a:solidFill>
                <a:srgbClr val="C00000"/>
              </a:solidFill>
            </a:endParaRPr>
          </a:p>
        </p:txBody>
      </p:sp>
    </p:spTree>
    <p:extLst>
      <p:ext uri="{BB962C8B-B14F-4D97-AF65-F5344CB8AC3E}">
        <p14:creationId xmlns:p14="http://schemas.microsoft.com/office/powerpoint/2010/main" val="144848883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leichschenkliges Dreieck 6"/>
          <p:cNvSpPr/>
          <p:nvPr/>
        </p:nvSpPr>
        <p:spPr bwMode="auto">
          <a:xfrm>
            <a:off x="295953" y="702487"/>
            <a:ext cx="6647108" cy="1445289"/>
          </a:xfrm>
          <a:custGeom>
            <a:avLst/>
            <a:gdLst>
              <a:gd name="connsiteX0" fmla="*/ 0 w 7099327"/>
              <a:gd name="connsiteY0" fmla="*/ 2205927 h 2205927"/>
              <a:gd name="connsiteX1" fmla="*/ 3549664 w 7099327"/>
              <a:gd name="connsiteY1" fmla="*/ 0 h 2205927"/>
              <a:gd name="connsiteX2" fmla="*/ 7099327 w 7099327"/>
              <a:gd name="connsiteY2" fmla="*/ 2205927 h 2205927"/>
              <a:gd name="connsiteX3" fmla="*/ 0 w 7099327"/>
              <a:gd name="connsiteY3" fmla="*/ 2205927 h 2205927"/>
              <a:gd name="connsiteX0" fmla="*/ 0 w 7099327"/>
              <a:gd name="connsiteY0" fmla="*/ 1427328 h 1427328"/>
              <a:gd name="connsiteX1" fmla="*/ 3594931 w 7099327"/>
              <a:gd name="connsiteY1" fmla="*/ 0 h 1427328"/>
              <a:gd name="connsiteX2" fmla="*/ 7099327 w 7099327"/>
              <a:gd name="connsiteY2" fmla="*/ 1427328 h 1427328"/>
              <a:gd name="connsiteX3" fmla="*/ 0 w 7099327"/>
              <a:gd name="connsiteY3" fmla="*/ 1427328 h 1427328"/>
            </a:gdLst>
            <a:ahLst/>
            <a:cxnLst>
              <a:cxn ang="0">
                <a:pos x="connsiteX0" y="connsiteY0"/>
              </a:cxn>
              <a:cxn ang="0">
                <a:pos x="connsiteX1" y="connsiteY1"/>
              </a:cxn>
              <a:cxn ang="0">
                <a:pos x="connsiteX2" y="connsiteY2"/>
              </a:cxn>
              <a:cxn ang="0">
                <a:pos x="connsiteX3" y="connsiteY3"/>
              </a:cxn>
            </a:cxnLst>
            <a:rect l="l" t="t" r="r" b="b"/>
            <a:pathLst>
              <a:path w="7099327" h="1427328">
                <a:moveTo>
                  <a:pt x="0" y="1427328"/>
                </a:moveTo>
                <a:lnTo>
                  <a:pt x="3594931" y="0"/>
                </a:lnTo>
                <a:lnTo>
                  <a:pt x="7099327" y="1427328"/>
                </a:lnTo>
                <a:lnTo>
                  <a:pt x="0" y="1427328"/>
                </a:lnTo>
                <a:close/>
              </a:path>
            </a:pathLst>
          </a:custGeom>
          <a:solidFill>
            <a:srgbClr val="C80F0F"/>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de-DE" sz="1400" dirty="0">
              <a:solidFill>
                <a:schemeClr val="bg1"/>
              </a:solidFill>
            </a:endParaRPr>
          </a:p>
          <a:p>
            <a:pPr algn="ctr"/>
            <a:endParaRPr lang="de-DE" sz="1000" dirty="0">
              <a:solidFill>
                <a:schemeClr val="bg1"/>
              </a:solidFill>
            </a:endParaRPr>
          </a:p>
          <a:p>
            <a:pPr algn="ctr"/>
            <a:endParaRPr lang="de-DE" sz="1000" dirty="0">
              <a:solidFill>
                <a:schemeClr val="bg1"/>
              </a:solidFill>
            </a:endParaRPr>
          </a:p>
          <a:p>
            <a:pPr algn="ctr"/>
            <a:r>
              <a:rPr lang="de-DE" sz="2800" dirty="0">
                <a:solidFill>
                  <a:schemeClr val="bg1"/>
                </a:solidFill>
              </a:rPr>
              <a:t>Impacto</a:t>
            </a:r>
          </a:p>
          <a:p>
            <a:pPr algn="ctr"/>
            <a:r>
              <a:rPr lang="de-DE" sz="1400" dirty="0">
                <a:solidFill>
                  <a:schemeClr val="bg1"/>
                </a:solidFill>
              </a:rPr>
              <a:t> „</a:t>
            </a:r>
            <a:r>
              <a:rPr lang="es-MX" sz="1400" dirty="0">
                <a:solidFill>
                  <a:schemeClr val="bg1"/>
                </a:solidFill>
              </a:rPr>
              <a:t>desarrollo sostenible, resiliente y de bajas emisiones”</a:t>
            </a:r>
            <a:r>
              <a:rPr lang="de-DE" sz="1400" dirty="0">
                <a:solidFill>
                  <a:schemeClr val="bg1"/>
                </a:solidFill>
              </a:rPr>
              <a:t> </a:t>
            </a:r>
            <a:endParaRPr lang="de-DE" sz="1400" b="1" dirty="0">
              <a:solidFill>
                <a:schemeClr val="bg1"/>
              </a:solidFill>
            </a:endParaRPr>
          </a:p>
        </p:txBody>
      </p:sp>
      <p:sp>
        <p:nvSpPr>
          <p:cNvPr id="9" name="Rechteck 8"/>
          <p:cNvSpPr/>
          <p:nvPr/>
        </p:nvSpPr>
        <p:spPr bwMode="auto">
          <a:xfrm>
            <a:off x="295953" y="2147776"/>
            <a:ext cx="6647108" cy="744280"/>
          </a:xfrm>
          <a:prstGeom prst="rect">
            <a:avLst/>
          </a:prstGeom>
          <a:solidFill>
            <a:srgbClr val="A7978D"/>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r>
              <a:rPr lang="de-DE" sz="2800" dirty="0">
                <a:solidFill>
                  <a:schemeClr val="bg1"/>
                </a:solidFill>
              </a:rPr>
              <a:t>Resultado</a:t>
            </a:r>
          </a:p>
          <a:p>
            <a:pPr algn="ctr" defTabSz="914400" eaLnBrk="0" fontAlgn="base" hangingPunct="0">
              <a:spcBef>
                <a:spcPct val="0"/>
              </a:spcBef>
              <a:spcAft>
                <a:spcPct val="0"/>
              </a:spcAft>
            </a:pPr>
            <a:r>
              <a:rPr lang="de-DE" sz="1400" dirty="0">
                <a:solidFill>
                  <a:schemeClr val="bg1"/>
                </a:solidFill>
              </a:rPr>
              <a:t>„</a:t>
            </a:r>
            <a:r>
              <a:rPr lang="de-DE" sz="1400" dirty="0" err="1">
                <a:solidFill>
                  <a:schemeClr val="bg1"/>
                </a:solidFill>
              </a:rPr>
              <a:t>I</a:t>
            </a:r>
            <a:r>
              <a:rPr lang="de-DE" sz="1400" b="1" dirty="0" err="1">
                <a:solidFill>
                  <a:schemeClr val="bg1"/>
                </a:solidFill>
                <a:latin typeface="Arial" charset="0"/>
              </a:rPr>
              <a:t>mplementación</a:t>
            </a:r>
            <a:r>
              <a:rPr lang="de-DE" sz="1400" b="1" dirty="0">
                <a:solidFill>
                  <a:schemeClr val="bg1"/>
                </a:solidFill>
                <a:latin typeface="Arial" charset="0"/>
              </a:rPr>
              <a:t> de </a:t>
            </a:r>
            <a:r>
              <a:rPr lang="de-DE" sz="1400" b="1" dirty="0" err="1">
                <a:solidFill>
                  <a:schemeClr val="bg1"/>
                </a:solidFill>
                <a:latin typeface="Arial" charset="0"/>
              </a:rPr>
              <a:t>medidas</a:t>
            </a:r>
            <a:r>
              <a:rPr lang="de-DE" sz="1400" b="1" dirty="0">
                <a:solidFill>
                  <a:schemeClr val="bg1"/>
                </a:solidFill>
                <a:latin typeface="Arial" charset="0"/>
              </a:rPr>
              <a:t> </a:t>
            </a:r>
            <a:r>
              <a:rPr lang="de-DE" sz="1400" b="1" dirty="0" err="1">
                <a:solidFill>
                  <a:schemeClr val="bg1"/>
                </a:solidFill>
                <a:latin typeface="Arial" charset="0"/>
              </a:rPr>
              <a:t>concretas</a:t>
            </a:r>
            <a:r>
              <a:rPr lang="de-DE" sz="1400" b="1" dirty="0">
                <a:solidFill>
                  <a:schemeClr val="bg1"/>
                </a:solidFill>
                <a:latin typeface="Arial" charset="0"/>
              </a:rPr>
              <a:t> </a:t>
            </a:r>
            <a:r>
              <a:rPr lang="de-DE" sz="1400" b="1" dirty="0" err="1">
                <a:solidFill>
                  <a:schemeClr val="bg1"/>
                </a:solidFill>
                <a:latin typeface="Arial" charset="0"/>
              </a:rPr>
              <a:t>para</a:t>
            </a:r>
            <a:r>
              <a:rPr lang="de-DE" sz="1400" b="1" dirty="0">
                <a:solidFill>
                  <a:schemeClr val="bg1"/>
                </a:solidFill>
                <a:latin typeface="Arial" charset="0"/>
              </a:rPr>
              <a:t> </a:t>
            </a:r>
            <a:r>
              <a:rPr lang="de-DE" sz="1400" b="1" dirty="0" err="1">
                <a:solidFill>
                  <a:schemeClr val="bg1"/>
                </a:solidFill>
                <a:latin typeface="Arial" charset="0"/>
              </a:rPr>
              <a:t>lograr</a:t>
            </a:r>
            <a:r>
              <a:rPr lang="de-DE" sz="1400" b="1" dirty="0">
                <a:solidFill>
                  <a:schemeClr val="bg1"/>
                </a:solidFill>
                <a:latin typeface="Arial" charset="0"/>
              </a:rPr>
              <a:t> las </a:t>
            </a:r>
            <a:r>
              <a:rPr lang="de-DE" sz="1400" b="1" dirty="0" err="1">
                <a:solidFill>
                  <a:schemeClr val="bg1"/>
                </a:solidFill>
                <a:latin typeface="Arial" charset="0"/>
              </a:rPr>
              <a:t>metas</a:t>
            </a:r>
            <a:r>
              <a:rPr lang="de-DE" sz="1400" b="1" dirty="0">
                <a:solidFill>
                  <a:schemeClr val="bg1"/>
                </a:solidFill>
                <a:latin typeface="Arial" charset="0"/>
              </a:rPr>
              <a:t> de la NDC“</a:t>
            </a:r>
          </a:p>
        </p:txBody>
      </p:sp>
      <p:sp>
        <p:nvSpPr>
          <p:cNvPr id="10" name="Rechteck 9"/>
          <p:cNvSpPr/>
          <p:nvPr/>
        </p:nvSpPr>
        <p:spPr bwMode="auto">
          <a:xfrm>
            <a:off x="295953" y="2892056"/>
            <a:ext cx="1716799" cy="2021654"/>
          </a:xfrm>
          <a:prstGeom prst="rect">
            <a:avLst/>
          </a:prstGeom>
          <a:solidFill>
            <a:srgbClr val="C9C2B6"/>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eaLnBrk="0" fontAlgn="base" hangingPunct="0">
              <a:spcBef>
                <a:spcPct val="0"/>
              </a:spcBef>
              <a:spcAft>
                <a:spcPct val="0"/>
              </a:spcAft>
            </a:pPr>
            <a:r>
              <a:rPr lang="de-DE" sz="1600" dirty="0">
                <a:solidFill>
                  <a:srgbClr val="6E6452"/>
                </a:solidFill>
              </a:rPr>
              <a:t>Output I</a:t>
            </a:r>
          </a:p>
          <a:p>
            <a:pPr algn="ctr" defTabSz="914400" eaLnBrk="0" fontAlgn="base" hangingPunct="0">
              <a:spcBef>
                <a:spcPct val="0"/>
              </a:spcBef>
              <a:spcAft>
                <a:spcPct val="0"/>
              </a:spcAft>
            </a:pPr>
            <a:endParaRPr lang="de-DE" sz="1600" b="1" dirty="0">
              <a:solidFill>
                <a:srgbClr val="6E6452"/>
              </a:solidFill>
            </a:endParaRPr>
          </a:p>
          <a:p>
            <a:pPr algn="ctr" defTabSz="914400" eaLnBrk="0" fontAlgn="base" hangingPunct="0">
              <a:spcBef>
                <a:spcPct val="0"/>
              </a:spcBef>
              <a:spcAft>
                <a:spcPct val="0"/>
              </a:spcAft>
            </a:pPr>
            <a:r>
              <a:rPr lang="de-DE" sz="1600" dirty="0" err="1">
                <a:solidFill>
                  <a:srgbClr val="6E6452"/>
                </a:solidFill>
              </a:rPr>
              <a:t>Planeación</a:t>
            </a:r>
            <a:r>
              <a:rPr lang="de-DE" sz="1600" dirty="0">
                <a:solidFill>
                  <a:srgbClr val="6E6452"/>
                </a:solidFill>
              </a:rPr>
              <a:t> </a:t>
            </a:r>
            <a:r>
              <a:rPr lang="de-DE" sz="1600" dirty="0" err="1">
                <a:solidFill>
                  <a:srgbClr val="6E6452"/>
                </a:solidFill>
              </a:rPr>
              <a:t>estratégica</a:t>
            </a:r>
            <a:r>
              <a:rPr lang="de-DE" sz="1600" dirty="0">
                <a:solidFill>
                  <a:srgbClr val="6E6452"/>
                </a:solidFill>
              </a:rPr>
              <a:t> y </a:t>
            </a:r>
            <a:r>
              <a:rPr lang="de-DE" sz="1600" dirty="0" err="1">
                <a:solidFill>
                  <a:srgbClr val="6E6452"/>
                </a:solidFill>
              </a:rPr>
              <a:t>transparencia</a:t>
            </a:r>
            <a:endParaRPr lang="de-DE" sz="1600" b="1" dirty="0">
              <a:solidFill>
                <a:srgbClr val="6E6452"/>
              </a:solidFill>
            </a:endParaRPr>
          </a:p>
        </p:txBody>
      </p:sp>
      <p:sp>
        <p:nvSpPr>
          <p:cNvPr id="11" name="Rechteck 10"/>
          <p:cNvSpPr/>
          <p:nvPr/>
        </p:nvSpPr>
        <p:spPr bwMode="auto">
          <a:xfrm>
            <a:off x="2012752" y="2892056"/>
            <a:ext cx="1844564" cy="2021654"/>
          </a:xfrm>
          <a:prstGeom prst="rect">
            <a:avLst/>
          </a:prstGeom>
          <a:solidFill>
            <a:srgbClr val="C9C2B6"/>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de-DE" sz="1600" dirty="0">
                <a:solidFill>
                  <a:srgbClr val="6E6452"/>
                </a:solidFill>
              </a:rPr>
              <a:t>Output II</a:t>
            </a:r>
          </a:p>
          <a:p>
            <a:pPr algn="ctr"/>
            <a:endParaRPr lang="de-DE" sz="1600" b="1" dirty="0">
              <a:solidFill>
                <a:srgbClr val="6E6452"/>
              </a:solidFill>
              <a:latin typeface="Arial" charset="0"/>
            </a:endParaRPr>
          </a:p>
          <a:p>
            <a:pPr algn="ctr"/>
            <a:r>
              <a:rPr lang="de-DE" sz="1600" dirty="0">
                <a:solidFill>
                  <a:srgbClr val="6E6452"/>
                </a:solidFill>
              </a:rPr>
              <a:t>Mecanismos de implementación de la NDC</a:t>
            </a:r>
            <a:endParaRPr lang="de-DE" sz="1600" b="1" dirty="0">
              <a:solidFill>
                <a:srgbClr val="6E6452"/>
              </a:solidFill>
              <a:latin typeface="Arial" charset="0"/>
            </a:endParaRPr>
          </a:p>
        </p:txBody>
      </p:sp>
      <p:sp>
        <p:nvSpPr>
          <p:cNvPr id="12" name="Rechteck 11"/>
          <p:cNvSpPr/>
          <p:nvPr/>
        </p:nvSpPr>
        <p:spPr bwMode="auto">
          <a:xfrm>
            <a:off x="3775942" y="2892056"/>
            <a:ext cx="1705621" cy="2021654"/>
          </a:xfrm>
          <a:prstGeom prst="rect">
            <a:avLst/>
          </a:prstGeom>
          <a:solidFill>
            <a:srgbClr val="C9C2B6"/>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de-DE" sz="1600" dirty="0">
                <a:solidFill>
                  <a:srgbClr val="6E6452"/>
                </a:solidFill>
              </a:rPr>
              <a:t>Output III</a:t>
            </a:r>
          </a:p>
          <a:p>
            <a:pPr algn="ctr"/>
            <a:endParaRPr lang="de-DE" sz="1600" b="1" dirty="0">
              <a:solidFill>
                <a:srgbClr val="6E6452"/>
              </a:solidFill>
              <a:latin typeface="Arial" charset="0"/>
            </a:endParaRPr>
          </a:p>
          <a:p>
            <a:pPr algn="ctr"/>
            <a:r>
              <a:rPr lang="de-DE" sz="1600" dirty="0">
                <a:solidFill>
                  <a:srgbClr val="6E6452"/>
                </a:solidFill>
              </a:rPr>
              <a:t>Contribuciones subnacionales</a:t>
            </a:r>
            <a:endParaRPr lang="de-DE" sz="1600" b="1" dirty="0">
              <a:solidFill>
                <a:srgbClr val="6E6452"/>
              </a:solidFill>
              <a:latin typeface="Arial" charset="0"/>
            </a:endParaRPr>
          </a:p>
        </p:txBody>
      </p:sp>
      <p:sp>
        <p:nvSpPr>
          <p:cNvPr id="13" name="Rechteck 12"/>
          <p:cNvSpPr/>
          <p:nvPr/>
        </p:nvSpPr>
        <p:spPr bwMode="auto">
          <a:xfrm>
            <a:off x="5400190" y="2892056"/>
            <a:ext cx="1542872" cy="2021654"/>
          </a:xfrm>
          <a:prstGeom prst="rect">
            <a:avLst/>
          </a:prstGeom>
          <a:solidFill>
            <a:srgbClr val="C9C2B6"/>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de-DE" sz="1600" dirty="0">
                <a:solidFill>
                  <a:srgbClr val="6E6452"/>
                </a:solidFill>
              </a:rPr>
              <a:t>Output IV</a:t>
            </a:r>
          </a:p>
          <a:p>
            <a:pPr algn="ctr"/>
            <a:endParaRPr lang="de-DE" sz="1600" b="1" dirty="0">
              <a:solidFill>
                <a:srgbClr val="6E6452"/>
              </a:solidFill>
              <a:latin typeface="Arial" charset="0"/>
            </a:endParaRPr>
          </a:p>
          <a:p>
            <a:pPr algn="ctr"/>
            <a:r>
              <a:rPr lang="de-DE" sz="1600" dirty="0">
                <a:solidFill>
                  <a:srgbClr val="6E6452"/>
                </a:solidFill>
              </a:rPr>
              <a:t>Diálogo, Cooperación descentralizada y Gestión del conocimiento</a:t>
            </a:r>
            <a:endParaRPr lang="de-DE" sz="1600" b="1" dirty="0">
              <a:solidFill>
                <a:srgbClr val="6E6452"/>
              </a:solidFill>
              <a:latin typeface="Arial" charset="0"/>
            </a:endParaRPr>
          </a:p>
        </p:txBody>
      </p:sp>
      <p:sp>
        <p:nvSpPr>
          <p:cNvPr id="16" name="Datumsplatzhalter 3"/>
          <p:cNvSpPr>
            <a:spLocks noGrp="1"/>
          </p:cNvSpPr>
          <p:nvPr>
            <p:ph type="dt" sz="half" idx="11"/>
          </p:nvPr>
        </p:nvSpPr>
        <p:spPr>
          <a:xfrm>
            <a:off x="2203155" y="6581002"/>
            <a:ext cx="1295400" cy="246221"/>
          </a:xfrm>
        </p:spPr>
        <p:txBody>
          <a:bodyPr/>
          <a:lstStyle/>
          <a:p>
            <a:fld id="{9317A057-C766-48FB-B1EC-CC1898F04EF1}" type="datetime1">
              <a:rPr lang="de-DE" noProof="0" smtClean="0"/>
              <a:t>19.11.2020</a:t>
            </a:fld>
            <a:endParaRPr lang="de-DE" noProof="0" dirty="0"/>
          </a:p>
        </p:txBody>
      </p:sp>
      <p:sp>
        <p:nvSpPr>
          <p:cNvPr id="15" name="Marcador de contenido 4">
            <a:extLst>
              <a:ext uri="{FF2B5EF4-FFF2-40B4-BE49-F238E27FC236}">
                <a16:creationId xmlns:a16="http://schemas.microsoft.com/office/drawing/2014/main" id="{A1A027DE-18B2-480B-85EA-6CF1ABD14434}"/>
              </a:ext>
            </a:extLst>
          </p:cNvPr>
          <p:cNvSpPr txBox="1">
            <a:spLocks/>
          </p:cNvSpPr>
          <p:nvPr/>
        </p:nvSpPr>
        <p:spPr>
          <a:xfrm>
            <a:off x="7029310" y="257854"/>
            <a:ext cx="4878572" cy="595156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mj-lt"/>
              <a:buAutoNum type="arabicPeriod"/>
            </a:pPr>
            <a:r>
              <a:rPr lang="es-ES" sz="1600" b="1" dirty="0">
                <a:solidFill>
                  <a:schemeClr val="tx1">
                    <a:lumMod val="65000"/>
                    <a:lumOff val="35000"/>
                  </a:schemeClr>
                </a:solidFill>
                <a:latin typeface="GIZ Gravur TT Cond" panose="02010506010101020102"/>
              </a:rPr>
              <a:t>Planificación Estratégica y Transparencia </a:t>
            </a:r>
          </a:p>
          <a:p>
            <a:pPr marL="702900" lvl="1" indent="-342900"/>
            <a:r>
              <a:rPr lang="es-ES" sz="1600" dirty="0">
                <a:solidFill>
                  <a:schemeClr val="tx1">
                    <a:lumMod val="65000"/>
                    <a:lumOff val="35000"/>
                  </a:schemeClr>
                </a:solidFill>
                <a:latin typeface="GIZ Gravur TT Cond" panose="02010506010101020102"/>
              </a:rPr>
              <a:t>Los planes de implementación elaborados para los objetivos nacionales y sectoriales de la NDC, coherentes con la Agenda 2030, se supervisan y mejoran continuamente mediante un sistema de transparencia. </a:t>
            </a:r>
          </a:p>
          <a:p>
            <a:pPr marL="342900" indent="-342900">
              <a:buFont typeface="+mj-lt"/>
              <a:buAutoNum type="arabicPeriod"/>
            </a:pPr>
            <a:r>
              <a:rPr lang="es-ES" sz="1600" b="1" dirty="0">
                <a:solidFill>
                  <a:schemeClr val="tx1">
                    <a:lumMod val="65000"/>
                    <a:lumOff val="35000"/>
                  </a:schemeClr>
                </a:solidFill>
                <a:latin typeface="GIZ Gravur TT Cond" panose="02010506010101020102"/>
              </a:rPr>
              <a:t>Mecanismos de Implementación de la NDC</a:t>
            </a:r>
          </a:p>
          <a:p>
            <a:pPr marL="702900" lvl="1" indent="-342900"/>
            <a:r>
              <a:rPr lang="es-ES" sz="1600" dirty="0">
                <a:solidFill>
                  <a:schemeClr val="tx1">
                    <a:lumMod val="65000"/>
                    <a:lumOff val="35000"/>
                  </a:schemeClr>
                </a:solidFill>
                <a:latin typeface="GIZ Gravur TT Cond" panose="02010506010101020102"/>
              </a:rPr>
              <a:t>Se han mejorado las condiciones marco para la utilización de instrumentos privados y públicos, así como de instrumentos nacionales y/o internacionales para la aplicación de la NDC. </a:t>
            </a:r>
          </a:p>
          <a:p>
            <a:pPr marL="342900" indent="-342900">
              <a:buFont typeface="+mj-lt"/>
              <a:buAutoNum type="arabicPeriod"/>
            </a:pPr>
            <a:r>
              <a:rPr lang="es-ES" sz="1600" b="1" dirty="0">
                <a:solidFill>
                  <a:schemeClr val="tx1">
                    <a:lumMod val="65000"/>
                    <a:lumOff val="35000"/>
                  </a:schemeClr>
                </a:solidFill>
                <a:latin typeface="GIZ Gravur TT Cond" panose="02010506010101020102"/>
              </a:rPr>
              <a:t>Contribuciones Subnacionales</a:t>
            </a:r>
          </a:p>
          <a:p>
            <a:pPr marL="702900" lvl="1" indent="-342900"/>
            <a:r>
              <a:rPr lang="es-ES" sz="1600" dirty="0">
                <a:solidFill>
                  <a:schemeClr val="tx1">
                    <a:lumMod val="65000"/>
                    <a:lumOff val="35000"/>
                  </a:schemeClr>
                </a:solidFill>
                <a:latin typeface="GIZ Gravur TT Cond" panose="02010506010101020102"/>
              </a:rPr>
              <a:t>Los actores subnacionales contribuyen a la implementación de la NDC a través de programas de acción, legislación y/o instrumentos financieros y están cubiertos por el sistema de transparencia. </a:t>
            </a:r>
          </a:p>
          <a:p>
            <a:pPr marL="342900" indent="-342900">
              <a:buFont typeface="+mj-lt"/>
              <a:buAutoNum type="arabicPeriod"/>
            </a:pPr>
            <a:r>
              <a:rPr lang="es-ES" sz="1600" b="1" dirty="0">
                <a:solidFill>
                  <a:schemeClr val="tx1">
                    <a:lumMod val="65000"/>
                    <a:lumOff val="35000"/>
                  </a:schemeClr>
                </a:solidFill>
                <a:latin typeface="GIZ Gravur TT Cond" panose="02010506010101020102"/>
              </a:rPr>
              <a:t>Diálogo, cooperación descentralizada y gestión del conocimiento</a:t>
            </a:r>
          </a:p>
          <a:p>
            <a:pPr marL="702900" lvl="1" indent="-342900">
              <a:tabLst>
                <a:tab pos="2417763" algn="l"/>
              </a:tabLst>
            </a:pPr>
            <a:r>
              <a:rPr lang="es-ES" sz="1600" dirty="0">
                <a:solidFill>
                  <a:schemeClr val="tx1">
                    <a:lumMod val="65000"/>
                    <a:lumOff val="35000"/>
                  </a:schemeClr>
                </a:solidFill>
                <a:latin typeface="GIZ Gravur TT Cond" panose="02010506010101020102"/>
              </a:rPr>
              <a:t>Se sistematizaron e intercambiaron experiencias sobre la implementación de la NDC y el consumo sostenible en el marco del diálogo internacional y la cooperación descentralizada.</a:t>
            </a:r>
            <a:endParaRPr lang="es-MX" sz="1600" dirty="0">
              <a:solidFill>
                <a:schemeClr val="tx1">
                  <a:lumMod val="65000"/>
                  <a:lumOff val="35000"/>
                </a:schemeClr>
              </a:solidFill>
              <a:latin typeface="GIZ Gravur TT Cond" panose="02010506010101020102"/>
            </a:endParaRPr>
          </a:p>
        </p:txBody>
      </p:sp>
    </p:spTree>
    <p:extLst>
      <p:ext uri="{BB962C8B-B14F-4D97-AF65-F5344CB8AC3E}">
        <p14:creationId xmlns:p14="http://schemas.microsoft.com/office/powerpoint/2010/main" val="195867680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4"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down)">
                                      <p:cBhvr>
                                        <p:cTn id="11" dur="5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4"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 calcmode="lin" valueType="num">
                                      <p:cBhvr additive="base">
                                        <p:cTn id="16" dur="500" fill="hold"/>
                                        <p:tgtEl>
                                          <p:spTgt spid="10"/>
                                        </p:tgtEl>
                                        <p:attrNameLst>
                                          <p:attrName>ppt_x</p:attrName>
                                        </p:attrNameLst>
                                      </p:cBhvr>
                                      <p:tavLst>
                                        <p:tav tm="0">
                                          <p:val>
                                            <p:strVal val="#ppt_x"/>
                                          </p:val>
                                        </p:tav>
                                        <p:tav tm="100000">
                                          <p:val>
                                            <p:strVal val="#ppt_x"/>
                                          </p:val>
                                        </p:tav>
                                      </p:tavLst>
                                    </p:anim>
                                    <p:anim calcmode="lin" valueType="num">
                                      <p:cBhvr additive="base">
                                        <p:cTn id="17"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additive="base">
                                        <p:cTn id="22" dur="500" fill="hold"/>
                                        <p:tgtEl>
                                          <p:spTgt spid="11"/>
                                        </p:tgtEl>
                                        <p:attrNameLst>
                                          <p:attrName>ppt_x</p:attrName>
                                        </p:attrNameLst>
                                      </p:cBhvr>
                                      <p:tavLst>
                                        <p:tav tm="0">
                                          <p:val>
                                            <p:strVal val="#ppt_x"/>
                                          </p:val>
                                        </p:tav>
                                        <p:tav tm="100000">
                                          <p:val>
                                            <p:strVal val="#ppt_x"/>
                                          </p:val>
                                        </p:tav>
                                      </p:tavLst>
                                    </p:anim>
                                    <p:anim calcmode="lin" valueType="num">
                                      <p:cBhvr additive="base">
                                        <p:cTn id="23"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1000"/>
                                        <p:tgtEl>
                                          <p:spTgt spid="12"/>
                                        </p:tgtEl>
                                      </p:cBhvr>
                                    </p:animEffect>
                                    <p:anim calcmode="lin" valueType="num">
                                      <p:cBhvr>
                                        <p:cTn id="29" dur="1000" fill="hold"/>
                                        <p:tgtEl>
                                          <p:spTgt spid="12"/>
                                        </p:tgtEl>
                                        <p:attrNameLst>
                                          <p:attrName>ppt_x</p:attrName>
                                        </p:attrNameLst>
                                      </p:cBhvr>
                                      <p:tavLst>
                                        <p:tav tm="0">
                                          <p:val>
                                            <p:strVal val="#ppt_x"/>
                                          </p:val>
                                        </p:tav>
                                        <p:tav tm="100000">
                                          <p:val>
                                            <p:strVal val="#ppt_x"/>
                                          </p:val>
                                        </p:tav>
                                      </p:tavLst>
                                    </p:anim>
                                    <p:anim calcmode="lin" valueType="num">
                                      <p:cBhvr>
                                        <p:cTn id="30"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500" fill="hold"/>
                                        <p:tgtEl>
                                          <p:spTgt spid="13"/>
                                        </p:tgtEl>
                                        <p:attrNameLst>
                                          <p:attrName>ppt_x</p:attrName>
                                        </p:attrNameLst>
                                      </p:cBhvr>
                                      <p:tavLst>
                                        <p:tav tm="0">
                                          <p:val>
                                            <p:strVal val="#ppt_x"/>
                                          </p:val>
                                        </p:tav>
                                        <p:tav tm="100000">
                                          <p:val>
                                            <p:strVal val="#ppt_x"/>
                                          </p:val>
                                        </p:tav>
                                      </p:tavLst>
                                    </p:anim>
                                    <p:anim calcmode="lin" valueType="num">
                                      <p:cBhvr additive="base">
                                        <p:cTn id="36"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53" presetClass="entr" presetSubtype="16" fill="hold" nodeType="clickEffect">
                                  <p:stCondLst>
                                    <p:cond delay="0"/>
                                  </p:stCondLst>
                                  <p:childTnLst>
                                    <p:set>
                                      <p:cBhvr>
                                        <p:cTn id="40" dur="1" fill="hold">
                                          <p:stCondLst>
                                            <p:cond delay="0"/>
                                          </p:stCondLst>
                                        </p:cTn>
                                        <p:tgtEl>
                                          <p:spTgt spid="15">
                                            <p:txEl>
                                              <p:pRg st="0" end="0"/>
                                            </p:txEl>
                                          </p:spTgt>
                                        </p:tgtEl>
                                        <p:attrNameLst>
                                          <p:attrName>style.visibility</p:attrName>
                                        </p:attrNameLst>
                                      </p:cBhvr>
                                      <p:to>
                                        <p:strVal val="visible"/>
                                      </p:to>
                                    </p:set>
                                    <p:anim calcmode="lin" valueType="num">
                                      <p:cBhvr>
                                        <p:cTn id="41"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2"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3" dur="500"/>
                                        <p:tgtEl>
                                          <p:spTgt spid="15">
                                            <p:txEl>
                                              <p:pRg st="0" end="0"/>
                                            </p:txEl>
                                          </p:spTgt>
                                        </p:tgtEl>
                                      </p:cBhvr>
                                    </p:animEffect>
                                  </p:childTnLst>
                                </p:cTn>
                              </p:par>
                              <p:par>
                                <p:cTn id="44" presetID="53" presetClass="entr" presetSubtype="16" fill="hold" nodeType="withEffect">
                                  <p:stCondLst>
                                    <p:cond delay="2000"/>
                                  </p:stCondLst>
                                  <p:childTnLst>
                                    <p:set>
                                      <p:cBhvr>
                                        <p:cTn id="45" dur="1" fill="hold">
                                          <p:stCondLst>
                                            <p:cond delay="0"/>
                                          </p:stCondLst>
                                        </p:cTn>
                                        <p:tgtEl>
                                          <p:spTgt spid="15">
                                            <p:txEl>
                                              <p:pRg st="1" end="1"/>
                                            </p:txEl>
                                          </p:spTgt>
                                        </p:tgtEl>
                                        <p:attrNameLst>
                                          <p:attrName>style.visibility</p:attrName>
                                        </p:attrNameLst>
                                      </p:cBhvr>
                                      <p:to>
                                        <p:strVal val="visible"/>
                                      </p:to>
                                    </p:set>
                                    <p:anim calcmode="lin" valueType="num">
                                      <p:cBhvr>
                                        <p:cTn id="46" dur="500" fill="hold"/>
                                        <p:tgtEl>
                                          <p:spTgt spid="15">
                                            <p:txEl>
                                              <p:pRg st="1" end="1"/>
                                            </p:txEl>
                                          </p:spTgt>
                                        </p:tgtEl>
                                        <p:attrNameLst>
                                          <p:attrName>ppt_w</p:attrName>
                                        </p:attrNameLst>
                                      </p:cBhvr>
                                      <p:tavLst>
                                        <p:tav tm="0">
                                          <p:val>
                                            <p:fltVal val="0"/>
                                          </p:val>
                                        </p:tav>
                                        <p:tav tm="100000">
                                          <p:val>
                                            <p:strVal val="#ppt_w"/>
                                          </p:val>
                                        </p:tav>
                                      </p:tavLst>
                                    </p:anim>
                                    <p:anim calcmode="lin" valueType="num">
                                      <p:cBhvr>
                                        <p:cTn id="47" dur="500" fill="hold"/>
                                        <p:tgtEl>
                                          <p:spTgt spid="15">
                                            <p:txEl>
                                              <p:pRg st="1" end="1"/>
                                            </p:txEl>
                                          </p:spTgt>
                                        </p:tgtEl>
                                        <p:attrNameLst>
                                          <p:attrName>ppt_h</p:attrName>
                                        </p:attrNameLst>
                                      </p:cBhvr>
                                      <p:tavLst>
                                        <p:tav tm="0">
                                          <p:val>
                                            <p:fltVal val="0"/>
                                          </p:val>
                                        </p:tav>
                                        <p:tav tm="100000">
                                          <p:val>
                                            <p:strVal val="#ppt_h"/>
                                          </p:val>
                                        </p:tav>
                                      </p:tavLst>
                                    </p:anim>
                                    <p:animEffect transition="in" filter="fade">
                                      <p:cBhvr>
                                        <p:cTn id="48" dur="500"/>
                                        <p:tgtEl>
                                          <p:spTgt spid="15">
                                            <p:txEl>
                                              <p:pRg st="1" end="1"/>
                                            </p:txEl>
                                          </p:spTgt>
                                        </p:tgtEl>
                                      </p:cBhvr>
                                    </p:animEffect>
                                  </p:childTnLst>
                                </p:cTn>
                              </p:par>
                            </p:childTnLst>
                          </p:cTn>
                        </p:par>
                      </p:childTnLst>
                    </p:cTn>
                  </p:par>
                  <p:par>
                    <p:cTn id="49" fill="hold">
                      <p:stCondLst>
                        <p:cond delay="indefinite"/>
                      </p:stCondLst>
                      <p:childTnLst>
                        <p:par>
                          <p:cTn id="50" fill="hold">
                            <p:stCondLst>
                              <p:cond delay="0"/>
                            </p:stCondLst>
                            <p:childTnLst>
                              <p:par>
                                <p:cTn id="51" presetID="53" presetClass="entr" presetSubtype="16" fill="hold" nodeType="clickEffect">
                                  <p:stCondLst>
                                    <p:cond delay="0"/>
                                  </p:stCondLst>
                                  <p:childTnLst>
                                    <p:set>
                                      <p:cBhvr>
                                        <p:cTn id="52" dur="1" fill="hold">
                                          <p:stCondLst>
                                            <p:cond delay="0"/>
                                          </p:stCondLst>
                                        </p:cTn>
                                        <p:tgtEl>
                                          <p:spTgt spid="15">
                                            <p:txEl>
                                              <p:pRg st="2" end="2"/>
                                            </p:txEl>
                                          </p:spTgt>
                                        </p:tgtEl>
                                        <p:attrNameLst>
                                          <p:attrName>style.visibility</p:attrName>
                                        </p:attrNameLst>
                                      </p:cBhvr>
                                      <p:to>
                                        <p:strVal val="visible"/>
                                      </p:to>
                                    </p:set>
                                    <p:anim calcmode="lin" valueType="num">
                                      <p:cBhvr>
                                        <p:cTn id="53" dur="500" fill="hold"/>
                                        <p:tgtEl>
                                          <p:spTgt spid="15">
                                            <p:txEl>
                                              <p:pRg st="2" end="2"/>
                                            </p:txEl>
                                          </p:spTgt>
                                        </p:tgtEl>
                                        <p:attrNameLst>
                                          <p:attrName>ppt_w</p:attrName>
                                        </p:attrNameLst>
                                      </p:cBhvr>
                                      <p:tavLst>
                                        <p:tav tm="0">
                                          <p:val>
                                            <p:fltVal val="0"/>
                                          </p:val>
                                        </p:tav>
                                        <p:tav tm="100000">
                                          <p:val>
                                            <p:strVal val="#ppt_w"/>
                                          </p:val>
                                        </p:tav>
                                      </p:tavLst>
                                    </p:anim>
                                    <p:anim calcmode="lin" valueType="num">
                                      <p:cBhvr>
                                        <p:cTn id="54" dur="500" fill="hold"/>
                                        <p:tgtEl>
                                          <p:spTgt spid="15">
                                            <p:txEl>
                                              <p:pRg st="2" end="2"/>
                                            </p:txEl>
                                          </p:spTgt>
                                        </p:tgtEl>
                                        <p:attrNameLst>
                                          <p:attrName>ppt_h</p:attrName>
                                        </p:attrNameLst>
                                      </p:cBhvr>
                                      <p:tavLst>
                                        <p:tav tm="0">
                                          <p:val>
                                            <p:fltVal val="0"/>
                                          </p:val>
                                        </p:tav>
                                        <p:tav tm="100000">
                                          <p:val>
                                            <p:strVal val="#ppt_h"/>
                                          </p:val>
                                        </p:tav>
                                      </p:tavLst>
                                    </p:anim>
                                    <p:animEffect transition="in" filter="fade">
                                      <p:cBhvr>
                                        <p:cTn id="55" dur="500"/>
                                        <p:tgtEl>
                                          <p:spTgt spid="15">
                                            <p:txEl>
                                              <p:pRg st="2" end="2"/>
                                            </p:txEl>
                                          </p:spTgt>
                                        </p:tgtEl>
                                      </p:cBhvr>
                                    </p:animEffect>
                                  </p:childTnLst>
                                </p:cTn>
                              </p:par>
                              <p:par>
                                <p:cTn id="56" presetID="53" presetClass="entr" presetSubtype="16" fill="hold" nodeType="withEffect">
                                  <p:stCondLst>
                                    <p:cond delay="2000"/>
                                  </p:stCondLst>
                                  <p:childTnLst>
                                    <p:set>
                                      <p:cBhvr>
                                        <p:cTn id="57" dur="1" fill="hold">
                                          <p:stCondLst>
                                            <p:cond delay="0"/>
                                          </p:stCondLst>
                                        </p:cTn>
                                        <p:tgtEl>
                                          <p:spTgt spid="15">
                                            <p:txEl>
                                              <p:pRg st="3" end="3"/>
                                            </p:txEl>
                                          </p:spTgt>
                                        </p:tgtEl>
                                        <p:attrNameLst>
                                          <p:attrName>style.visibility</p:attrName>
                                        </p:attrNameLst>
                                      </p:cBhvr>
                                      <p:to>
                                        <p:strVal val="visible"/>
                                      </p:to>
                                    </p:set>
                                    <p:anim calcmode="lin" valueType="num">
                                      <p:cBhvr>
                                        <p:cTn id="58" dur="500" fill="hold"/>
                                        <p:tgtEl>
                                          <p:spTgt spid="15">
                                            <p:txEl>
                                              <p:pRg st="3" end="3"/>
                                            </p:txEl>
                                          </p:spTgt>
                                        </p:tgtEl>
                                        <p:attrNameLst>
                                          <p:attrName>ppt_w</p:attrName>
                                        </p:attrNameLst>
                                      </p:cBhvr>
                                      <p:tavLst>
                                        <p:tav tm="0">
                                          <p:val>
                                            <p:fltVal val="0"/>
                                          </p:val>
                                        </p:tav>
                                        <p:tav tm="100000">
                                          <p:val>
                                            <p:strVal val="#ppt_w"/>
                                          </p:val>
                                        </p:tav>
                                      </p:tavLst>
                                    </p:anim>
                                    <p:anim calcmode="lin" valueType="num">
                                      <p:cBhvr>
                                        <p:cTn id="59" dur="500" fill="hold"/>
                                        <p:tgtEl>
                                          <p:spTgt spid="15">
                                            <p:txEl>
                                              <p:pRg st="3" end="3"/>
                                            </p:txEl>
                                          </p:spTgt>
                                        </p:tgtEl>
                                        <p:attrNameLst>
                                          <p:attrName>ppt_h</p:attrName>
                                        </p:attrNameLst>
                                      </p:cBhvr>
                                      <p:tavLst>
                                        <p:tav tm="0">
                                          <p:val>
                                            <p:fltVal val="0"/>
                                          </p:val>
                                        </p:tav>
                                        <p:tav tm="100000">
                                          <p:val>
                                            <p:strVal val="#ppt_h"/>
                                          </p:val>
                                        </p:tav>
                                      </p:tavLst>
                                    </p:anim>
                                    <p:animEffect transition="in" filter="fade">
                                      <p:cBhvr>
                                        <p:cTn id="60" dur="500"/>
                                        <p:tgtEl>
                                          <p:spTgt spid="15">
                                            <p:txEl>
                                              <p:pRg st="3" end="3"/>
                                            </p:txEl>
                                          </p:spTgt>
                                        </p:tgtEl>
                                      </p:cBhvr>
                                    </p:animEffect>
                                  </p:childTnLst>
                                </p:cTn>
                              </p:par>
                            </p:childTnLst>
                          </p:cTn>
                        </p:par>
                      </p:childTnLst>
                    </p:cTn>
                  </p:par>
                  <p:par>
                    <p:cTn id="61" fill="hold">
                      <p:stCondLst>
                        <p:cond delay="indefinite"/>
                      </p:stCondLst>
                      <p:childTnLst>
                        <p:par>
                          <p:cTn id="62" fill="hold">
                            <p:stCondLst>
                              <p:cond delay="0"/>
                            </p:stCondLst>
                            <p:childTnLst>
                              <p:par>
                                <p:cTn id="63" presetID="53" presetClass="entr" presetSubtype="16" fill="hold" nodeType="clickEffect">
                                  <p:stCondLst>
                                    <p:cond delay="0"/>
                                  </p:stCondLst>
                                  <p:childTnLst>
                                    <p:set>
                                      <p:cBhvr>
                                        <p:cTn id="64" dur="1" fill="hold">
                                          <p:stCondLst>
                                            <p:cond delay="0"/>
                                          </p:stCondLst>
                                        </p:cTn>
                                        <p:tgtEl>
                                          <p:spTgt spid="15">
                                            <p:txEl>
                                              <p:pRg st="4" end="4"/>
                                            </p:txEl>
                                          </p:spTgt>
                                        </p:tgtEl>
                                        <p:attrNameLst>
                                          <p:attrName>style.visibility</p:attrName>
                                        </p:attrNameLst>
                                      </p:cBhvr>
                                      <p:to>
                                        <p:strVal val="visible"/>
                                      </p:to>
                                    </p:set>
                                    <p:anim calcmode="lin" valueType="num">
                                      <p:cBhvr>
                                        <p:cTn id="65" dur="500" fill="hold"/>
                                        <p:tgtEl>
                                          <p:spTgt spid="15">
                                            <p:txEl>
                                              <p:pRg st="4" end="4"/>
                                            </p:txEl>
                                          </p:spTgt>
                                        </p:tgtEl>
                                        <p:attrNameLst>
                                          <p:attrName>ppt_w</p:attrName>
                                        </p:attrNameLst>
                                      </p:cBhvr>
                                      <p:tavLst>
                                        <p:tav tm="0">
                                          <p:val>
                                            <p:fltVal val="0"/>
                                          </p:val>
                                        </p:tav>
                                        <p:tav tm="100000">
                                          <p:val>
                                            <p:strVal val="#ppt_w"/>
                                          </p:val>
                                        </p:tav>
                                      </p:tavLst>
                                    </p:anim>
                                    <p:anim calcmode="lin" valueType="num">
                                      <p:cBhvr>
                                        <p:cTn id="66" dur="500" fill="hold"/>
                                        <p:tgtEl>
                                          <p:spTgt spid="15">
                                            <p:txEl>
                                              <p:pRg st="4" end="4"/>
                                            </p:txEl>
                                          </p:spTgt>
                                        </p:tgtEl>
                                        <p:attrNameLst>
                                          <p:attrName>ppt_h</p:attrName>
                                        </p:attrNameLst>
                                      </p:cBhvr>
                                      <p:tavLst>
                                        <p:tav tm="0">
                                          <p:val>
                                            <p:fltVal val="0"/>
                                          </p:val>
                                        </p:tav>
                                        <p:tav tm="100000">
                                          <p:val>
                                            <p:strVal val="#ppt_h"/>
                                          </p:val>
                                        </p:tav>
                                      </p:tavLst>
                                    </p:anim>
                                    <p:animEffect transition="in" filter="fade">
                                      <p:cBhvr>
                                        <p:cTn id="67" dur="500"/>
                                        <p:tgtEl>
                                          <p:spTgt spid="15">
                                            <p:txEl>
                                              <p:pRg st="4" end="4"/>
                                            </p:txEl>
                                          </p:spTgt>
                                        </p:tgtEl>
                                      </p:cBhvr>
                                    </p:animEffect>
                                  </p:childTnLst>
                                </p:cTn>
                              </p:par>
                              <p:par>
                                <p:cTn id="68" presetID="53" presetClass="entr" presetSubtype="16" fill="hold" nodeType="withEffect">
                                  <p:stCondLst>
                                    <p:cond delay="2000"/>
                                  </p:stCondLst>
                                  <p:childTnLst>
                                    <p:set>
                                      <p:cBhvr>
                                        <p:cTn id="69" dur="1" fill="hold">
                                          <p:stCondLst>
                                            <p:cond delay="0"/>
                                          </p:stCondLst>
                                        </p:cTn>
                                        <p:tgtEl>
                                          <p:spTgt spid="15">
                                            <p:txEl>
                                              <p:pRg st="5" end="5"/>
                                            </p:txEl>
                                          </p:spTgt>
                                        </p:tgtEl>
                                        <p:attrNameLst>
                                          <p:attrName>style.visibility</p:attrName>
                                        </p:attrNameLst>
                                      </p:cBhvr>
                                      <p:to>
                                        <p:strVal val="visible"/>
                                      </p:to>
                                    </p:set>
                                    <p:anim calcmode="lin" valueType="num">
                                      <p:cBhvr>
                                        <p:cTn id="70" dur="500" fill="hold"/>
                                        <p:tgtEl>
                                          <p:spTgt spid="15">
                                            <p:txEl>
                                              <p:pRg st="5" end="5"/>
                                            </p:txEl>
                                          </p:spTgt>
                                        </p:tgtEl>
                                        <p:attrNameLst>
                                          <p:attrName>ppt_w</p:attrName>
                                        </p:attrNameLst>
                                      </p:cBhvr>
                                      <p:tavLst>
                                        <p:tav tm="0">
                                          <p:val>
                                            <p:fltVal val="0"/>
                                          </p:val>
                                        </p:tav>
                                        <p:tav tm="100000">
                                          <p:val>
                                            <p:strVal val="#ppt_w"/>
                                          </p:val>
                                        </p:tav>
                                      </p:tavLst>
                                    </p:anim>
                                    <p:anim calcmode="lin" valueType="num">
                                      <p:cBhvr>
                                        <p:cTn id="71" dur="500" fill="hold"/>
                                        <p:tgtEl>
                                          <p:spTgt spid="15">
                                            <p:txEl>
                                              <p:pRg st="5" end="5"/>
                                            </p:txEl>
                                          </p:spTgt>
                                        </p:tgtEl>
                                        <p:attrNameLst>
                                          <p:attrName>ppt_h</p:attrName>
                                        </p:attrNameLst>
                                      </p:cBhvr>
                                      <p:tavLst>
                                        <p:tav tm="0">
                                          <p:val>
                                            <p:fltVal val="0"/>
                                          </p:val>
                                        </p:tav>
                                        <p:tav tm="100000">
                                          <p:val>
                                            <p:strVal val="#ppt_h"/>
                                          </p:val>
                                        </p:tav>
                                      </p:tavLst>
                                    </p:anim>
                                    <p:animEffect transition="in" filter="fade">
                                      <p:cBhvr>
                                        <p:cTn id="72" dur="500"/>
                                        <p:tgtEl>
                                          <p:spTgt spid="15">
                                            <p:txEl>
                                              <p:pRg st="5" end="5"/>
                                            </p:txEl>
                                          </p:spTgt>
                                        </p:tgtEl>
                                      </p:cBhvr>
                                    </p:animEffect>
                                  </p:childTnLst>
                                </p:cTn>
                              </p:par>
                            </p:childTnLst>
                          </p:cTn>
                        </p:par>
                      </p:childTnLst>
                    </p:cTn>
                  </p:par>
                  <p:par>
                    <p:cTn id="73" fill="hold">
                      <p:stCondLst>
                        <p:cond delay="indefinite"/>
                      </p:stCondLst>
                      <p:childTnLst>
                        <p:par>
                          <p:cTn id="74" fill="hold">
                            <p:stCondLst>
                              <p:cond delay="0"/>
                            </p:stCondLst>
                            <p:childTnLst>
                              <p:par>
                                <p:cTn id="75" presetID="2" presetClass="entr" presetSubtype="4" fill="hold" nodeType="clickEffect">
                                  <p:stCondLst>
                                    <p:cond delay="0"/>
                                  </p:stCondLst>
                                  <p:childTnLst>
                                    <p:set>
                                      <p:cBhvr>
                                        <p:cTn id="76" dur="1" fill="hold">
                                          <p:stCondLst>
                                            <p:cond delay="0"/>
                                          </p:stCondLst>
                                        </p:cTn>
                                        <p:tgtEl>
                                          <p:spTgt spid="15">
                                            <p:txEl>
                                              <p:pRg st="6" end="6"/>
                                            </p:txEl>
                                          </p:spTgt>
                                        </p:tgtEl>
                                        <p:attrNameLst>
                                          <p:attrName>style.visibility</p:attrName>
                                        </p:attrNameLst>
                                      </p:cBhvr>
                                      <p:to>
                                        <p:strVal val="visible"/>
                                      </p:to>
                                    </p:set>
                                    <p:anim calcmode="lin" valueType="num">
                                      <p:cBhvr additive="base">
                                        <p:cTn id="77" dur="500" fill="hold"/>
                                        <p:tgtEl>
                                          <p:spTgt spid="15">
                                            <p:txEl>
                                              <p:pRg st="6" end="6"/>
                                            </p:txEl>
                                          </p:spTgt>
                                        </p:tgtEl>
                                        <p:attrNameLst>
                                          <p:attrName>ppt_x</p:attrName>
                                        </p:attrNameLst>
                                      </p:cBhvr>
                                      <p:tavLst>
                                        <p:tav tm="0">
                                          <p:val>
                                            <p:strVal val="#ppt_x"/>
                                          </p:val>
                                        </p:tav>
                                        <p:tav tm="100000">
                                          <p:val>
                                            <p:strVal val="#ppt_x"/>
                                          </p:val>
                                        </p:tav>
                                      </p:tavLst>
                                    </p:anim>
                                    <p:anim calcmode="lin" valueType="num">
                                      <p:cBhvr additive="base">
                                        <p:cTn id="78" dur="500" fill="hold"/>
                                        <p:tgtEl>
                                          <p:spTgt spid="15">
                                            <p:txEl>
                                              <p:pRg st="6" end="6"/>
                                            </p:txEl>
                                          </p:spTgt>
                                        </p:tgtEl>
                                        <p:attrNameLst>
                                          <p:attrName>ppt_y</p:attrName>
                                        </p:attrNameLst>
                                      </p:cBhvr>
                                      <p:tavLst>
                                        <p:tav tm="0">
                                          <p:val>
                                            <p:strVal val="1+#ppt_h/2"/>
                                          </p:val>
                                        </p:tav>
                                        <p:tav tm="100000">
                                          <p:val>
                                            <p:strVal val="#ppt_y"/>
                                          </p:val>
                                        </p:tav>
                                      </p:tavLst>
                                    </p:anim>
                                  </p:childTnLst>
                                </p:cTn>
                              </p:par>
                              <p:par>
                                <p:cTn id="79" presetID="2" presetClass="entr" presetSubtype="4" fill="hold" nodeType="withEffect">
                                  <p:stCondLst>
                                    <p:cond delay="2000"/>
                                  </p:stCondLst>
                                  <p:childTnLst>
                                    <p:set>
                                      <p:cBhvr>
                                        <p:cTn id="80" dur="1" fill="hold">
                                          <p:stCondLst>
                                            <p:cond delay="0"/>
                                          </p:stCondLst>
                                        </p:cTn>
                                        <p:tgtEl>
                                          <p:spTgt spid="15">
                                            <p:txEl>
                                              <p:pRg st="7" end="7"/>
                                            </p:txEl>
                                          </p:spTgt>
                                        </p:tgtEl>
                                        <p:attrNameLst>
                                          <p:attrName>style.visibility</p:attrName>
                                        </p:attrNameLst>
                                      </p:cBhvr>
                                      <p:to>
                                        <p:strVal val="visible"/>
                                      </p:to>
                                    </p:set>
                                    <p:anim calcmode="lin" valueType="num">
                                      <p:cBhvr additive="base">
                                        <p:cTn id="81" dur="500" fill="hold"/>
                                        <p:tgtEl>
                                          <p:spTgt spid="15">
                                            <p:txEl>
                                              <p:pRg st="7" end="7"/>
                                            </p:txEl>
                                          </p:spTgt>
                                        </p:tgtEl>
                                        <p:attrNameLst>
                                          <p:attrName>ppt_x</p:attrName>
                                        </p:attrNameLst>
                                      </p:cBhvr>
                                      <p:tavLst>
                                        <p:tav tm="0">
                                          <p:val>
                                            <p:strVal val="#ppt_x"/>
                                          </p:val>
                                        </p:tav>
                                        <p:tav tm="100000">
                                          <p:val>
                                            <p:strVal val="#ppt_x"/>
                                          </p:val>
                                        </p:tav>
                                      </p:tavLst>
                                    </p:anim>
                                    <p:anim calcmode="lin" valueType="num">
                                      <p:cBhvr additive="base">
                                        <p:cTn id="82" dur="500" fill="hold"/>
                                        <p:tgtEl>
                                          <p:spTgt spid="15">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animBg="1"/>
      <p:bldP spid="11" grpId="0" animBg="1"/>
      <p:bldP spid="12" grpId="0" animBg="1"/>
      <p:bldP spid="1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571C1C8-F9C2-4820-802A-078963940BD3}"/>
              </a:ext>
            </a:extLst>
          </p:cNvPr>
          <p:cNvSpPr>
            <a:spLocks noGrp="1"/>
          </p:cNvSpPr>
          <p:nvPr>
            <p:ph type="title"/>
          </p:nvPr>
        </p:nvSpPr>
        <p:spPr>
          <a:xfrm>
            <a:off x="838200" y="0"/>
            <a:ext cx="10515600" cy="687498"/>
          </a:xfrm>
        </p:spPr>
        <p:txBody>
          <a:bodyPr>
            <a:normAutofit fontScale="90000"/>
          </a:bodyPr>
          <a:lstStyle/>
          <a:p>
            <a:br>
              <a:rPr lang="es-ES" b="1" dirty="0">
                <a:solidFill>
                  <a:schemeClr val="tx1">
                    <a:lumMod val="65000"/>
                    <a:lumOff val="35000"/>
                  </a:schemeClr>
                </a:solidFill>
                <a:latin typeface="GIZ Gravur TT Cond" panose="02010506010101020102"/>
              </a:rPr>
            </a:br>
            <a:r>
              <a:rPr lang="es-ES" sz="3600" b="1" dirty="0">
                <a:solidFill>
                  <a:schemeClr val="bg1">
                    <a:lumMod val="50000"/>
                  </a:schemeClr>
                </a:solidFill>
                <a:latin typeface="GIZ Gravur TT Cond" panose="02010506010101020102"/>
              </a:rPr>
              <a:t>OUTPUTII. Mecanismos de Implementación de la NDC</a:t>
            </a:r>
            <a:endParaRPr lang="es-MX" dirty="0">
              <a:solidFill>
                <a:schemeClr val="bg1">
                  <a:lumMod val="50000"/>
                </a:schemeClr>
              </a:solidFill>
            </a:endParaRPr>
          </a:p>
        </p:txBody>
      </p:sp>
      <p:sp>
        <p:nvSpPr>
          <p:cNvPr id="3" name="Marcador de contenido 2">
            <a:extLst>
              <a:ext uri="{FF2B5EF4-FFF2-40B4-BE49-F238E27FC236}">
                <a16:creationId xmlns:a16="http://schemas.microsoft.com/office/drawing/2014/main" id="{097AAAE8-4D75-4D95-9646-B11860B368FB}"/>
              </a:ext>
            </a:extLst>
          </p:cNvPr>
          <p:cNvSpPr>
            <a:spLocks noGrp="1"/>
          </p:cNvSpPr>
          <p:nvPr>
            <p:ph idx="1"/>
          </p:nvPr>
        </p:nvSpPr>
        <p:spPr>
          <a:xfrm>
            <a:off x="838200" y="1052624"/>
            <a:ext cx="10515600" cy="5124339"/>
          </a:xfrm>
        </p:spPr>
        <p:txBody>
          <a:bodyPr>
            <a:normAutofit fontScale="85000" lnSpcReduction="10000"/>
          </a:bodyPr>
          <a:lstStyle/>
          <a:p>
            <a:pPr marL="0" lvl="0" indent="0">
              <a:buNone/>
            </a:pPr>
            <a:endParaRPr lang="es-MX" dirty="0"/>
          </a:p>
          <a:p>
            <a:pPr lvl="0"/>
            <a:r>
              <a:rPr lang="es-ES" dirty="0"/>
              <a:t>II.5 </a:t>
            </a:r>
            <a:r>
              <a:rPr lang="es-ES" b="1" dirty="0"/>
              <a:t>Desarrollo de instrumentos y enfoques financieros con el sector privado </a:t>
            </a:r>
            <a:r>
              <a:rPr lang="es-ES" dirty="0"/>
              <a:t>(</a:t>
            </a:r>
          </a:p>
          <a:p>
            <a:pPr lvl="1"/>
            <a:r>
              <a:rPr lang="es-ES" dirty="0"/>
              <a:t>Bonos verdes, climáticos</a:t>
            </a:r>
          </a:p>
          <a:p>
            <a:pPr lvl="1"/>
            <a:r>
              <a:rPr lang="es-ES" dirty="0"/>
              <a:t>Productos financieros en sectores estratégicos</a:t>
            </a:r>
          </a:p>
          <a:p>
            <a:pPr lvl="1"/>
            <a:r>
              <a:rPr lang="es-ES" dirty="0"/>
              <a:t>Capacitación, gestión  de análisis de riesgo climáticos a través de herramientas digitales.</a:t>
            </a:r>
          </a:p>
          <a:p>
            <a:pPr lvl="1"/>
            <a:endParaRPr lang="es-ES" dirty="0"/>
          </a:p>
          <a:p>
            <a:pPr lvl="0"/>
            <a:endParaRPr lang="es-MX" dirty="0"/>
          </a:p>
          <a:p>
            <a:pPr lvl="0"/>
            <a:r>
              <a:rPr lang="es-ES" dirty="0"/>
              <a:t>II.6 Fortalecimiento del sector privado para la participación en proyectos de </a:t>
            </a:r>
            <a:r>
              <a:rPr lang="es-ES" b="1" dirty="0"/>
              <a:t>acceso a fuentes internacionales de financiamiento </a:t>
            </a:r>
            <a:r>
              <a:rPr lang="es-ES" dirty="0"/>
              <a:t>climático (GCF, GEF, NAMA </a:t>
            </a:r>
            <a:r>
              <a:rPr lang="es-ES" dirty="0" err="1"/>
              <a:t>Facility</a:t>
            </a:r>
            <a:r>
              <a:rPr lang="es-ES" dirty="0"/>
              <a:t> </a:t>
            </a:r>
            <a:r>
              <a:rPr lang="es-ES" dirty="0" err="1"/>
              <a:t>etc</a:t>
            </a:r>
            <a:r>
              <a:rPr lang="es-ES" dirty="0"/>
              <a:t>)</a:t>
            </a:r>
          </a:p>
          <a:p>
            <a:pPr lvl="0"/>
            <a:endParaRPr lang="es-ES" dirty="0"/>
          </a:p>
          <a:p>
            <a:pPr lvl="0"/>
            <a:r>
              <a:rPr lang="es-ES" dirty="0"/>
              <a:t>II.8 Apoyo en el diseño de mapas de ruta en los sectores financieros, (aseguradoras, mercados de capital, administradoras de pensiones</a:t>
            </a:r>
            <a:r>
              <a:rPr lang="es-ES"/>
              <a:t>, entre otros)</a:t>
            </a:r>
            <a:endParaRPr lang="es-MX" dirty="0"/>
          </a:p>
        </p:txBody>
      </p:sp>
      <p:sp>
        <p:nvSpPr>
          <p:cNvPr id="4" name="Marcador de fecha 3">
            <a:extLst>
              <a:ext uri="{FF2B5EF4-FFF2-40B4-BE49-F238E27FC236}">
                <a16:creationId xmlns:a16="http://schemas.microsoft.com/office/drawing/2014/main" id="{E84411A2-D50A-4276-AB53-4F7D90DE0BA0}"/>
              </a:ext>
            </a:extLst>
          </p:cNvPr>
          <p:cNvSpPr>
            <a:spLocks noGrp="1"/>
          </p:cNvSpPr>
          <p:nvPr>
            <p:ph type="dt" sz="half" idx="10"/>
          </p:nvPr>
        </p:nvSpPr>
        <p:spPr/>
        <p:txBody>
          <a:bodyPr/>
          <a:lstStyle/>
          <a:p>
            <a:r>
              <a:rPr lang="es-ES"/>
              <a:t>14.02.2019</a:t>
            </a:r>
            <a:endParaRPr lang="es-ES" dirty="0"/>
          </a:p>
        </p:txBody>
      </p:sp>
      <p:sp>
        <p:nvSpPr>
          <p:cNvPr id="5" name="Marcador de pie de página 4">
            <a:extLst>
              <a:ext uri="{FF2B5EF4-FFF2-40B4-BE49-F238E27FC236}">
                <a16:creationId xmlns:a16="http://schemas.microsoft.com/office/drawing/2014/main" id="{66115757-876A-4142-BF16-72A1972A51A7}"/>
              </a:ext>
            </a:extLst>
          </p:cNvPr>
          <p:cNvSpPr>
            <a:spLocks noGrp="1"/>
          </p:cNvSpPr>
          <p:nvPr>
            <p:ph type="ftr" sz="quarter" idx="11"/>
          </p:nvPr>
        </p:nvSpPr>
        <p:spPr/>
        <p:txBody>
          <a:bodyPr/>
          <a:lstStyle/>
          <a:p>
            <a:r>
              <a:rPr lang="es-ES"/>
              <a:t>Título de la presentación</a:t>
            </a:r>
            <a:endParaRPr lang="es-ES" dirty="0"/>
          </a:p>
        </p:txBody>
      </p:sp>
      <p:sp>
        <p:nvSpPr>
          <p:cNvPr id="6" name="Marcador de número de diapositiva 5">
            <a:extLst>
              <a:ext uri="{FF2B5EF4-FFF2-40B4-BE49-F238E27FC236}">
                <a16:creationId xmlns:a16="http://schemas.microsoft.com/office/drawing/2014/main" id="{405FDB4C-701A-45C6-BA3A-E5762FF69CA9}"/>
              </a:ext>
            </a:extLst>
          </p:cNvPr>
          <p:cNvSpPr>
            <a:spLocks noGrp="1"/>
          </p:cNvSpPr>
          <p:nvPr>
            <p:ph type="sldNum" sz="quarter" idx="12"/>
          </p:nvPr>
        </p:nvSpPr>
        <p:spPr/>
        <p:txBody>
          <a:bodyPr/>
          <a:lstStyle/>
          <a:p>
            <a:r>
              <a:rPr lang="es-ES"/>
              <a:t>Página </a:t>
            </a:r>
            <a:fld id="{3A8B5DB7-81A8-4ED4-916B-6B23CD603687}" type="slidenum">
              <a:rPr lang="es-ES" smtClean="0"/>
              <a:pPr/>
              <a:t>26</a:t>
            </a:fld>
            <a:endParaRPr lang="es-ES" dirty="0"/>
          </a:p>
        </p:txBody>
      </p:sp>
    </p:spTree>
    <p:extLst>
      <p:ext uri="{BB962C8B-B14F-4D97-AF65-F5344CB8AC3E}">
        <p14:creationId xmlns:p14="http://schemas.microsoft.com/office/powerpoint/2010/main" val="8726137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umsplatzhalter 7">
            <a:extLst>
              <a:ext uri="{FF2B5EF4-FFF2-40B4-BE49-F238E27FC236}">
                <a16:creationId xmlns:a16="http://schemas.microsoft.com/office/drawing/2014/main" id="{1BDEAAC8-7AF1-4B59-B6C6-7968DEAC9702}"/>
              </a:ext>
            </a:extLst>
          </p:cNvPr>
          <p:cNvSpPr>
            <a:spLocks noGrp="1"/>
          </p:cNvSpPr>
          <p:nvPr>
            <p:ph type="dt" sz="half" idx="10"/>
          </p:nvPr>
        </p:nvSpPr>
        <p:spPr>
          <a:xfrm>
            <a:off x="1379738" y="6475058"/>
            <a:ext cx="2743200" cy="365125"/>
          </a:xfrm>
        </p:spPr>
        <p:txBody>
          <a:bodyPr/>
          <a:lstStyle/>
          <a:p>
            <a:r>
              <a:rPr lang="es-ES" dirty="0"/>
              <a:t>14.02.2019</a:t>
            </a:r>
          </a:p>
        </p:txBody>
      </p:sp>
      <p:sp>
        <p:nvSpPr>
          <p:cNvPr id="9" name="Fußzeilenplatzhalter 8">
            <a:extLst>
              <a:ext uri="{FF2B5EF4-FFF2-40B4-BE49-F238E27FC236}">
                <a16:creationId xmlns:a16="http://schemas.microsoft.com/office/drawing/2014/main" id="{1BEF9E05-563A-4A39-9005-D02CBC237040}"/>
              </a:ext>
            </a:extLst>
          </p:cNvPr>
          <p:cNvSpPr>
            <a:spLocks noGrp="1"/>
          </p:cNvSpPr>
          <p:nvPr>
            <p:ph type="ftr" sz="quarter" idx="11"/>
          </p:nvPr>
        </p:nvSpPr>
        <p:spPr/>
        <p:txBody>
          <a:bodyPr/>
          <a:lstStyle/>
          <a:p>
            <a:r>
              <a:rPr lang="es-ES" dirty="0"/>
              <a:t>Clúster de Cambio Climático | GIZ MX </a:t>
            </a:r>
          </a:p>
        </p:txBody>
      </p:sp>
      <p:sp>
        <p:nvSpPr>
          <p:cNvPr id="10" name="Foliennummernplatzhalter 9">
            <a:extLst>
              <a:ext uri="{FF2B5EF4-FFF2-40B4-BE49-F238E27FC236}">
                <a16:creationId xmlns:a16="http://schemas.microsoft.com/office/drawing/2014/main" id="{DFFDD7F2-C7BA-455F-91D2-374A8599BA6F}"/>
              </a:ext>
            </a:extLst>
          </p:cNvPr>
          <p:cNvSpPr>
            <a:spLocks noGrp="1"/>
          </p:cNvSpPr>
          <p:nvPr>
            <p:ph type="sldNum" sz="quarter" idx="12"/>
          </p:nvPr>
        </p:nvSpPr>
        <p:spPr/>
        <p:txBody>
          <a:bodyPr/>
          <a:lstStyle/>
          <a:p>
            <a:r>
              <a:rPr lang="es-ES"/>
              <a:t>Página </a:t>
            </a:r>
            <a:fld id="{3A8B5DB7-81A8-4ED4-916B-6B23CD603687}" type="slidenum">
              <a:rPr lang="es-ES" smtClean="0"/>
              <a:pPr/>
              <a:t>27</a:t>
            </a:fld>
            <a:endParaRPr lang="es-ES" dirty="0"/>
          </a:p>
        </p:txBody>
      </p:sp>
      <p:sp>
        <p:nvSpPr>
          <p:cNvPr id="2" name="Rectángulo 1">
            <a:extLst>
              <a:ext uri="{FF2B5EF4-FFF2-40B4-BE49-F238E27FC236}">
                <a16:creationId xmlns:a16="http://schemas.microsoft.com/office/drawing/2014/main" id="{ECFC2AC6-E4CA-461B-95F2-268AC0867427}"/>
              </a:ext>
            </a:extLst>
          </p:cNvPr>
          <p:cNvSpPr/>
          <p:nvPr/>
        </p:nvSpPr>
        <p:spPr>
          <a:xfrm>
            <a:off x="10884138" y="6125592"/>
            <a:ext cx="1260000" cy="71021"/>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 name="Rectángulo 2">
            <a:extLst>
              <a:ext uri="{FF2B5EF4-FFF2-40B4-BE49-F238E27FC236}">
                <a16:creationId xmlns:a16="http://schemas.microsoft.com/office/drawing/2014/main" id="{B964C7BA-654A-4EBC-A52E-FEDBEB5A1380}"/>
              </a:ext>
            </a:extLst>
          </p:cNvPr>
          <p:cNvSpPr/>
          <p:nvPr/>
        </p:nvSpPr>
        <p:spPr>
          <a:xfrm>
            <a:off x="647700" y="6533302"/>
            <a:ext cx="2743200" cy="2486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20" name="Título 1">
            <a:extLst>
              <a:ext uri="{FF2B5EF4-FFF2-40B4-BE49-F238E27FC236}">
                <a16:creationId xmlns:a16="http://schemas.microsoft.com/office/drawing/2014/main" id="{FE120B8F-09BD-481D-9660-393F39A78FA7}"/>
              </a:ext>
            </a:extLst>
          </p:cNvPr>
          <p:cNvSpPr txBox="1">
            <a:spLocks/>
          </p:cNvSpPr>
          <p:nvPr/>
        </p:nvSpPr>
        <p:spPr>
          <a:xfrm>
            <a:off x="-273802" y="2577915"/>
            <a:ext cx="12192000" cy="114934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ES" sz="5400" b="1" dirty="0">
                <a:solidFill>
                  <a:srgbClr val="C00000"/>
                </a:solidFill>
                <a:latin typeface="GIZ Gravur Pro Cond" panose="02010506010101020102" pitchFamily="50" charset="0"/>
              </a:rPr>
              <a:t>¡Gracias!</a:t>
            </a:r>
            <a:endParaRPr lang="es-ES" sz="5400" dirty="0">
              <a:solidFill>
                <a:srgbClr val="C00000"/>
              </a:solidFill>
              <a:latin typeface="GIZ Gravur Pro Cond" panose="02010506010101020102" pitchFamily="50" charset="0"/>
            </a:endParaRPr>
          </a:p>
        </p:txBody>
      </p:sp>
      <p:sp>
        <p:nvSpPr>
          <p:cNvPr id="21" name="Rectángulo 20">
            <a:extLst>
              <a:ext uri="{FF2B5EF4-FFF2-40B4-BE49-F238E27FC236}">
                <a16:creationId xmlns:a16="http://schemas.microsoft.com/office/drawing/2014/main" id="{04A4D748-9BBD-420E-BDEC-ECC92E098146}"/>
              </a:ext>
            </a:extLst>
          </p:cNvPr>
          <p:cNvSpPr/>
          <p:nvPr/>
        </p:nvSpPr>
        <p:spPr bwMode="auto">
          <a:xfrm>
            <a:off x="170483" y="4187023"/>
            <a:ext cx="11747716" cy="1786512"/>
          </a:xfrm>
          <a:prstGeom prst="rect">
            <a:avLst/>
          </a:prstGeom>
          <a:solidFill>
            <a:srgbClr val="C00000">
              <a:alpha val="42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s-MX" sz="2200" b="1" dirty="0">
              <a:solidFill>
                <a:srgbClr val="999999"/>
              </a:solidFill>
              <a:latin typeface="Arial" charset="0"/>
            </a:endParaRPr>
          </a:p>
        </p:txBody>
      </p:sp>
      <p:sp>
        <p:nvSpPr>
          <p:cNvPr id="22" name="CuadroTexto 21">
            <a:extLst>
              <a:ext uri="{FF2B5EF4-FFF2-40B4-BE49-F238E27FC236}">
                <a16:creationId xmlns:a16="http://schemas.microsoft.com/office/drawing/2014/main" id="{F8C82CFE-19DE-4CFC-BD22-C15280C7AD26}"/>
              </a:ext>
            </a:extLst>
          </p:cNvPr>
          <p:cNvSpPr txBox="1"/>
          <p:nvPr/>
        </p:nvSpPr>
        <p:spPr>
          <a:xfrm>
            <a:off x="4617217" y="4296629"/>
            <a:ext cx="4496315" cy="239809"/>
          </a:xfrm>
          <a:prstGeom prst="rect">
            <a:avLst/>
          </a:prstGeom>
          <a:noFill/>
        </p:spPr>
        <p:txBody>
          <a:bodyPr wrap="square" rtlCol="0">
            <a:spAutoFit/>
          </a:bodyPr>
          <a:lstStyle/>
          <a:p>
            <a:pPr algn="ctr" defTabSz="914400">
              <a:lnSpc>
                <a:spcPts val="900"/>
              </a:lnSpc>
            </a:pPr>
            <a:r>
              <a:rPr lang="es-ES" kern="0" dirty="0">
                <a:solidFill>
                  <a:prstClr val="white"/>
                </a:solidFill>
                <a:cs typeface="Calibri" panose="020F0502020204030204" pitchFamily="34" charset="0"/>
                <a:hlinkClick r:id="rId3">
                  <a:extLst>
                    <a:ext uri="{A12FA001-AC4F-418D-AE19-62706E023703}">
                      <ahyp:hlinkClr xmlns:ahyp="http://schemas.microsoft.com/office/drawing/2018/hyperlinkcolor" val="tx"/>
                    </a:ext>
                  </a:extLst>
                </a:hlinkClick>
              </a:rPr>
              <a:t>www.giz.de/en/worldwide/33041.html</a:t>
            </a:r>
            <a:r>
              <a:rPr lang="es-ES" kern="0" dirty="0">
                <a:solidFill>
                  <a:prstClr val="white"/>
                </a:solidFill>
                <a:cs typeface="Calibri" panose="020F0502020204030204" pitchFamily="34" charset="0"/>
              </a:rPr>
              <a:t> </a:t>
            </a:r>
          </a:p>
        </p:txBody>
      </p:sp>
      <p:sp>
        <p:nvSpPr>
          <p:cNvPr id="23" name="CuadroTexto 22">
            <a:extLst>
              <a:ext uri="{FF2B5EF4-FFF2-40B4-BE49-F238E27FC236}">
                <a16:creationId xmlns:a16="http://schemas.microsoft.com/office/drawing/2014/main" id="{CA06908E-A41A-4152-BDFC-2CB599865A33}"/>
              </a:ext>
            </a:extLst>
          </p:cNvPr>
          <p:cNvSpPr txBox="1"/>
          <p:nvPr/>
        </p:nvSpPr>
        <p:spPr>
          <a:xfrm>
            <a:off x="4947309" y="5461929"/>
            <a:ext cx="4339899" cy="369332"/>
          </a:xfrm>
          <a:prstGeom prst="rect">
            <a:avLst/>
          </a:prstGeom>
          <a:noFill/>
        </p:spPr>
        <p:txBody>
          <a:bodyPr wrap="square" rtlCol="0">
            <a:spAutoFit/>
          </a:bodyPr>
          <a:lstStyle>
            <a:defPPr>
              <a:defRPr lang="de-DE"/>
            </a:defPPr>
            <a:lvl1pPr>
              <a:defRPr sz="1400">
                <a:solidFill>
                  <a:schemeClr val="bg1"/>
                </a:solidFill>
                <a:latin typeface="Calibri" panose="020F0502020204030204" pitchFamily="34" charset="0"/>
                <a:cs typeface="Calibri" panose="020F0502020204030204" pitchFamily="34" charset="0"/>
              </a:defRPr>
            </a:lvl1pPr>
          </a:lstStyle>
          <a:p>
            <a:pPr marL="0" marR="0" lvl="0" indent="0" defTabSz="914377" eaLnBrk="1" fontAlgn="auto" latinLnBrk="0" hangingPunct="1">
              <a:lnSpc>
                <a:spcPct val="100000"/>
              </a:lnSpc>
              <a:spcBef>
                <a:spcPts val="0"/>
              </a:spcBef>
              <a:spcAft>
                <a:spcPts val="0"/>
              </a:spcAft>
              <a:buClrTx/>
              <a:buSzTx/>
              <a:buFontTx/>
              <a:buNone/>
              <a:tabLst/>
              <a:defRPr/>
            </a:pPr>
            <a:r>
              <a:rPr kumimoji="0" lang="es-MX" sz="18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a:t>
            </a:r>
            <a:r>
              <a:rPr kumimoji="0" lang="es-MX" sz="1800" b="0" i="0" u="none" strike="noStrike" kern="0" cap="none" spc="0" normalizeH="0" baseline="0" noProof="0" dirty="0" err="1">
                <a:ln>
                  <a:noFill/>
                </a:ln>
                <a:solidFill>
                  <a:prstClr val="white"/>
                </a:solidFill>
                <a:effectLst/>
                <a:uLnTx/>
                <a:uFillTx/>
                <a:latin typeface="Calibri" panose="020F0502020204030204" pitchFamily="34" charset="0"/>
                <a:cs typeface="Calibri" panose="020F0502020204030204" pitchFamily="34" charset="0"/>
              </a:rPr>
              <a:t>IKI_Mexico</a:t>
            </a:r>
            <a:endParaRPr kumimoji="0" lang="es-MX" sz="18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24" name="CuadroTexto 23">
            <a:extLst>
              <a:ext uri="{FF2B5EF4-FFF2-40B4-BE49-F238E27FC236}">
                <a16:creationId xmlns:a16="http://schemas.microsoft.com/office/drawing/2014/main" id="{A8600428-2CF4-451E-831D-BD84C98DF235}"/>
              </a:ext>
            </a:extLst>
          </p:cNvPr>
          <p:cNvSpPr txBox="1"/>
          <p:nvPr/>
        </p:nvSpPr>
        <p:spPr>
          <a:xfrm>
            <a:off x="4947309" y="4650810"/>
            <a:ext cx="2856064" cy="369332"/>
          </a:xfrm>
          <a:prstGeom prst="rect">
            <a:avLst/>
          </a:prstGeom>
          <a:noFill/>
        </p:spPr>
        <p:txBody>
          <a:bodyPr wrap="square" rtlCol="0">
            <a:spAutoFit/>
          </a:bodyPr>
          <a:lstStyle/>
          <a:p>
            <a:pPr defTabSz="914400"/>
            <a:r>
              <a:rPr lang="es-ES" kern="0" dirty="0">
                <a:solidFill>
                  <a:prstClr val="white"/>
                </a:solidFill>
                <a:cs typeface="Calibri" panose="020F0502020204030204" pitchFamily="34" charset="0"/>
                <a:hlinkClick r:id="rId4">
                  <a:extLst>
                    <a:ext uri="{A12FA001-AC4F-418D-AE19-62706E023703}">
                      <ahyp:hlinkClr xmlns:ahyp="http://schemas.microsoft.com/office/drawing/2018/hyperlinkcolor" val="tx"/>
                    </a:ext>
                  </a:extLst>
                </a:hlinkClick>
              </a:rPr>
              <a:t>http://www.iki-alliance.mx</a:t>
            </a:r>
            <a:endParaRPr lang="es-MX" kern="0" dirty="0">
              <a:solidFill>
                <a:prstClr val="white"/>
              </a:solidFill>
              <a:cs typeface="Calibri" panose="020F0502020204030204" pitchFamily="34" charset="0"/>
            </a:endParaRPr>
          </a:p>
        </p:txBody>
      </p:sp>
      <p:sp>
        <p:nvSpPr>
          <p:cNvPr id="25" name="CuadroTexto 24">
            <a:extLst>
              <a:ext uri="{FF2B5EF4-FFF2-40B4-BE49-F238E27FC236}">
                <a16:creationId xmlns:a16="http://schemas.microsoft.com/office/drawing/2014/main" id="{AF8E5B89-815E-4CD3-A4AD-CEE4992D02FC}"/>
              </a:ext>
            </a:extLst>
          </p:cNvPr>
          <p:cNvSpPr txBox="1"/>
          <p:nvPr/>
        </p:nvSpPr>
        <p:spPr>
          <a:xfrm>
            <a:off x="4947309" y="5082251"/>
            <a:ext cx="4339899" cy="369332"/>
          </a:xfrm>
          <a:prstGeom prst="rect">
            <a:avLst/>
          </a:prstGeom>
          <a:noFill/>
        </p:spPr>
        <p:txBody>
          <a:bodyPr wrap="square" rtlCol="0">
            <a:spAutoFit/>
          </a:bodyPr>
          <a:lstStyle>
            <a:defPPr>
              <a:defRPr lang="de-DE"/>
            </a:defPPr>
            <a:lvl1pPr>
              <a:defRPr sz="1400">
                <a:solidFill>
                  <a:schemeClr val="bg1"/>
                </a:solidFill>
                <a:latin typeface="Calibri" panose="020F0502020204030204" pitchFamily="34" charset="0"/>
                <a:cs typeface="Calibri" panose="020F0502020204030204" pitchFamily="34" charset="0"/>
              </a:defRPr>
            </a:lvl1pPr>
          </a:lstStyle>
          <a:p>
            <a:pPr marL="0" marR="0" lvl="0" indent="0" defTabSz="914377" eaLnBrk="1" fontAlgn="auto" latinLnBrk="0" hangingPunct="1">
              <a:lnSpc>
                <a:spcPct val="100000"/>
              </a:lnSpc>
              <a:spcBef>
                <a:spcPts val="0"/>
              </a:spcBef>
              <a:spcAft>
                <a:spcPts val="0"/>
              </a:spcAft>
              <a:buClrTx/>
              <a:buSzTx/>
              <a:buFontTx/>
              <a:buNone/>
              <a:tabLst/>
              <a:defRPr/>
            </a:pPr>
            <a:r>
              <a:rPr kumimoji="0" lang="es-MX" sz="1800" b="0" i="0" u="none" strike="noStrike" kern="0" cap="none" spc="0" normalizeH="0" baseline="0" noProof="0" dirty="0" err="1">
                <a:ln>
                  <a:noFill/>
                </a:ln>
                <a:solidFill>
                  <a:prstClr val="white"/>
                </a:solidFill>
                <a:effectLst/>
                <a:uLnTx/>
                <a:uFillTx/>
                <a:latin typeface="Calibri" panose="020F0502020204030204" pitchFamily="34" charset="0"/>
                <a:cs typeface="Calibri" panose="020F0502020204030204" pitchFamily="34" charset="0"/>
              </a:rPr>
              <a:t>Iki.alliance.mexico</a:t>
            </a:r>
            <a:r>
              <a:rPr kumimoji="0" lang="es-MX" sz="18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a:t>
            </a:r>
            <a:r>
              <a:rPr kumimoji="0" lang="es-MX" sz="1800" b="0" i="0" u="none" strike="noStrike" kern="0" cap="none" spc="0" normalizeH="0" baseline="0" noProof="0" dirty="0" err="1">
                <a:ln>
                  <a:noFill/>
                </a:ln>
                <a:solidFill>
                  <a:prstClr val="white"/>
                </a:solidFill>
                <a:effectLst/>
                <a:uLnTx/>
                <a:uFillTx/>
                <a:latin typeface="Calibri" panose="020F0502020204030204" pitchFamily="34" charset="0"/>
                <a:cs typeface="Calibri" panose="020F0502020204030204" pitchFamily="34" charset="0"/>
              </a:rPr>
              <a:t>giz.de</a:t>
            </a:r>
            <a:endParaRPr kumimoji="0" lang="es-MX" sz="18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26" name="3 Rectángulo">
            <a:extLst>
              <a:ext uri="{FF2B5EF4-FFF2-40B4-BE49-F238E27FC236}">
                <a16:creationId xmlns:a16="http://schemas.microsoft.com/office/drawing/2014/main" id="{E984C5B8-1EDB-40B9-8BDC-F82053292B89}"/>
              </a:ext>
            </a:extLst>
          </p:cNvPr>
          <p:cNvSpPr/>
          <p:nvPr/>
        </p:nvSpPr>
        <p:spPr>
          <a:xfrm>
            <a:off x="4822339" y="4416141"/>
            <a:ext cx="76879" cy="1479583"/>
          </a:xfrm>
          <a:prstGeom prst="rect">
            <a:avLst/>
          </a:prstGeom>
          <a:solidFill>
            <a:sysClr val="window" lastClr="FFFFFF"/>
          </a:solidFill>
          <a:ln w="12700" cap="flat" cmpd="sng" algn="ctr">
            <a:noFill/>
            <a:prstDash val="solid"/>
            <a:miter lim="800000"/>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s-AR" sz="2000" b="0" i="0" u="none" strike="noStrike" kern="0" cap="none" spc="0" normalizeH="0" baseline="0" noProof="0">
              <a:ln>
                <a:noFill/>
              </a:ln>
              <a:solidFill>
                <a:prstClr val="black">
                  <a:lumMod val="50000"/>
                  <a:lumOff val="50000"/>
                </a:prstClr>
              </a:solidFill>
              <a:effectLst/>
              <a:uLnTx/>
              <a:uFillTx/>
            </a:endParaRPr>
          </a:p>
        </p:txBody>
      </p:sp>
      <p:pic>
        <p:nvPicPr>
          <p:cNvPr id="27" name="Imagen 10" descr="Twitter_logo_white.png">
            <a:extLst>
              <a:ext uri="{FF2B5EF4-FFF2-40B4-BE49-F238E27FC236}">
                <a16:creationId xmlns:a16="http://schemas.microsoft.com/office/drawing/2014/main" id="{1043F9DF-3E46-442B-A4FA-3E9963FC310A}"/>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301467" y="5498174"/>
            <a:ext cx="365643" cy="296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Imagen 27">
            <a:extLst>
              <a:ext uri="{FF2B5EF4-FFF2-40B4-BE49-F238E27FC236}">
                <a16:creationId xmlns:a16="http://schemas.microsoft.com/office/drawing/2014/main" id="{EBDEDCF3-7A13-4954-B0FE-B9CDFFBE82B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21148" y="5104095"/>
            <a:ext cx="296069" cy="296069"/>
          </a:xfrm>
          <a:prstGeom prst="rect">
            <a:avLst/>
          </a:prstGeom>
        </p:spPr>
      </p:pic>
      <p:pic>
        <p:nvPicPr>
          <p:cNvPr id="29" name="1 Imagen">
            <a:extLst>
              <a:ext uri="{FF2B5EF4-FFF2-40B4-BE49-F238E27FC236}">
                <a16:creationId xmlns:a16="http://schemas.microsoft.com/office/drawing/2014/main" id="{CBC988D3-0FF1-4581-ACAB-5A0903081743}"/>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222469" y="4582168"/>
            <a:ext cx="495783" cy="494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036686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umsplatzhalter 7">
            <a:extLst>
              <a:ext uri="{FF2B5EF4-FFF2-40B4-BE49-F238E27FC236}">
                <a16:creationId xmlns:a16="http://schemas.microsoft.com/office/drawing/2014/main" id="{1BDEAAC8-7AF1-4B59-B6C6-7968DEAC9702}"/>
              </a:ext>
            </a:extLst>
          </p:cNvPr>
          <p:cNvSpPr>
            <a:spLocks noGrp="1"/>
          </p:cNvSpPr>
          <p:nvPr>
            <p:ph type="dt" sz="half" idx="10"/>
          </p:nvPr>
        </p:nvSpPr>
        <p:spPr>
          <a:xfrm>
            <a:off x="1379738" y="6475058"/>
            <a:ext cx="2743200" cy="365125"/>
          </a:xfrm>
        </p:spPr>
        <p:txBody>
          <a:bodyPr/>
          <a:lstStyle/>
          <a:p>
            <a:r>
              <a:rPr lang="es-ES" dirty="0"/>
              <a:t>14.02.2019</a:t>
            </a:r>
          </a:p>
        </p:txBody>
      </p:sp>
      <p:sp>
        <p:nvSpPr>
          <p:cNvPr id="9" name="Fußzeilenplatzhalter 8">
            <a:extLst>
              <a:ext uri="{FF2B5EF4-FFF2-40B4-BE49-F238E27FC236}">
                <a16:creationId xmlns:a16="http://schemas.microsoft.com/office/drawing/2014/main" id="{1BEF9E05-563A-4A39-9005-D02CBC237040}"/>
              </a:ext>
            </a:extLst>
          </p:cNvPr>
          <p:cNvSpPr>
            <a:spLocks noGrp="1"/>
          </p:cNvSpPr>
          <p:nvPr>
            <p:ph type="ftr" sz="quarter" idx="11"/>
          </p:nvPr>
        </p:nvSpPr>
        <p:spPr/>
        <p:txBody>
          <a:bodyPr/>
          <a:lstStyle/>
          <a:p>
            <a:r>
              <a:rPr lang="es-ES" dirty="0"/>
              <a:t>Clúster de Cambio Climático | GIZ MX </a:t>
            </a:r>
          </a:p>
        </p:txBody>
      </p:sp>
      <p:sp>
        <p:nvSpPr>
          <p:cNvPr id="10" name="Foliennummernplatzhalter 9">
            <a:extLst>
              <a:ext uri="{FF2B5EF4-FFF2-40B4-BE49-F238E27FC236}">
                <a16:creationId xmlns:a16="http://schemas.microsoft.com/office/drawing/2014/main" id="{DFFDD7F2-C7BA-455F-91D2-374A8599BA6F}"/>
              </a:ext>
            </a:extLst>
          </p:cNvPr>
          <p:cNvSpPr>
            <a:spLocks noGrp="1"/>
          </p:cNvSpPr>
          <p:nvPr>
            <p:ph type="sldNum" sz="quarter" idx="12"/>
          </p:nvPr>
        </p:nvSpPr>
        <p:spPr/>
        <p:txBody>
          <a:bodyPr/>
          <a:lstStyle/>
          <a:p>
            <a:r>
              <a:rPr lang="es-ES"/>
              <a:t>Página </a:t>
            </a:r>
            <a:fld id="{3A8B5DB7-81A8-4ED4-916B-6B23CD603687}" type="slidenum">
              <a:rPr lang="es-ES" smtClean="0"/>
              <a:pPr/>
              <a:t>3</a:t>
            </a:fld>
            <a:endParaRPr lang="es-ES" dirty="0"/>
          </a:p>
        </p:txBody>
      </p:sp>
      <p:sp>
        <p:nvSpPr>
          <p:cNvPr id="2" name="Rectángulo 1">
            <a:extLst>
              <a:ext uri="{FF2B5EF4-FFF2-40B4-BE49-F238E27FC236}">
                <a16:creationId xmlns:a16="http://schemas.microsoft.com/office/drawing/2014/main" id="{ECFC2AC6-E4CA-461B-95F2-268AC0867427}"/>
              </a:ext>
            </a:extLst>
          </p:cNvPr>
          <p:cNvSpPr/>
          <p:nvPr/>
        </p:nvSpPr>
        <p:spPr>
          <a:xfrm>
            <a:off x="10884138" y="6125592"/>
            <a:ext cx="1260000" cy="71021"/>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 name="Rectángulo 2">
            <a:extLst>
              <a:ext uri="{FF2B5EF4-FFF2-40B4-BE49-F238E27FC236}">
                <a16:creationId xmlns:a16="http://schemas.microsoft.com/office/drawing/2014/main" id="{B964C7BA-654A-4EBC-A52E-FEDBEB5A1380}"/>
              </a:ext>
            </a:extLst>
          </p:cNvPr>
          <p:cNvSpPr/>
          <p:nvPr/>
        </p:nvSpPr>
        <p:spPr>
          <a:xfrm>
            <a:off x="647700" y="6533302"/>
            <a:ext cx="2743200" cy="2486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11" name="Título 1">
            <a:extLst>
              <a:ext uri="{FF2B5EF4-FFF2-40B4-BE49-F238E27FC236}">
                <a16:creationId xmlns:a16="http://schemas.microsoft.com/office/drawing/2014/main" id="{3A85CFB7-6380-4DDA-96DB-DF78A411AD51}"/>
              </a:ext>
            </a:extLst>
          </p:cNvPr>
          <p:cNvSpPr txBox="1">
            <a:spLocks/>
          </p:cNvSpPr>
          <p:nvPr/>
        </p:nvSpPr>
        <p:spPr>
          <a:xfrm>
            <a:off x="487199" y="197168"/>
            <a:ext cx="9948573" cy="145509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3400" b="1" dirty="0">
                <a:solidFill>
                  <a:prstClr val="black">
                    <a:lumMod val="50000"/>
                    <a:lumOff val="50000"/>
                  </a:prstClr>
                </a:solidFill>
                <a:latin typeface="GIZ Gravur Pro Cond" panose="02010506010101020102"/>
              </a:rPr>
              <a:t>Nuestro trabajo en GIZ es</a:t>
            </a:r>
            <a:r>
              <a:rPr lang="es-ES" b="1" dirty="0">
                <a:solidFill>
                  <a:prstClr val="black">
                    <a:lumMod val="50000"/>
                    <a:lumOff val="50000"/>
                  </a:prstClr>
                </a:solidFill>
                <a:latin typeface="GIZ Gravur Pro Cond" panose="02010506010101020102"/>
              </a:rPr>
              <a:t> </a:t>
            </a:r>
            <a:r>
              <a:rPr lang="es-ES" sz="2400" b="1" dirty="0">
                <a:solidFill>
                  <a:prstClr val="black">
                    <a:lumMod val="50000"/>
                    <a:lumOff val="50000"/>
                  </a:prstClr>
                </a:solidFill>
                <a:latin typeface="GIZ Gravur Pro Cond" panose="02010506010101020102"/>
              </a:rPr>
              <a:t>dar asistencia técnica, desarrollar capacidades, promover el intercambio de conocimientos e implementar proyectos pilotos en diferentes sectores y niveles.</a:t>
            </a:r>
          </a:p>
        </p:txBody>
      </p:sp>
      <p:grpSp>
        <p:nvGrpSpPr>
          <p:cNvPr id="12" name="Grupo 11">
            <a:extLst>
              <a:ext uri="{FF2B5EF4-FFF2-40B4-BE49-F238E27FC236}">
                <a16:creationId xmlns:a16="http://schemas.microsoft.com/office/drawing/2014/main" id="{B7D89446-212A-40D7-8BBC-7218D072E7A9}"/>
              </a:ext>
            </a:extLst>
          </p:cNvPr>
          <p:cNvGrpSpPr/>
          <p:nvPr/>
        </p:nvGrpSpPr>
        <p:grpSpPr>
          <a:xfrm>
            <a:off x="2693815" y="1559545"/>
            <a:ext cx="5760000" cy="4856159"/>
            <a:chOff x="1604183" y="1569834"/>
            <a:chExt cx="6550757" cy="5233321"/>
          </a:xfrm>
        </p:grpSpPr>
        <p:sp>
          <p:nvSpPr>
            <p:cNvPr id="13" name="Freeform: Shape 172">
              <a:extLst>
                <a:ext uri="{FF2B5EF4-FFF2-40B4-BE49-F238E27FC236}">
                  <a16:creationId xmlns:a16="http://schemas.microsoft.com/office/drawing/2014/main" id="{4CC55AAF-8EB7-46A4-AEE9-DCEE3431E751}"/>
                </a:ext>
              </a:extLst>
            </p:cNvPr>
            <p:cNvSpPr/>
            <p:nvPr/>
          </p:nvSpPr>
          <p:spPr>
            <a:xfrm rot="10800000">
              <a:off x="3094076" y="1569834"/>
              <a:ext cx="4513277" cy="4719129"/>
            </a:xfrm>
            <a:custGeom>
              <a:avLst/>
              <a:gdLst>
                <a:gd name="connsiteX0" fmla="*/ 2261004 w 2783150"/>
                <a:gd name="connsiteY0" fmla="*/ 889473 h 3760836"/>
                <a:gd name="connsiteX1" fmla="*/ 2331798 w 2783150"/>
                <a:gd name="connsiteY1" fmla="*/ 869765 h 3760836"/>
                <a:gd name="connsiteX2" fmla="*/ 2354493 w 2783150"/>
                <a:gd name="connsiteY2" fmla="*/ 862086 h 3760836"/>
                <a:gd name="connsiteX3" fmla="*/ 2331799 w 2783150"/>
                <a:gd name="connsiteY3" fmla="*/ 869765 h 3760836"/>
                <a:gd name="connsiteX4" fmla="*/ 1865868 w 2783150"/>
                <a:gd name="connsiteY4" fmla="*/ 957725 h 3760836"/>
                <a:gd name="connsiteX5" fmla="*/ 1933898 w 2783150"/>
                <a:gd name="connsiteY5" fmla="*/ 949433 h 3760836"/>
                <a:gd name="connsiteX6" fmla="*/ 1972366 w 2783150"/>
                <a:gd name="connsiteY6" fmla="*/ 944745 h 3760836"/>
                <a:gd name="connsiteX7" fmla="*/ 2120599 w 2783150"/>
                <a:gd name="connsiteY7" fmla="*/ 920708 h 3760836"/>
                <a:gd name="connsiteX8" fmla="*/ 2147268 w 2783150"/>
                <a:gd name="connsiteY8" fmla="*/ 914863 h 3760836"/>
                <a:gd name="connsiteX9" fmla="*/ 2166630 w 2783150"/>
                <a:gd name="connsiteY9" fmla="*/ 911556 h 3760836"/>
                <a:gd name="connsiteX10" fmla="*/ 2253131 w 2783150"/>
                <a:gd name="connsiteY10" fmla="*/ 891664 h 3760836"/>
                <a:gd name="connsiteX11" fmla="*/ 2253157 w 2783150"/>
                <a:gd name="connsiteY11" fmla="*/ 891658 h 3760836"/>
                <a:gd name="connsiteX12" fmla="*/ 2253157 w 2783150"/>
                <a:gd name="connsiteY12" fmla="*/ 891658 h 3760836"/>
                <a:gd name="connsiteX13" fmla="*/ 2253131 w 2783150"/>
                <a:gd name="connsiteY13" fmla="*/ 891664 h 3760836"/>
                <a:gd name="connsiteX14" fmla="*/ 2147268 w 2783150"/>
                <a:gd name="connsiteY14" fmla="*/ 914863 h 3760836"/>
                <a:gd name="connsiteX15" fmla="*/ 1972367 w 2783150"/>
                <a:gd name="connsiteY15" fmla="*/ 944745 h 3760836"/>
                <a:gd name="connsiteX16" fmla="*/ 1933899 w 2783150"/>
                <a:gd name="connsiteY16" fmla="*/ 949433 h 3760836"/>
                <a:gd name="connsiteX17" fmla="*/ 1930954 w 2783150"/>
                <a:gd name="connsiteY17" fmla="*/ 949155 h 3760836"/>
                <a:gd name="connsiteX18" fmla="*/ 1933898 w 2783150"/>
                <a:gd name="connsiteY18" fmla="*/ 949433 h 3760836"/>
                <a:gd name="connsiteX19" fmla="*/ 1865933 w 2783150"/>
                <a:gd name="connsiteY19" fmla="*/ 957716 h 3760836"/>
                <a:gd name="connsiteX20" fmla="*/ 1409009 w 2783150"/>
                <a:gd name="connsiteY20" fmla="*/ 981509 h 3760836"/>
                <a:gd name="connsiteX21" fmla="*/ 1637137 w 2783150"/>
                <a:gd name="connsiteY21" fmla="*/ 975691 h 3760836"/>
                <a:gd name="connsiteX22" fmla="*/ 1752464 w 2783150"/>
                <a:gd name="connsiteY22" fmla="*/ 966633 h 3760836"/>
                <a:gd name="connsiteX23" fmla="*/ 1637138 w 2783150"/>
                <a:gd name="connsiteY23" fmla="*/ 975690 h 3760836"/>
                <a:gd name="connsiteX24" fmla="*/ 1804689 w 2783150"/>
                <a:gd name="connsiteY24" fmla="*/ 1883142 h 3760836"/>
                <a:gd name="connsiteX25" fmla="*/ 1786353 w 2783150"/>
                <a:gd name="connsiteY25" fmla="*/ 1879647 h 3760836"/>
                <a:gd name="connsiteX26" fmla="*/ 1391575 w 2783150"/>
                <a:gd name="connsiteY26" fmla="*/ 1851788 h 3760836"/>
                <a:gd name="connsiteX27" fmla="*/ 996797 w 2783150"/>
                <a:gd name="connsiteY27" fmla="*/ 1879647 h 3760836"/>
                <a:gd name="connsiteX28" fmla="*/ 978461 w 2783150"/>
                <a:gd name="connsiteY28" fmla="*/ 1883142 h 3760836"/>
                <a:gd name="connsiteX29" fmla="*/ 944851 w 2783150"/>
                <a:gd name="connsiteY29" fmla="*/ 1879418 h 3760836"/>
                <a:gd name="connsiteX30" fmla="*/ 608817 w 2783150"/>
                <a:gd name="connsiteY30" fmla="*/ 1777026 h 3760836"/>
                <a:gd name="connsiteX31" fmla="*/ 605700 w 2783150"/>
                <a:gd name="connsiteY31" fmla="*/ 1772856 h 3760836"/>
                <a:gd name="connsiteX32" fmla="*/ 593496 w 2783150"/>
                <a:gd name="connsiteY32" fmla="*/ 1740466 h 3760836"/>
                <a:gd name="connsiteX33" fmla="*/ 360084 w 2783150"/>
                <a:gd name="connsiteY33" fmla="*/ 1121026 h 3760836"/>
                <a:gd name="connsiteX34" fmla="*/ 360083 w 2783150"/>
                <a:gd name="connsiteY34" fmla="*/ 1121024 h 3760836"/>
                <a:gd name="connsiteX35" fmla="*/ 343489 w 2783150"/>
                <a:gd name="connsiteY35" fmla="*/ 1076987 h 3760836"/>
                <a:gd name="connsiteX36" fmla="*/ 345002 w 2783150"/>
                <a:gd name="connsiteY36" fmla="*/ 1072343 h 3760836"/>
                <a:gd name="connsiteX37" fmla="*/ 345001 w 2783150"/>
                <a:gd name="connsiteY37" fmla="*/ 1072344 h 3760836"/>
                <a:gd name="connsiteX38" fmla="*/ 343489 w 2783150"/>
                <a:gd name="connsiteY38" fmla="*/ 1076988 h 3760836"/>
                <a:gd name="connsiteX39" fmla="*/ 224975 w 2783150"/>
                <a:gd name="connsiteY39" fmla="*/ 762469 h 3760836"/>
                <a:gd name="connsiteX40" fmla="*/ 227893 w 2783150"/>
                <a:gd name="connsiteY40" fmla="*/ 765340 h 3760836"/>
                <a:gd name="connsiteX41" fmla="*/ 810784 w 2783150"/>
                <a:gd name="connsiteY41" fmla="*/ 944746 h 3760836"/>
                <a:gd name="connsiteX42" fmla="*/ 849249 w 2783150"/>
                <a:gd name="connsiteY42" fmla="*/ 949433 h 3760836"/>
                <a:gd name="connsiteX43" fmla="*/ 849252 w 2783150"/>
                <a:gd name="connsiteY43" fmla="*/ 949433 h 3760836"/>
                <a:gd name="connsiteX44" fmla="*/ 917295 w 2783150"/>
                <a:gd name="connsiteY44" fmla="*/ 957727 h 3760836"/>
                <a:gd name="connsiteX45" fmla="*/ 1391575 w 2783150"/>
                <a:gd name="connsiteY45" fmla="*/ 981954 h 3760836"/>
                <a:gd name="connsiteX46" fmla="*/ 1146013 w 2783150"/>
                <a:gd name="connsiteY46" fmla="*/ 975690 h 3760836"/>
                <a:gd name="connsiteX47" fmla="*/ 917296 w 2783150"/>
                <a:gd name="connsiteY47" fmla="*/ 957727 h 3760836"/>
                <a:gd name="connsiteX48" fmla="*/ 917234 w 2783150"/>
                <a:gd name="connsiteY48" fmla="*/ 957718 h 3760836"/>
                <a:gd name="connsiteX49" fmla="*/ 849252 w 2783150"/>
                <a:gd name="connsiteY49" fmla="*/ 949433 h 3760836"/>
                <a:gd name="connsiteX50" fmla="*/ 849252 w 2783150"/>
                <a:gd name="connsiteY50" fmla="*/ 949433 h 3760836"/>
                <a:gd name="connsiteX51" fmla="*/ 810785 w 2783150"/>
                <a:gd name="connsiteY51" fmla="*/ 944745 h 3760836"/>
                <a:gd name="connsiteX52" fmla="*/ 227894 w 2783150"/>
                <a:gd name="connsiteY52" fmla="*/ 765340 h 3760836"/>
                <a:gd name="connsiteX53" fmla="*/ 224976 w 2783150"/>
                <a:gd name="connsiteY53" fmla="*/ 762468 h 3760836"/>
                <a:gd name="connsiteX54" fmla="*/ 179548 w 2783150"/>
                <a:gd name="connsiteY54" fmla="*/ 641908 h 3760836"/>
                <a:gd name="connsiteX55" fmla="*/ 1 w 2783150"/>
                <a:gd name="connsiteY55" fmla="*/ 165415 h 3760836"/>
                <a:gd name="connsiteX56" fmla="*/ 986 w 2783150"/>
                <a:gd name="connsiteY56" fmla="*/ 165415 h 3760836"/>
                <a:gd name="connsiteX57" fmla="*/ 0 w 2783150"/>
                <a:gd name="connsiteY57" fmla="*/ 163127 h 3760836"/>
                <a:gd name="connsiteX58" fmla="*/ 1391575 w 2783150"/>
                <a:gd name="connsiteY58" fmla="*/ 0 h 3760836"/>
                <a:gd name="connsiteX59" fmla="*/ 2783149 w 2783150"/>
                <a:gd name="connsiteY59" fmla="*/ 163127 h 3760836"/>
                <a:gd name="connsiteX60" fmla="*/ 2782164 w 2783150"/>
                <a:gd name="connsiteY60" fmla="*/ 165416 h 3760836"/>
                <a:gd name="connsiteX61" fmla="*/ 2783150 w 2783150"/>
                <a:gd name="connsiteY61" fmla="*/ 165416 h 3760836"/>
                <a:gd name="connsiteX62" fmla="*/ 2603603 w 2783150"/>
                <a:gd name="connsiteY62" fmla="*/ 641908 h 3760836"/>
                <a:gd name="connsiteX63" fmla="*/ 2558175 w 2783150"/>
                <a:gd name="connsiteY63" fmla="*/ 762468 h 3760836"/>
                <a:gd name="connsiteX64" fmla="*/ 2558174 w 2783150"/>
                <a:gd name="connsiteY64" fmla="*/ 762469 h 3760836"/>
                <a:gd name="connsiteX65" fmla="*/ 2439660 w 2783150"/>
                <a:gd name="connsiteY65" fmla="*/ 1076990 h 3760836"/>
                <a:gd name="connsiteX66" fmla="*/ 2439660 w 2783150"/>
                <a:gd name="connsiteY66" fmla="*/ 1076990 h 3760836"/>
                <a:gd name="connsiteX67" fmla="*/ 2423068 w 2783150"/>
                <a:gd name="connsiteY67" fmla="*/ 1121022 h 3760836"/>
                <a:gd name="connsiteX68" fmla="*/ 2423067 w 2783150"/>
                <a:gd name="connsiteY68" fmla="*/ 1121024 h 3760836"/>
                <a:gd name="connsiteX69" fmla="*/ 2189654 w 2783150"/>
                <a:gd name="connsiteY69" fmla="*/ 1740466 h 3760836"/>
                <a:gd name="connsiteX70" fmla="*/ 2177450 w 2783150"/>
                <a:gd name="connsiteY70" fmla="*/ 1772856 h 3760836"/>
                <a:gd name="connsiteX71" fmla="*/ 2174333 w 2783150"/>
                <a:gd name="connsiteY71" fmla="*/ 1777026 h 3760836"/>
                <a:gd name="connsiteX72" fmla="*/ 1838298 w 2783150"/>
                <a:gd name="connsiteY72" fmla="*/ 1879418 h 3760836"/>
                <a:gd name="connsiteX73" fmla="*/ 1841105 w 2783150"/>
                <a:gd name="connsiteY73" fmla="*/ 2665467 h 3760836"/>
                <a:gd name="connsiteX74" fmla="*/ 1833504 w 2783150"/>
                <a:gd name="connsiteY74" fmla="*/ 2638199 h 3760836"/>
                <a:gd name="connsiteX75" fmla="*/ 1391574 w 2783150"/>
                <a:gd name="connsiteY75" fmla="*/ 2507948 h 3760836"/>
                <a:gd name="connsiteX76" fmla="*/ 949643 w 2783150"/>
                <a:gd name="connsiteY76" fmla="*/ 2638199 h 3760836"/>
                <a:gd name="connsiteX77" fmla="*/ 942043 w 2783150"/>
                <a:gd name="connsiteY77" fmla="*/ 2665465 h 3760836"/>
                <a:gd name="connsiteX78" fmla="*/ 714141 w 2783150"/>
                <a:gd name="connsiteY78" fmla="*/ 2060645 h 3760836"/>
                <a:gd name="connsiteX79" fmla="*/ 714142 w 2783150"/>
                <a:gd name="connsiteY79" fmla="*/ 2060646 h 3760836"/>
                <a:gd name="connsiteX80" fmla="*/ 690085 w 2783150"/>
                <a:gd name="connsiteY80" fmla="*/ 1996803 h 3760836"/>
                <a:gd name="connsiteX81" fmla="*/ 690085 w 2783150"/>
                <a:gd name="connsiteY81" fmla="*/ 1996803 h 3760836"/>
                <a:gd name="connsiteX82" fmla="*/ 605700 w 2783150"/>
                <a:gd name="connsiteY82" fmla="*/ 1772858 h 3760836"/>
                <a:gd name="connsiteX83" fmla="*/ 608817 w 2783150"/>
                <a:gd name="connsiteY83" fmla="*/ 1777028 h 3760836"/>
                <a:gd name="connsiteX84" fmla="*/ 944852 w 2783150"/>
                <a:gd name="connsiteY84" fmla="*/ 1879419 h 3760836"/>
                <a:gd name="connsiteX85" fmla="*/ 978460 w 2783150"/>
                <a:gd name="connsiteY85" fmla="*/ 1883144 h 3760836"/>
                <a:gd name="connsiteX86" fmla="*/ 978461 w 2783150"/>
                <a:gd name="connsiteY86" fmla="*/ 1883143 h 3760836"/>
                <a:gd name="connsiteX87" fmla="*/ 978463 w 2783150"/>
                <a:gd name="connsiteY87" fmla="*/ 1883143 h 3760836"/>
                <a:gd name="connsiteX88" fmla="*/ 978462 w 2783150"/>
                <a:gd name="connsiteY88" fmla="*/ 1883143 h 3760836"/>
                <a:gd name="connsiteX89" fmla="*/ 996797 w 2783150"/>
                <a:gd name="connsiteY89" fmla="*/ 1879648 h 3760836"/>
                <a:gd name="connsiteX90" fmla="*/ 1391575 w 2783150"/>
                <a:gd name="connsiteY90" fmla="*/ 1851788 h 3760836"/>
                <a:gd name="connsiteX91" fmla="*/ 1786353 w 2783150"/>
                <a:gd name="connsiteY91" fmla="*/ 1879648 h 3760836"/>
                <a:gd name="connsiteX92" fmla="*/ 1804689 w 2783150"/>
                <a:gd name="connsiteY92" fmla="*/ 1883143 h 3760836"/>
                <a:gd name="connsiteX93" fmla="*/ 1804688 w 2783150"/>
                <a:gd name="connsiteY93" fmla="*/ 1883143 h 3760836"/>
                <a:gd name="connsiteX94" fmla="*/ 1804689 w 2783150"/>
                <a:gd name="connsiteY94" fmla="*/ 1883143 h 3760836"/>
                <a:gd name="connsiteX95" fmla="*/ 1804691 w 2783150"/>
                <a:gd name="connsiteY95" fmla="*/ 1883144 h 3760836"/>
                <a:gd name="connsiteX96" fmla="*/ 1838298 w 2783150"/>
                <a:gd name="connsiteY96" fmla="*/ 1879419 h 3760836"/>
                <a:gd name="connsiteX97" fmla="*/ 2174333 w 2783150"/>
                <a:gd name="connsiteY97" fmla="*/ 1777028 h 3760836"/>
                <a:gd name="connsiteX98" fmla="*/ 2177450 w 2783150"/>
                <a:gd name="connsiteY98" fmla="*/ 1772858 h 3760836"/>
                <a:gd name="connsiteX99" fmla="*/ 2093065 w 2783150"/>
                <a:gd name="connsiteY99" fmla="*/ 1996803 h 3760836"/>
                <a:gd name="connsiteX100" fmla="*/ 2093065 w 2783150"/>
                <a:gd name="connsiteY100" fmla="*/ 1996803 h 3760836"/>
                <a:gd name="connsiteX101" fmla="*/ 2069008 w 2783150"/>
                <a:gd name="connsiteY101" fmla="*/ 2060646 h 3760836"/>
                <a:gd name="connsiteX102" fmla="*/ 2069007 w 2783150"/>
                <a:gd name="connsiteY102" fmla="*/ 2060647 h 3760836"/>
                <a:gd name="connsiteX103" fmla="*/ 1735758 w 2783150"/>
                <a:gd name="connsiteY103" fmla="*/ 2939023 h 3760836"/>
                <a:gd name="connsiteX104" fmla="*/ 1729747 w 2783150"/>
                <a:gd name="connsiteY104" fmla="*/ 2910847 h 3760836"/>
                <a:gd name="connsiteX105" fmla="*/ 1708378 w 2783150"/>
                <a:gd name="connsiteY105" fmla="*/ 2883168 h 3760836"/>
                <a:gd name="connsiteX106" fmla="*/ 1729746 w 2783150"/>
                <a:gd name="connsiteY106" fmla="*/ 2910846 h 3760836"/>
                <a:gd name="connsiteX107" fmla="*/ 1715960 w 2783150"/>
                <a:gd name="connsiteY107" fmla="*/ 2997589 h 3760836"/>
                <a:gd name="connsiteX108" fmla="*/ 1715960 w 2783150"/>
                <a:gd name="connsiteY108" fmla="*/ 2997589 h 3760836"/>
                <a:gd name="connsiteX109" fmla="*/ 1715961 w 2783150"/>
                <a:gd name="connsiteY109" fmla="*/ 2997588 h 3760836"/>
                <a:gd name="connsiteX110" fmla="*/ 1391574 w 2783150"/>
                <a:gd name="connsiteY110" fmla="*/ 3760836 h 3760836"/>
                <a:gd name="connsiteX111" fmla="*/ 1353572 w 2783150"/>
                <a:gd name="connsiteY111" fmla="*/ 3745095 h 3760836"/>
                <a:gd name="connsiteX112" fmla="*/ 1342890 w 2783150"/>
                <a:gd name="connsiteY112" fmla="*/ 3729251 h 3760836"/>
                <a:gd name="connsiteX113" fmla="*/ 1341629 w 2783150"/>
                <a:gd name="connsiteY113" fmla="*/ 3725905 h 3760836"/>
                <a:gd name="connsiteX114" fmla="*/ 1067195 w 2783150"/>
                <a:gd name="connsiteY114" fmla="*/ 2997596 h 3760836"/>
                <a:gd name="connsiteX115" fmla="*/ 1067193 w 2783150"/>
                <a:gd name="connsiteY115" fmla="*/ 2997593 h 3760836"/>
                <a:gd name="connsiteX116" fmla="*/ 1046572 w 2783150"/>
                <a:gd name="connsiteY116" fmla="*/ 2942868 h 3760836"/>
                <a:gd name="connsiteX117" fmla="*/ 1053402 w 2783150"/>
                <a:gd name="connsiteY117" fmla="*/ 2910846 h 3760836"/>
                <a:gd name="connsiteX118" fmla="*/ 1147491 w 2783150"/>
                <a:gd name="connsiteY118" fmla="*/ 2828374 h 3760836"/>
                <a:gd name="connsiteX119" fmla="*/ 1182352 w 2783150"/>
                <a:gd name="connsiteY119" fmla="*/ 2814782 h 3760836"/>
                <a:gd name="connsiteX120" fmla="*/ 1182354 w 2783150"/>
                <a:gd name="connsiteY120" fmla="*/ 2814783 h 3760836"/>
                <a:gd name="connsiteX121" fmla="*/ 1182354 w 2783150"/>
                <a:gd name="connsiteY121" fmla="*/ 2814782 h 3760836"/>
                <a:gd name="connsiteX122" fmla="*/ 1182352 w 2783150"/>
                <a:gd name="connsiteY122" fmla="*/ 2814782 h 3760836"/>
                <a:gd name="connsiteX123" fmla="*/ 1198578 w 2783150"/>
                <a:gd name="connsiteY123" fmla="*/ 2808455 h 3760836"/>
                <a:gd name="connsiteX124" fmla="*/ 1198578 w 2783150"/>
                <a:gd name="connsiteY124" fmla="*/ 2808455 h 3760836"/>
                <a:gd name="connsiteX125" fmla="*/ 1182351 w 2783150"/>
                <a:gd name="connsiteY125" fmla="*/ 2814782 h 3760836"/>
                <a:gd name="connsiteX126" fmla="*/ 1147491 w 2783150"/>
                <a:gd name="connsiteY126" fmla="*/ 2828374 h 3760836"/>
                <a:gd name="connsiteX127" fmla="*/ 1053402 w 2783150"/>
                <a:gd name="connsiteY127" fmla="*/ 2910846 h 3760836"/>
                <a:gd name="connsiteX128" fmla="*/ 1046572 w 2783150"/>
                <a:gd name="connsiteY128" fmla="*/ 2942867 h 3760836"/>
                <a:gd name="connsiteX129" fmla="*/ 961946 w 2783150"/>
                <a:gd name="connsiteY129" fmla="*/ 2718284 h 3760836"/>
                <a:gd name="connsiteX130" fmla="*/ 961944 w 2783150"/>
                <a:gd name="connsiteY130" fmla="*/ 2718282 h 3760836"/>
                <a:gd name="connsiteX131" fmla="*/ 942043 w 2783150"/>
                <a:gd name="connsiteY131" fmla="*/ 2665466 h 3760836"/>
                <a:gd name="connsiteX132" fmla="*/ 949643 w 2783150"/>
                <a:gd name="connsiteY132" fmla="*/ 2638199 h 3760836"/>
                <a:gd name="connsiteX133" fmla="*/ 1391574 w 2783150"/>
                <a:gd name="connsiteY133" fmla="*/ 2507948 h 3760836"/>
                <a:gd name="connsiteX134" fmla="*/ 1833504 w 2783150"/>
                <a:gd name="connsiteY134" fmla="*/ 2638199 h 3760836"/>
                <a:gd name="connsiteX135" fmla="*/ 1841105 w 2783150"/>
                <a:gd name="connsiteY135" fmla="*/ 2665468 h 3760836"/>
                <a:gd name="connsiteX136" fmla="*/ 1821205 w 2783150"/>
                <a:gd name="connsiteY136" fmla="*/ 2718278 h 3760836"/>
                <a:gd name="connsiteX137" fmla="*/ 1807218 w 2783150"/>
                <a:gd name="connsiteY137" fmla="*/ 2734572 h 3760836"/>
                <a:gd name="connsiteX138" fmla="*/ 1643785 w 2783150"/>
                <a:gd name="connsiteY138" fmla="*/ 2806344 h 3760836"/>
                <a:gd name="connsiteX139" fmla="*/ 1600797 w 2783150"/>
                <a:gd name="connsiteY139" fmla="*/ 2814782 h 3760836"/>
                <a:gd name="connsiteX140" fmla="*/ 1600795 w 2783150"/>
                <a:gd name="connsiteY140" fmla="*/ 2814782 h 3760836"/>
                <a:gd name="connsiteX141" fmla="*/ 1600796 w 2783150"/>
                <a:gd name="connsiteY141" fmla="*/ 2814783 h 3760836"/>
                <a:gd name="connsiteX142" fmla="*/ 1600797 w 2783150"/>
                <a:gd name="connsiteY142" fmla="*/ 2814782 h 3760836"/>
                <a:gd name="connsiteX143" fmla="*/ 1600798 w 2783150"/>
                <a:gd name="connsiteY143" fmla="*/ 2814782 h 3760836"/>
                <a:gd name="connsiteX144" fmla="*/ 1643786 w 2783150"/>
                <a:gd name="connsiteY144" fmla="*/ 2806344 h 3760836"/>
                <a:gd name="connsiteX145" fmla="*/ 1807219 w 2783150"/>
                <a:gd name="connsiteY145" fmla="*/ 2734573 h 3760836"/>
                <a:gd name="connsiteX146" fmla="*/ 1821206 w 2783150"/>
                <a:gd name="connsiteY146" fmla="*/ 2718279 h 3760836"/>
                <a:gd name="connsiteX147" fmla="*/ 1736578 w 2783150"/>
                <a:gd name="connsiteY147" fmla="*/ 2942870 h 3760836"/>
                <a:gd name="connsiteX148" fmla="*/ 1736578 w 2783150"/>
                <a:gd name="connsiteY148" fmla="*/ 2942870 h 3760836"/>
                <a:gd name="connsiteX149" fmla="*/ 1715960 w 2783150"/>
                <a:gd name="connsiteY149" fmla="*/ 2997588 h 3760836"/>
                <a:gd name="connsiteX150" fmla="*/ 1709633 w 2783150"/>
                <a:gd name="connsiteY150" fmla="*/ 3007219 h 3760836"/>
                <a:gd name="connsiteX151" fmla="*/ 1709634 w 2783150"/>
                <a:gd name="connsiteY151" fmla="*/ 3007219 h 3760836"/>
                <a:gd name="connsiteX152" fmla="*/ 1715960 w 2783150"/>
                <a:gd name="connsiteY152" fmla="*/ 2997589 h 3760836"/>
                <a:gd name="connsiteX153" fmla="*/ 1487809 w 2783150"/>
                <a:gd name="connsiteY153" fmla="*/ 3603068 h 3760836"/>
                <a:gd name="connsiteX154" fmla="*/ 1441516 w 2783150"/>
                <a:gd name="connsiteY154" fmla="*/ 3725924 h 3760836"/>
                <a:gd name="connsiteX155" fmla="*/ 1441515 w 2783150"/>
                <a:gd name="connsiteY155" fmla="*/ 3725924 h 3760836"/>
                <a:gd name="connsiteX156" fmla="*/ 1440265 w 2783150"/>
                <a:gd name="connsiteY156" fmla="*/ 3729242 h 3760836"/>
                <a:gd name="connsiteX157" fmla="*/ 1429575 w 2783150"/>
                <a:gd name="connsiteY157" fmla="*/ 3745095 h 3760836"/>
                <a:gd name="connsiteX158" fmla="*/ 1391574 w 2783150"/>
                <a:gd name="connsiteY158" fmla="*/ 3760836 h 3760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783150" h="3760836">
                  <a:moveTo>
                    <a:pt x="2261004" y="889473"/>
                  </a:moveTo>
                  <a:lnTo>
                    <a:pt x="2331798" y="869765"/>
                  </a:lnTo>
                  <a:lnTo>
                    <a:pt x="2354493" y="862086"/>
                  </a:lnTo>
                  <a:lnTo>
                    <a:pt x="2331799" y="869765"/>
                  </a:lnTo>
                  <a:close/>
                  <a:moveTo>
                    <a:pt x="1865868" y="957725"/>
                  </a:moveTo>
                  <a:lnTo>
                    <a:pt x="1933898" y="949433"/>
                  </a:lnTo>
                  <a:lnTo>
                    <a:pt x="1972366" y="944745"/>
                  </a:lnTo>
                  <a:cubicBezTo>
                    <a:pt x="2024160" y="937626"/>
                    <a:pt x="2073686" y="929585"/>
                    <a:pt x="2120599" y="920708"/>
                  </a:cubicBezTo>
                  <a:lnTo>
                    <a:pt x="2147268" y="914863"/>
                  </a:lnTo>
                  <a:lnTo>
                    <a:pt x="2166630" y="911556"/>
                  </a:lnTo>
                  <a:lnTo>
                    <a:pt x="2253131" y="891664"/>
                  </a:lnTo>
                  <a:lnTo>
                    <a:pt x="2253157" y="891658"/>
                  </a:lnTo>
                  <a:lnTo>
                    <a:pt x="2253157" y="891658"/>
                  </a:lnTo>
                  <a:lnTo>
                    <a:pt x="2253131" y="891664"/>
                  </a:lnTo>
                  <a:lnTo>
                    <a:pt x="2147268" y="914863"/>
                  </a:lnTo>
                  <a:lnTo>
                    <a:pt x="1972367" y="944745"/>
                  </a:lnTo>
                  <a:lnTo>
                    <a:pt x="1933899" y="949433"/>
                  </a:lnTo>
                  <a:lnTo>
                    <a:pt x="1930954" y="949155"/>
                  </a:lnTo>
                  <a:lnTo>
                    <a:pt x="1933898" y="949433"/>
                  </a:lnTo>
                  <a:lnTo>
                    <a:pt x="1865933" y="957716"/>
                  </a:lnTo>
                  <a:close/>
                  <a:moveTo>
                    <a:pt x="1409009" y="981509"/>
                  </a:moveTo>
                  <a:lnTo>
                    <a:pt x="1637137" y="975691"/>
                  </a:lnTo>
                  <a:lnTo>
                    <a:pt x="1752464" y="966633"/>
                  </a:lnTo>
                  <a:lnTo>
                    <a:pt x="1637138" y="975690"/>
                  </a:lnTo>
                  <a:close/>
                  <a:moveTo>
                    <a:pt x="1804689" y="1883142"/>
                  </a:moveTo>
                  <a:lnTo>
                    <a:pt x="1786353" y="1879647"/>
                  </a:lnTo>
                  <a:cubicBezTo>
                    <a:pt x="1673662" y="1862058"/>
                    <a:pt x="1537810" y="1851788"/>
                    <a:pt x="1391575" y="1851788"/>
                  </a:cubicBezTo>
                  <a:cubicBezTo>
                    <a:pt x="1245340" y="1851788"/>
                    <a:pt x="1109489" y="1862058"/>
                    <a:pt x="996797" y="1879647"/>
                  </a:cubicBezTo>
                  <a:lnTo>
                    <a:pt x="978461" y="1883142"/>
                  </a:lnTo>
                  <a:lnTo>
                    <a:pt x="944851" y="1879418"/>
                  </a:lnTo>
                  <a:cubicBezTo>
                    <a:pt x="774825" y="1855965"/>
                    <a:pt x="651389" y="1819502"/>
                    <a:pt x="608817" y="1777026"/>
                  </a:cubicBezTo>
                  <a:lnTo>
                    <a:pt x="605700" y="1772856"/>
                  </a:lnTo>
                  <a:lnTo>
                    <a:pt x="593496" y="1740466"/>
                  </a:lnTo>
                  <a:lnTo>
                    <a:pt x="360084" y="1121026"/>
                  </a:lnTo>
                  <a:lnTo>
                    <a:pt x="360083" y="1121024"/>
                  </a:lnTo>
                  <a:lnTo>
                    <a:pt x="343489" y="1076987"/>
                  </a:lnTo>
                  <a:lnTo>
                    <a:pt x="345002" y="1072343"/>
                  </a:lnTo>
                  <a:lnTo>
                    <a:pt x="345001" y="1072344"/>
                  </a:lnTo>
                  <a:lnTo>
                    <a:pt x="343489" y="1076988"/>
                  </a:lnTo>
                  <a:lnTo>
                    <a:pt x="224975" y="762469"/>
                  </a:lnTo>
                  <a:lnTo>
                    <a:pt x="227893" y="765340"/>
                  </a:lnTo>
                  <a:cubicBezTo>
                    <a:pt x="322829" y="842568"/>
                    <a:pt x="534547" y="906778"/>
                    <a:pt x="810784" y="944746"/>
                  </a:cubicBezTo>
                  <a:lnTo>
                    <a:pt x="849249" y="949433"/>
                  </a:lnTo>
                  <a:lnTo>
                    <a:pt x="849252" y="949433"/>
                  </a:lnTo>
                  <a:lnTo>
                    <a:pt x="917295" y="957727"/>
                  </a:lnTo>
                  <a:cubicBezTo>
                    <a:pt x="1063070" y="973328"/>
                    <a:pt x="1223341" y="981954"/>
                    <a:pt x="1391575" y="981954"/>
                  </a:cubicBezTo>
                  <a:lnTo>
                    <a:pt x="1146013" y="975690"/>
                  </a:lnTo>
                  <a:cubicBezTo>
                    <a:pt x="1066695" y="971584"/>
                    <a:pt x="990183" y="965527"/>
                    <a:pt x="917296" y="957727"/>
                  </a:cubicBezTo>
                  <a:lnTo>
                    <a:pt x="917234" y="957718"/>
                  </a:lnTo>
                  <a:lnTo>
                    <a:pt x="849252" y="949433"/>
                  </a:lnTo>
                  <a:lnTo>
                    <a:pt x="849252" y="949433"/>
                  </a:lnTo>
                  <a:lnTo>
                    <a:pt x="810785" y="944745"/>
                  </a:lnTo>
                  <a:cubicBezTo>
                    <a:pt x="534548" y="906777"/>
                    <a:pt x="322830" y="842567"/>
                    <a:pt x="227894" y="765340"/>
                  </a:cubicBezTo>
                  <a:lnTo>
                    <a:pt x="224976" y="762468"/>
                  </a:lnTo>
                  <a:lnTo>
                    <a:pt x="179548" y="641908"/>
                  </a:lnTo>
                  <a:lnTo>
                    <a:pt x="1" y="165415"/>
                  </a:lnTo>
                  <a:lnTo>
                    <a:pt x="986" y="165415"/>
                  </a:lnTo>
                  <a:lnTo>
                    <a:pt x="0" y="163127"/>
                  </a:lnTo>
                  <a:cubicBezTo>
                    <a:pt x="0" y="73034"/>
                    <a:pt x="623030" y="0"/>
                    <a:pt x="1391575" y="0"/>
                  </a:cubicBezTo>
                  <a:cubicBezTo>
                    <a:pt x="2160120" y="0"/>
                    <a:pt x="2783149" y="73034"/>
                    <a:pt x="2783149" y="163127"/>
                  </a:cubicBezTo>
                  <a:lnTo>
                    <a:pt x="2782164" y="165416"/>
                  </a:lnTo>
                  <a:lnTo>
                    <a:pt x="2783150" y="165416"/>
                  </a:lnTo>
                  <a:lnTo>
                    <a:pt x="2603603" y="641908"/>
                  </a:lnTo>
                  <a:lnTo>
                    <a:pt x="2558175" y="762468"/>
                  </a:lnTo>
                  <a:lnTo>
                    <a:pt x="2558174" y="762469"/>
                  </a:lnTo>
                  <a:lnTo>
                    <a:pt x="2439660" y="1076990"/>
                  </a:lnTo>
                  <a:lnTo>
                    <a:pt x="2439660" y="1076990"/>
                  </a:lnTo>
                  <a:lnTo>
                    <a:pt x="2423068" y="1121022"/>
                  </a:lnTo>
                  <a:lnTo>
                    <a:pt x="2423067" y="1121024"/>
                  </a:lnTo>
                  <a:lnTo>
                    <a:pt x="2189654" y="1740466"/>
                  </a:lnTo>
                  <a:lnTo>
                    <a:pt x="2177450" y="1772856"/>
                  </a:lnTo>
                  <a:lnTo>
                    <a:pt x="2174333" y="1777026"/>
                  </a:lnTo>
                  <a:cubicBezTo>
                    <a:pt x="2131760" y="1819502"/>
                    <a:pt x="2008325" y="1855965"/>
                    <a:pt x="1838298" y="1879418"/>
                  </a:cubicBezTo>
                  <a:close/>
                  <a:moveTo>
                    <a:pt x="1841105" y="2665467"/>
                  </a:moveTo>
                  <a:lnTo>
                    <a:pt x="1833504" y="2638199"/>
                  </a:lnTo>
                  <a:cubicBezTo>
                    <a:pt x="1791441" y="2563865"/>
                    <a:pt x="1609565" y="2507948"/>
                    <a:pt x="1391574" y="2507948"/>
                  </a:cubicBezTo>
                  <a:cubicBezTo>
                    <a:pt x="1173582" y="2507948"/>
                    <a:pt x="991707" y="2563865"/>
                    <a:pt x="949643" y="2638199"/>
                  </a:cubicBezTo>
                  <a:lnTo>
                    <a:pt x="942043" y="2665465"/>
                  </a:lnTo>
                  <a:lnTo>
                    <a:pt x="714141" y="2060645"/>
                  </a:lnTo>
                  <a:lnTo>
                    <a:pt x="714142" y="2060646"/>
                  </a:lnTo>
                  <a:lnTo>
                    <a:pt x="690085" y="1996803"/>
                  </a:lnTo>
                  <a:lnTo>
                    <a:pt x="690085" y="1996803"/>
                  </a:lnTo>
                  <a:lnTo>
                    <a:pt x="605700" y="1772858"/>
                  </a:lnTo>
                  <a:lnTo>
                    <a:pt x="608817" y="1777028"/>
                  </a:lnTo>
                  <a:cubicBezTo>
                    <a:pt x="651389" y="1819504"/>
                    <a:pt x="774825" y="1855967"/>
                    <a:pt x="944852" y="1879419"/>
                  </a:cubicBezTo>
                  <a:lnTo>
                    <a:pt x="978460" y="1883144"/>
                  </a:lnTo>
                  <a:lnTo>
                    <a:pt x="978461" y="1883143"/>
                  </a:lnTo>
                  <a:lnTo>
                    <a:pt x="978463" y="1883143"/>
                  </a:lnTo>
                  <a:lnTo>
                    <a:pt x="978462" y="1883143"/>
                  </a:lnTo>
                  <a:lnTo>
                    <a:pt x="996797" y="1879648"/>
                  </a:lnTo>
                  <a:cubicBezTo>
                    <a:pt x="1109489" y="1862059"/>
                    <a:pt x="1245341" y="1851788"/>
                    <a:pt x="1391575" y="1851788"/>
                  </a:cubicBezTo>
                  <a:cubicBezTo>
                    <a:pt x="1537810" y="1851788"/>
                    <a:pt x="1673662" y="1862059"/>
                    <a:pt x="1786353" y="1879648"/>
                  </a:cubicBezTo>
                  <a:lnTo>
                    <a:pt x="1804689" y="1883143"/>
                  </a:lnTo>
                  <a:lnTo>
                    <a:pt x="1804688" y="1883143"/>
                  </a:lnTo>
                  <a:lnTo>
                    <a:pt x="1804689" y="1883143"/>
                  </a:lnTo>
                  <a:lnTo>
                    <a:pt x="1804691" y="1883144"/>
                  </a:lnTo>
                  <a:lnTo>
                    <a:pt x="1838298" y="1879419"/>
                  </a:lnTo>
                  <a:cubicBezTo>
                    <a:pt x="2008325" y="1855967"/>
                    <a:pt x="2131761" y="1819504"/>
                    <a:pt x="2174333" y="1777028"/>
                  </a:cubicBezTo>
                  <a:lnTo>
                    <a:pt x="2177450" y="1772858"/>
                  </a:lnTo>
                  <a:lnTo>
                    <a:pt x="2093065" y="1996803"/>
                  </a:lnTo>
                  <a:lnTo>
                    <a:pt x="2093065" y="1996803"/>
                  </a:lnTo>
                  <a:lnTo>
                    <a:pt x="2069008" y="2060646"/>
                  </a:lnTo>
                  <a:lnTo>
                    <a:pt x="2069007" y="2060647"/>
                  </a:lnTo>
                  <a:close/>
                  <a:moveTo>
                    <a:pt x="1735758" y="2939023"/>
                  </a:moveTo>
                  <a:lnTo>
                    <a:pt x="1729747" y="2910847"/>
                  </a:lnTo>
                  <a:lnTo>
                    <a:pt x="1708378" y="2883168"/>
                  </a:lnTo>
                  <a:lnTo>
                    <a:pt x="1729746" y="2910846"/>
                  </a:lnTo>
                  <a:close/>
                  <a:moveTo>
                    <a:pt x="1715960" y="2997589"/>
                  </a:moveTo>
                  <a:lnTo>
                    <a:pt x="1715960" y="2997589"/>
                  </a:lnTo>
                  <a:cubicBezTo>
                    <a:pt x="1715960" y="2997588"/>
                    <a:pt x="1715961" y="2997588"/>
                    <a:pt x="1715961" y="2997588"/>
                  </a:cubicBezTo>
                  <a:close/>
                  <a:moveTo>
                    <a:pt x="1391574" y="3760836"/>
                  </a:moveTo>
                  <a:cubicBezTo>
                    <a:pt x="1376733" y="3760836"/>
                    <a:pt x="1363297" y="3754821"/>
                    <a:pt x="1353572" y="3745095"/>
                  </a:cubicBezTo>
                  <a:lnTo>
                    <a:pt x="1342890" y="3729251"/>
                  </a:lnTo>
                  <a:lnTo>
                    <a:pt x="1341629" y="3725905"/>
                  </a:lnTo>
                  <a:lnTo>
                    <a:pt x="1067195" y="2997596"/>
                  </a:lnTo>
                  <a:cubicBezTo>
                    <a:pt x="1067194" y="2997595"/>
                    <a:pt x="1067193" y="2997594"/>
                    <a:pt x="1067193" y="2997593"/>
                  </a:cubicBezTo>
                  <a:lnTo>
                    <a:pt x="1046572" y="2942868"/>
                  </a:lnTo>
                  <a:lnTo>
                    <a:pt x="1053402" y="2910846"/>
                  </a:lnTo>
                  <a:cubicBezTo>
                    <a:pt x="1067197" y="2878989"/>
                    <a:pt x="1100642" y="2850514"/>
                    <a:pt x="1147491" y="2828374"/>
                  </a:cubicBezTo>
                  <a:lnTo>
                    <a:pt x="1182352" y="2814782"/>
                  </a:lnTo>
                  <a:cubicBezTo>
                    <a:pt x="1182353" y="2814782"/>
                    <a:pt x="1182353" y="2814783"/>
                    <a:pt x="1182354" y="2814783"/>
                  </a:cubicBezTo>
                  <a:lnTo>
                    <a:pt x="1182354" y="2814782"/>
                  </a:lnTo>
                  <a:lnTo>
                    <a:pt x="1182352" y="2814782"/>
                  </a:lnTo>
                  <a:lnTo>
                    <a:pt x="1198578" y="2808455"/>
                  </a:lnTo>
                  <a:cubicBezTo>
                    <a:pt x="1201283" y="2807400"/>
                    <a:pt x="1201282" y="2807400"/>
                    <a:pt x="1198578" y="2808455"/>
                  </a:cubicBezTo>
                  <a:lnTo>
                    <a:pt x="1182351" y="2814782"/>
                  </a:lnTo>
                  <a:lnTo>
                    <a:pt x="1147491" y="2828374"/>
                  </a:lnTo>
                  <a:cubicBezTo>
                    <a:pt x="1100642" y="2850514"/>
                    <a:pt x="1067197" y="2878989"/>
                    <a:pt x="1053402" y="2910846"/>
                  </a:cubicBezTo>
                  <a:lnTo>
                    <a:pt x="1046572" y="2942867"/>
                  </a:lnTo>
                  <a:lnTo>
                    <a:pt x="961946" y="2718284"/>
                  </a:lnTo>
                  <a:lnTo>
                    <a:pt x="961944" y="2718282"/>
                  </a:lnTo>
                  <a:lnTo>
                    <a:pt x="942043" y="2665466"/>
                  </a:lnTo>
                  <a:lnTo>
                    <a:pt x="949643" y="2638199"/>
                  </a:lnTo>
                  <a:cubicBezTo>
                    <a:pt x="991707" y="2563865"/>
                    <a:pt x="1173582" y="2507948"/>
                    <a:pt x="1391574" y="2507948"/>
                  </a:cubicBezTo>
                  <a:cubicBezTo>
                    <a:pt x="1609565" y="2507948"/>
                    <a:pt x="1791441" y="2563865"/>
                    <a:pt x="1833504" y="2638199"/>
                  </a:cubicBezTo>
                  <a:lnTo>
                    <a:pt x="1841105" y="2665468"/>
                  </a:lnTo>
                  <a:lnTo>
                    <a:pt x="1821205" y="2718278"/>
                  </a:lnTo>
                  <a:lnTo>
                    <a:pt x="1807218" y="2734572"/>
                  </a:lnTo>
                  <a:cubicBezTo>
                    <a:pt x="1772979" y="2763846"/>
                    <a:pt x="1715780" y="2788755"/>
                    <a:pt x="1643785" y="2806344"/>
                  </a:cubicBezTo>
                  <a:lnTo>
                    <a:pt x="1600797" y="2814782"/>
                  </a:lnTo>
                  <a:lnTo>
                    <a:pt x="1600795" y="2814782"/>
                  </a:lnTo>
                  <a:lnTo>
                    <a:pt x="1600796" y="2814783"/>
                  </a:lnTo>
                  <a:cubicBezTo>
                    <a:pt x="1600797" y="2814783"/>
                    <a:pt x="1600797" y="2814782"/>
                    <a:pt x="1600797" y="2814782"/>
                  </a:cubicBezTo>
                  <a:lnTo>
                    <a:pt x="1600798" y="2814782"/>
                  </a:lnTo>
                  <a:lnTo>
                    <a:pt x="1643786" y="2806344"/>
                  </a:lnTo>
                  <a:cubicBezTo>
                    <a:pt x="1715781" y="2788755"/>
                    <a:pt x="1772980" y="2763847"/>
                    <a:pt x="1807219" y="2734573"/>
                  </a:cubicBezTo>
                  <a:lnTo>
                    <a:pt x="1821206" y="2718279"/>
                  </a:lnTo>
                  <a:lnTo>
                    <a:pt x="1736578" y="2942870"/>
                  </a:lnTo>
                  <a:lnTo>
                    <a:pt x="1736578" y="2942870"/>
                  </a:lnTo>
                  <a:lnTo>
                    <a:pt x="1715960" y="2997588"/>
                  </a:lnTo>
                  <a:lnTo>
                    <a:pt x="1709633" y="3007219"/>
                  </a:lnTo>
                  <a:lnTo>
                    <a:pt x="1709634" y="3007219"/>
                  </a:lnTo>
                  <a:lnTo>
                    <a:pt x="1715960" y="2997589"/>
                  </a:lnTo>
                  <a:lnTo>
                    <a:pt x="1487809" y="3603068"/>
                  </a:lnTo>
                  <a:lnTo>
                    <a:pt x="1441516" y="3725924"/>
                  </a:lnTo>
                  <a:lnTo>
                    <a:pt x="1441515" y="3725924"/>
                  </a:lnTo>
                  <a:lnTo>
                    <a:pt x="1440265" y="3729242"/>
                  </a:lnTo>
                  <a:lnTo>
                    <a:pt x="1429575" y="3745095"/>
                  </a:lnTo>
                  <a:cubicBezTo>
                    <a:pt x="1419850" y="3754821"/>
                    <a:pt x="1406415" y="3760836"/>
                    <a:pt x="1391574" y="3760836"/>
                  </a:cubicBezTo>
                  <a:close/>
                </a:path>
              </a:pathLst>
            </a:custGeom>
            <a:solidFill>
              <a:srgbClr val="063951">
                <a:alpha val="20000"/>
              </a:srgbClr>
            </a:solidFill>
            <a:ln w="12700" cap="flat" cmpd="sng" algn="ctr">
              <a:noFill/>
              <a:prstDash val="solid"/>
              <a:miter lim="800000"/>
            </a:ln>
            <a:effectLst/>
          </p:spPr>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ysClr val="window" lastClr="FFFFFF"/>
                </a:solidFill>
                <a:effectLst/>
                <a:uLnTx/>
                <a:uFillTx/>
                <a:latin typeface="Helvetica"/>
                <a:ea typeface="+mn-ea"/>
                <a:cs typeface="+mn-cs"/>
              </a:endParaRPr>
            </a:p>
          </p:txBody>
        </p:sp>
        <p:sp>
          <p:nvSpPr>
            <p:cNvPr id="14" name="Freeform: Shape 173">
              <a:extLst>
                <a:ext uri="{FF2B5EF4-FFF2-40B4-BE49-F238E27FC236}">
                  <a16:creationId xmlns:a16="http://schemas.microsoft.com/office/drawing/2014/main" id="{0E415BBD-A5C9-4D69-A7B1-F3AB57029597}"/>
                </a:ext>
              </a:extLst>
            </p:cNvPr>
            <p:cNvSpPr/>
            <p:nvPr/>
          </p:nvSpPr>
          <p:spPr>
            <a:xfrm rot="10800000">
              <a:off x="4733491" y="1854336"/>
              <a:ext cx="1324232" cy="910476"/>
            </a:xfrm>
            <a:custGeom>
              <a:avLst/>
              <a:gdLst>
                <a:gd name="connsiteX0" fmla="*/ 460003 w 920008"/>
                <a:gd name="connsiteY0" fmla="*/ 0 h 1306987"/>
                <a:gd name="connsiteX1" fmla="*/ 717332 w 920008"/>
                <a:gd name="connsiteY1" fmla="*/ 37146 h 1306987"/>
                <a:gd name="connsiteX2" fmla="*/ 738965 w 920008"/>
                <a:gd name="connsiteY2" fmla="*/ 45582 h 1306987"/>
                <a:gd name="connsiteX3" fmla="*/ 738967 w 920008"/>
                <a:gd name="connsiteY3" fmla="*/ 45581 h 1306987"/>
                <a:gd name="connsiteX4" fmla="*/ 785447 w 920008"/>
                <a:gd name="connsiteY4" fmla="*/ 63704 h 1306987"/>
                <a:gd name="connsiteX5" fmla="*/ 910899 w 920008"/>
                <a:gd name="connsiteY5" fmla="*/ 173667 h 1306987"/>
                <a:gd name="connsiteX6" fmla="*/ 920008 w 920008"/>
                <a:gd name="connsiteY6" fmla="*/ 216365 h 1306987"/>
                <a:gd name="connsiteX7" fmla="*/ 892517 w 920008"/>
                <a:gd name="connsiteY7" fmla="*/ 289322 h 1306987"/>
                <a:gd name="connsiteX8" fmla="*/ 884081 w 920008"/>
                <a:gd name="connsiteY8" fmla="*/ 302164 h 1306987"/>
                <a:gd name="connsiteX9" fmla="*/ 596866 w 920008"/>
                <a:gd name="connsiteY9" fmla="*/ 425227 h 1306987"/>
                <a:gd name="connsiteX10" fmla="*/ 460004 w 920008"/>
                <a:gd name="connsiteY10" fmla="*/ 435005 h 1306987"/>
                <a:gd name="connsiteX11" fmla="*/ 460004 w 920008"/>
                <a:gd name="connsiteY11" fmla="*/ 435005 h 1306987"/>
                <a:gd name="connsiteX12" fmla="*/ 884082 w 920008"/>
                <a:gd name="connsiteY12" fmla="*/ 302164 h 1306987"/>
                <a:gd name="connsiteX13" fmla="*/ 892517 w 920008"/>
                <a:gd name="connsiteY13" fmla="*/ 289324 h 1306987"/>
                <a:gd name="connsiteX14" fmla="*/ 892518 w 920008"/>
                <a:gd name="connsiteY14" fmla="*/ 289322 h 1306987"/>
                <a:gd name="connsiteX15" fmla="*/ 588316 w 920008"/>
                <a:gd name="connsiteY15" fmla="*/ 1096630 h 1306987"/>
                <a:gd name="connsiteX16" fmla="*/ 526592 w 920008"/>
                <a:gd name="connsiteY16" fmla="*/ 1260437 h 1306987"/>
                <a:gd name="connsiteX17" fmla="*/ 526591 w 920008"/>
                <a:gd name="connsiteY17" fmla="*/ 1260437 h 1306987"/>
                <a:gd name="connsiteX18" fmla="*/ 524924 w 920008"/>
                <a:gd name="connsiteY18" fmla="*/ 1264861 h 1306987"/>
                <a:gd name="connsiteX19" fmla="*/ 510671 w 920008"/>
                <a:gd name="connsiteY19" fmla="*/ 1285999 h 1306987"/>
                <a:gd name="connsiteX20" fmla="*/ 460002 w 920008"/>
                <a:gd name="connsiteY20" fmla="*/ 1306987 h 1306987"/>
                <a:gd name="connsiteX21" fmla="*/ 409333 w 920008"/>
                <a:gd name="connsiteY21" fmla="*/ 1285999 h 1306987"/>
                <a:gd name="connsiteX22" fmla="*/ 395090 w 920008"/>
                <a:gd name="connsiteY22" fmla="*/ 1264874 h 1306987"/>
                <a:gd name="connsiteX23" fmla="*/ 393409 w 920008"/>
                <a:gd name="connsiteY23" fmla="*/ 1260413 h 1306987"/>
                <a:gd name="connsiteX24" fmla="*/ 27497 w 920008"/>
                <a:gd name="connsiteY24" fmla="*/ 289333 h 1306987"/>
                <a:gd name="connsiteX25" fmla="*/ 27494 w 920008"/>
                <a:gd name="connsiteY25" fmla="*/ 289329 h 1306987"/>
                <a:gd name="connsiteX26" fmla="*/ 0 w 920008"/>
                <a:gd name="connsiteY26" fmla="*/ 216362 h 1306987"/>
                <a:gd name="connsiteX27" fmla="*/ 9107 w 920008"/>
                <a:gd name="connsiteY27" fmla="*/ 173667 h 1306987"/>
                <a:gd name="connsiteX28" fmla="*/ 134559 w 920008"/>
                <a:gd name="connsiteY28" fmla="*/ 63704 h 1306987"/>
                <a:gd name="connsiteX29" fmla="*/ 181040 w 920008"/>
                <a:gd name="connsiteY29" fmla="*/ 45581 h 1306987"/>
                <a:gd name="connsiteX30" fmla="*/ 181042 w 920008"/>
                <a:gd name="connsiteY30" fmla="*/ 45582 h 1306987"/>
                <a:gd name="connsiteX31" fmla="*/ 202675 w 920008"/>
                <a:gd name="connsiteY31" fmla="*/ 37146 h 1306987"/>
                <a:gd name="connsiteX32" fmla="*/ 460003 w 920008"/>
                <a:gd name="connsiteY32" fmla="*/ 0 h 1306987"/>
                <a:gd name="connsiteX0" fmla="*/ 460003 w 920008"/>
                <a:gd name="connsiteY0" fmla="*/ 0 h 1306987"/>
                <a:gd name="connsiteX1" fmla="*/ 717332 w 920008"/>
                <a:gd name="connsiteY1" fmla="*/ 37146 h 1306987"/>
                <a:gd name="connsiteX2" fmla="*/ 738965 w 920008"/>
                <a:gd name="connsiteY2" fmla="*/ 45582 h 1306987"/>
                <a:gd name="connsiteX3" fmla="*/ 738967 w 920008"/>
                <a:gd name="connsiteY3" fmla="*/ 45581 h 1306987"/>
                <a:gd name="connsiteX4" fmla="*/ 785447 w 920008"/>
                <a:gd name="connsiteY4" fmla="*/ 63704 h 1306987"/>
                <a:gd name="connsiteX5" fmla="*/ 910899 w 920008"/>
                <a:gd name="connsiteY5" fmla="*/ 173667 h 1306987"/>
                <a:gd name="connsiteX6" fmla="*/ 920008 w 920008"/>
                <a:gd name="connsiteY6" fmla="*/ 216365 h 1306987"/>
                <a:gd name="connsiteX7" fmla="*/ 892517 w 920008"/>
                <a:gd name="connsiteY7" fmla="*/ 289322 h 1306987"/>
                <a:gd name="connsiteX8" fmla="*/ 884081 w 920008"/>
                <a:gd name="connsiteY8" fmla="*/ 302164 h 1306987"/>
                <a:gd name="connsiteX9" fmla="*/ 596866 w 920008"/>
                <a:gd name="connsiteY9" fmla="*/ 425227 h 1306987"/>
                <a:gd name="connsiteX10" fmla="*/ 460004 w 920008"/>
                <a:gd name="connsiteY10" fmla="*/ 435005 h 1306987"/>
                <a:gd name="connsiteX11" fmla="*/ 884082 w 920008"/>
                <a:gd name="connsiteY11" fmla="*/ 302164 h 1306987"/>
                <a:gd name="connsiteX12" fmla="*/ 892517 w 920008"/>
                <a:gd name="connsiteY12" fmla="*/ 289324 h 1306987"/>
                <a:gd name="connsiteX13" fmla="*/ 892518 w 920008"/>
                <a:gd name="connsiteY13" fmla="*/ 289322 h 1306987"/>
                <a:gd name="connsiteX14" fmla="*/ 588316 w 920008"/>
                <a:gd name="connsiteY14" fmla="*/ 1096630 h 1306987"/>
                <a:gd name="connsiteX15" fmla="*/ 526592 w 920008"/>
                <a:gd name="connsiteY15" fmla="*/ 1260437 h 1306987"/>
                <a:gd name="connsiteX16" fmla="*/ 526591 w 920008"/>
                <a:gd name="connsiteY16" fmla="*/ 1260437 h 1306987"/>
                <a:gd name="connsiteX17" fmla="*/ 524924 w 920008"/>
                <a:gd name="connsiteY17" fmla="*/ 1264861 h 1306987"/>
                <a:gd name="connsiteX18" fmla="*/ 510671 w 920008"/>
                <a:gd name="connsiteY18" fmla="*/ 1285999 h 1306987"/>
                <a:gd name="connsiteX19" fmla="*/ 460002 w 920008"/>
                <a:gd name="connsiteY19" fmla="*/ 1306987 h 1306987"/>
                <a:gd name="connsiteX20" fmla="*/ 409333 w 920008"/>
                <a:gd name="connsiteY20" fmla="*/ 1285999 h 1306987"/>
                <a:gd name="connsiteX21" fmla="*/ 395090 w 920008"/>
                <a:gd name="connsiteY21" fmla="*/ 1264874 h 1306987"/>
                <a:gd name="connsiteX22" fmla="*/ 393409 w 920008"/>
                <a:gd name="connsiteY22" fmla="*/ 1260413 h 1306987"/>
                <a:gd name="connsiteX23" fmla="*/ 27497 w 920008"/>
                <a:gd name="connsiteY23" fmla="*/ 289333 h 1306987"/>
                <a:gd name="connsiteX24" fmla="*/ 27494 w 920008"/>
                <a:gd name="connsiteY24" fmla="*/ 289329 h 1306987"/>
                <a:gd name="connsiteX25" fmla="*/ 0 w 920008"/>
                <a:gd name="connsiteY25" fmla="*/ 216362 h 1306987"/>
                <a:gd name="connsiteX26" fmla="*/ 9107 w 920008"/>
                <a:gd name="connsiteY26" fmla="*/ 173667 h 1306987"/>
                <a:gd name="connsiteX27" fmla="*/ 134559 w 920008"/>
                <a:gd name="connsiteY27" fmla="*/ 63704 h 1306987"/>
                <a:gd name="connsiteX28" fmla="*/ 181040 w 920008"/>
                <a:gd name="connsiteY28" fmla="*/ 45581 h 1306987"/>
                <a:gd name="connsiteX29" fmla="*/ 181042 w 920008"/>
                <a:gd name="connsiteY29" fmla="*/ 45582 h 1306987"/>
                <a:gd name="connsiteX30" fmla="*/ 202675 w 920008"/>
                <a:gd name="connsiteY30" fmla="*/ 37146 h 1306987"/>
                <a:gd name="connsiteX31" fmla="*/ 460003 w 920008"/>
                <a:gd name="connsiteY31" fmla="*/ 0 h 1306987"/>
                <a:gd name="connsiteX0" fmla="*/ 884082 w 920008"/>
                <a:gd name="connsiteY0" fmla="*/ 302164 h 1306987"/>
                <a:gd name="connsiteX1" fmla="*/ 892517 w 920008"/>
                <a:gd name="connsiteY1" fmla="*/ 289324 h 1306987"/>
                <a:gd name="connsiteX2" fmla="*/ 892518 w 920008"/>
                <a:gd name="connsiteY2" fmla="*/ 289322 h 1306987"/>
                <a:gd name="connsiteX3" fmla="*/ 588316 w 920008"/>
                <a:gd name="connsiteY3" fmla="*/ 1096630 h 1306987"/>
                <a:gd name="connsiteX4" fmla="*/ 526592 w 920008"/>
                <a:gd name="connsiteY4" fmla="*/ 1260437 h 1306987"/>
                <a:gd name="connsiteX5" fmla="*/ 526591 w 920008"/>
                <a:gd name="connsiteY5" fmla="*/ 1260437 h 1306987"/>
                <a:gd name="connsiteX6" fmla="*/ 524924 w 920008"/>
                <a:gd name="connsiteY6" fmla="*/ 1264861 h 1306987"/>
                <a:gd name="connsiteX7" fmla="*/ 510671 w 920008"/>
                <a:gd name="connsiteY7" fmla="*/ 1285999 h 1306987"/>
                <a:gd name="connsiteX8" fmla="*/ 460002 w 920008"/>
                <a:gd name="connsiteY8" fmla="*/ 1306987 h 1306987"/>
                <a:gd name="connsiteX9" fmla="*/ 409333 w 920008"/>
                <a:gd name="connsiteY9" fmla="*/ 1285999 h 1306987"/>
                <a:gd name="connsiteX10" fmla="*/ 395090 w 920008"/>
                <a:gd name="connsiteY10" fmla="*/ 1264874 h 1306987"/>
                <a:gd name="connsiteX11" fmla="*/ 393409 w 920008"/>
                <a:gd name="connsiteY11" fmla="*/ 1260413 h 1306987"/>
                <a:gd name="connsiteX12" fmla="*/ 27497 w 920008"/>
                <a:gd name="connsiteY12" fmla="*/ 289333 h 1306987"/>
                <a:gd name="connsiteX13" fmla="*/ 27494 w 920008"/>
                <a:gd name="connsiteY13" fmla="*/ 289329 h 1306987"/>
                <a:gd name="connsiteX14" fmla="*/ 0 w 920008"/>
                <a:gd name="connsiteY14" fmla="*/ 216362 h 1306987"/>
                <a:gd name="connsiteX15" fmla="*/ 9107 w 920008"/>
                <a:gd name="connsiteY15" fmla="*/ 173667 h 1306987"/>
                <a:gd name="connsiteX16" fmla="*/ 134559 w 920008"/>
                <a:gd name="connsiteY16" fmla="*/ 63704 h 1306987"/>
                <a:gd name="connsiteX17" fmla="*/ 181040 w 920008"/>
                <a:gd name="connsiteY17" fmla="*/ 45581 h 1306987"/>
                <a:gd name="connsiteX18" fmla="*/ 181042 w 920008"/>
                <a:gd name="connsiteY18" fmla="*/ 45582 h 1306987"/>
                <a:gd name="connsiteX19" fmla="*/ 202675 w 920008"/>
                <a:gd name="connsiteY19" fmla="*/ 37146 h 1306987"/>
                <a:gd name="connsiteX20" fmla="*/ 460003 w 920008"/>
                <a:gd name="connsiteY20" fmla="*/ 0 h 1306987"/>
                <a:gd name="connsiteX21" fmla="*/ 717332 w 920008"/>
                <a:gd name="connsiteY21" fmla="*/ 37146 h 1306987"/>
                <a:gd name="connsiteX22" fmla="*/ 738965 w 920008"/>
                <a:gd name="connsiteY22" fmla="*/ 45582 h 1306987"/>
                <a:gd name="connsiteX23" fmla="*/ 738967 w 920008"/>
                <a:gd name="connsiteY23" fmla="*/ 45581 h 1306987"/>
                <a:gd name="connsiteX24" fmla="*/ 785447 w 920008"/>
                <a:gd name="connsiteY24" fmla="*/ 63704 h 1306987"/>
                <a:gd name="connsiteX25" fmla="*/ 910899 w 920008"/>
                <a:gd name="connsiteY25" fmla="*/ 173667 h 1306987"/>
                <a:gd name="connsiteX26" fmla="*/ 920008 w 920008"/>
                <a:gd name="connsiteY26" fmla="*/ 216365 h 1306987"/>
                <a:gd name="connsiteX27" fmla="*/ 892517 w 920008"/>
                <a:gd name="connsiteY27" fmla="*/ 289322 h 1306987"/>
                <a:gd name="connsiteX28" fmla="*/ 884081 w 920008"/>
                <a:gd name="connsiteY28" fmla="*/ 302164 h 1306987"/>
                <a:gd name="connsiteX29" fmla="*/ 596866 w 920008"/>
                <a:gd name="connsiteY29" fmla="*/ 425227 h 1306987"/>
                <a:gd name="connsiteX30" fmla="*/ 551444 w 920008"/>
                <a:gd name="connsiteY30" fmla="*/ 526445 h 1306987"/>
                <a:gd name="connsiteX0" fmla="*/ 884082 w 920008"/>
                <a:gd name="connsiteY0" fmla="*/ 302164 h 1306987"/>
                <a:gd name="connsiteX1" fmla="*/ 892517 w 920008"/>
                <a:gd name="connsiteY1" fmla="*/ 289324 h 1306987"/>
                <a:gd name="connsiteX2" fmla="*/ 892518 w 920008"/>
                <a:gd name="connsiteY2" fmla="*/ 289322 h 1306987"/>
                <a:gd name="connsiteX3" fmla="*/ 588316 w 920008"/>
                <a:gd name="connsiteY3" fmla="*/ 1096630 h 1306987"/>
                <a:gd name="connsiteX4" fmla="*/ 526592 w 920008"/>
                <a:gd name="connsiteY4" fmla="*/ 1260437 h 1306987"/>
                <a:gd name="connsiteX5" fmla="*/ 526591 w 920008"/>
                <a:gd name="connsiteY5" fmla="*/ 1260437 h 1306987"/>
                <a:gd name="connsiteX6" fmla="*/ 524924 w 920008"/>
                <a:gd name="connsiteY6" fmla="*/ 1264861 h 1306987"/>
                <a:gd name="connsiteX7" fmla="*/ 510671 w 920008"/>
                <a:gd name="connsiteY7" fmla="*/ 1285999 h 1306987"/>
                <a:gd name="connsiteX8" fmla="*/ 460002 w 920008"/>
                <a:gd name="connsiteY8" fmla="*/ 1306987 h 1306987"/>
                <a:gd name="connsiteX9" fmla="*/ 409333 w 920008"/>
                <a:gd name="connsiteY9" fmla="*/ 1285999 h 1306987"/>
                <a:gd name="connsiteX10" fmla="*/ 395090 w 920008"/>
                <a:gd name="connsiteY10" fmla="*/ 1264874 h 1306987"/>
                <a:gd name="connsiteX11" fmla="*/ 393409 w 920008"/>
                <a:gd name="connsiteY11" fmla="*/ 1260413 h 1306987"/>
                <a:gd name="connsiteX12" fmla="*/ 27497 w 920008"/>
                <a:gd name="connsiteY12" fmla="*/ 289333 h 1306987"/>
                <a:gd name="connsiteX13" fmla="*/ 27494 w 920008"/>
                <a:gd name="connsiteY13" fmla="*/ 289329 h 1306987"/>
                <a:gd name="connsiteX14" fmla="*/ 0 w 920008"/>
                <a:gd name="connsiteY14" fmla="*/ 216362 h 1306987"/>
                <a:gd name="connsiteX15" fmla="*/ 9107 w 920008"/>
                <a:gd name="connsiteY15" fmla="*/ 173667 h 1306987"/>
                <a:gd name="connsiteX16" fmla="*/ 134559 w 920008"/>
                <a:gd name="connsiteY16" fmla="*/ 63704 h 1306987"/>
                <a:gd name="connsiteX17" fmla="*/ 181040 w 920008"/>
                <a:gd name="connsiteY17" fmla="*/ 45581 h 1306987"/>
                <a:gd name="connsiteX18" fmla="*/ 181042 w 920008"/>
                <a:gd name="connsiteY18" fmla="*/ 45582 h 1306987"/>
                <a:gd name="connsiteX19" fmla="*/ 202675 w 920008"/>
                <a:gd name="connsiteY19" fmla="*/ 37146 h 1306987"/>
                <a:gd name="connsiteX20" fmla="*/ 460003 w 920008"/>
                <a:gd name="connsiteY20" fmla="*/ 0 h 1306987"/>
                <a:gd name="connsiteX21" fmla="*/ 717332 w 920008"/>
                <a:gd name="connsiteY21" fmla="*/ 37146 h 1306987"/>
                <a:gd name="connsiteX22" fmla="*/ 738965 w 920008"/>
                <a:gd name="connsiteY22" fmla="*/ 45582 h 1306987"/>
                <a:gd name="connsiteX23" fmla="*/ 738967 w 920008"/>
                <a:gd name="connsiteY23" fmla="*/ 45581 h 1306987"/>
                <a:gd name="connsiteX24" fmla="*/ 785447 w 920008"/>
                <a:gd name="connsiteY24" fmla="*/ 63704 h 1306987"/>
                <a:gd name="connsiteX25" fmla="*/ 910899 w 920008"/>
                <a:gd name="connsiteY25" fmla="*/ 173667 h 1306987"/>
                <a:gd name="connsiteX26" fmla="*/ 920008 w 920008"/>
                <a:gd name="connsiteY26" fmla="*/ 216365 h 1306987"/>
                <a:gd name="connsiteX27" fmla="*/ 892517 w 920008"/>
                <a:gd name="connsiteY27" fmla="*/ 289322 h 1306987"/>
                <a:gd name="connsiteX28" fmla="*/ 884081 w 920008"/>
                <a:gd name="connsiteY28" fmla="*/ 302164 h 1306987"/>
                <a:gd name="connsiteX29" fmla="*/ 551444 w 920008"/>
                <a:gd name="connsiteY29" fmla="*/ 526445 h 1306987"/>
                <a:gd name="connsiteX0" fmla="*/ 884082 w 920008"/>
                <a:gd name="connsiteY0" fmla="*/ 302164 h 1306987"/>
                <a:gd name="connsiteX1" fmla="*/ 892517 w 920008"/>
                <a:gd name="connsiteY1" fmla="*/ 289324 h 1306987"/>
                <a:gd name="connsiteX2" fmla="*/ 892518 w 920008"/>
                <a:gd name="connsiteY2" fmla="*/ 289322 h 1306987"/>
                <a:gd name="connsiteX3" fmla="*/ 588316 w 920008"/>
                <a:gd name="connsiteY3" fmla="*/ 1096630 h 1306987"/>
                <a:gd name="connsiteX4" fmla="*/ 526592 w 920008"/>
                <a:gd name="connsiteY4" fmla="*/ 1260437 h 1306987"/>
                <a:gd name="connsiteX5" fmla="*/ 526591 w 920008"/>
                <a:gd name="connsiteY5" fmla="*/ 1260437 h 1306987"/>
                <a:gd name="connsiteX6" fmla="*/ 524924 w 920008"/>
                <a:gd name="connsiteY6" fmla="*/ 1264861 h 1306987"/>
                <a:gd name="connsiteX7" fmla="*/ 510671 w 920008"/>
                <a:gd name="connsiteY7" fmla="*/ 1285999 h 1306987"/>
                <a:gd name="connsiteX8" fmla="*/ 460002 w 920008"/>
                <a:gd name="connsiteY8" fmla="*/ 1306987 h 1306987"/>
                <a:gd name="connsiteX9" fmla="*/ 409333 w 920008"/>
                <a:gd name="connsiteY9" fmla="*/ 1285999 h 1306987"/>
                <a:gd name="connsiteX10" fmla="*/ 395090 w 920008"/>
                <a:gd name="connsiteY10" fmla="*/ 1264874 h 1306987"/>
                <a:gd name="connsiteX11" fmla="*/ 393409 w 920008"/>
                <a:gd name="connsiteY11" fmla="*/ 1260413 h 1306987"/>
                <a:gd name="connsiteX12" fmla="*/ 27497 w 920008"/>
                <a:gd name="connsiteY12" fmla="*/ 289333 h 1306987"/>
                <a:gd name="connsiteX13" fmla="*/ 27494 w 920008"/>
                <a:gd name="connsiteY13" fmla="*/ 289329 h 1306987"/>
                <a:gd name="connsiteX14" fmla="*/ 0 w 920008"/>
                <a:gd name="connsiteY14" fmla="*/ 216362 h 1306987"/>
                <a:gd name="connsiteX15" fmla="*/ 9107 w 920008"/>
                <a:gd name="connsiteY15" fmla="*/ 173667 h 1306987"/>
                <a:gd name="connsiteX16" fmla="*/ 134559 w 920008"/>
                <a:gd name="connsiteY16" fmla="*/ 63704 h 1306987"/>
                <a:gd name="connsiteX17" fmla="*/ 181040 w 920008"/>
                <a:gd name="connsiteY17" fmla="*/ 45581 h 1306987"/>
                <a:gd name="connsiteX18" fmla="*/ 181042 w 920008"/>
                <a:gd name="connsiteY18" fmla="*/ 45582 h 1306987"/>
                <a:gd name="connsiteX19" fmla="*/ 202675 w 920008"/>
                <a:gd name="connsiteY19" fmla="*/ 37146 h 1306987"/>
                <a:gd name="connsiteX20" fmla="*/ 460003 w 920008"/>
                <a:gd name="connsiteY20" fmla="*/ 0 h 1306987"/>
                <a:gd name="connsiteX21" fmla="*/ 717332 w 920008"/>
                <a:gd name="connsiteY21" fmla="*/ 37146 h 1306987"/>
                <a:gd name="connsiteX22" fmla="*/ 738965 w 920008"/>
                <a:gd name="connsiteY22" fmla="*/ 45582 h 1306987"/>
                <a:gd name="connsiteX23" fmla="*/ 738967 w 920008"/>
                <a:gd name="connsiteY23" fmla="*/ 45581 h 1306987"/>
                <a:gd name="connsiteX24" fmla="*/ 785447 w 920008"/>
                <a:gd name="connsiteY24" fmla="*/ 63704 h 1306987"/>
                <a:gd name="connsiteX25" fmla="*/ 910899 w 920008"/>
                <a:gd name="connsiteY25" fmla="*/ 173667 h 1306987"/>
                <a:gd name="connsiteX26" fmla="*/ 920008 w 920008"/>
                <a:gd name="connsiteY26" fmla="*/ 216365 h 1306987"/>
                <a:gd name="connsiteX27" fmla="*/ 892517 w 920008"/>
                <a:gd name="connsiteY27" fmla="*/ 289322 h 1306987"/>
                <a:gd name="connsiteX28" fmla="*/ 884081 w 920008"/>
                <a:gd name="connsiteY28" fmla="*/ 302164 h 130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0008" h="1306987">
                  <a:moveTo>
                    <a:pt x="884082" y="302164"/>
                  </a:moveTo>
                  <a:lnTo>
                    <a:pt x="892517" y="289324"/>
                  </a:lnTo>
                  <a:cubicBezTo>
                    <a:pt x="892517" y="289323"/>
                    <a:pt x="892518" y="289323"/>
                    <a:pt x="892518" y="289322"/>
                  </a:cubicBezTo>
                  <a:lnTo>
                    <a:pt x="588316" y="1096630"/>
                  </a:lnTo>
                  <a:lnTo>
                    <a:pt x="526592" y="1260437"/>
                  </a:lnTo>
                  <a:lnTo>
                    <a:pt x="526591" y="1260437"/>
                  </a:lnTo>
                  <a:lnTo>
                    <a:pt x="524924" y="1264861"/>
                  </a:lnTo>
                  <a:lnTo>
                    <a:pt x="510671" y="1285999"/>
                  </a:lnTo>
                  <a:cubicBezTo>
                    <a:pt x="497704" y="1298967"/>
                    <a:pt x="479790" y="1306987"/>
                    <a:pt x="460002" y="1306987"/>
                  </a:cubicBezTo>
                  <a:cubicBezTo>
                    <a:pt x="440215" y="1306987"/>
                    <a:pt x="422300" y="1298967"/>
                    <a:pt x="409333" y="1285999"/>
                  </a:cubicBezTo>
                  <a:lnTo>
                    <a:pt x="395090" y="1264874"/>
                  </a:lnTo>
                  <a:lnTo>
                    <a:pt x="393409" y="1260413"/>
                  </a:lnTo>
                  <a:lnTo>
                    <a:pt x="27497" y="289333"/>
                  </a:lnTo>
                  <a:cubicBezTo>
                    <a:pt x="27496" y="289332"/>
                    <a:pt x="27495" y="289330"/>
                    <a:pt x="27494" y="289329"/>
                  </a:cubicBezTo>
                  <a:lnTo>
                    <a:pt x="0" y="216362"/>
                  </a:lnTo>
                  <a:lnTo>
                    <a:pt x="9107" y="173667"/>
                  </a:lnTo>
                  <a:cubicBezTo>
                    <a:pt x="27500" y="131191"/>
                    <a:pt x="72093" y="93224"/>
                    <a:pt x="134559" y="63704"/>
                  </a:cubicBezTo>
                  <a:lnTo>
                    <a:pt x="181040" y="45581"/>
                  </a:lnTo>
                  <a:cubicBezTo>
                    <a:pt x="181041" y="45581"/>
                    <a:pt x="181041" y="45582"/>
                    <a:pt x="181042" y="45582"/>
                  </a:cubicBezTo>
                  <a:lnTo>
                    <a:pt x="202675" y="37146"/>
                  </a:lnTo>
                  <a:cubicBezTo>
                    <a:pt x="276131" y="13694"/>
                    <a:pt x="364683" y="0"/>
                    <a:pt x="460003" y="0"/>
                  </a:cubicBezTo>
                  <a:cubicBezTo>
                    <a:pt x="555323" y="0"/>
                    <a:pt x="643876" y="13694"/>
                    <a:pt x="717332" y="37146"/>
                  </a:cubicBezTo>
                  <a:lnTo>
                    <a:pt x="738965" y="45582"/>
                  </a:lnTo>
                  <a:cubicBezTo>
                    <a:pt x="738966" y="45582"/>
                    <a:pt x="738966" y="45581"/>
                    <a:pt x="738967" y="45581"/>
                  </a:cubicBezTo>
                  <a:lnTo>
                    <a:pt x="785447" y="63704"/>
                  </a:lnTo>
                  <a:cubicBezTo>
                    <a:pt x="847913" y="93224"/>
                    <a:pt x="892507" y="131191"/>
                    <a:pt x="910899" y="173667"/>
                  </a:cubicBezTo>
                  <a:lnTo>
                    <a:pt x="920008" y="216365"/>
                  </a:lnTo>
                  <a:lnTo>
                    <a:pt x="892517" y="289322"/>
                  </a:lnTo>
                  <a:lnTo>
                    <a:pt x="884081" y="302164"/>
                  </a:lnTo>
                </a:path>
              </a:pathLst>
            </a:custGeom>
            <a:gradFill flip="none" rotWithShape="1">
              <a:gsLst>
                <a:gs pos="0">
                  <a:srgbClr val="4CC1EF">
                    <a:lumMod val="75000"/>
                  </a:srgbClr>
                </a:gs>
                <a:gs pos="78000">
                  <a:srgbClr val="4CC1EF">
                    <a:lumMod val="50000"/>
                  </a:srgbClr>
                </a:gs>
              </a:gsLst>
              <a:path path="circle">
                <a:fillToRect l="100000" t="100000"/>
              </a:path>
              <a:tileRect r="-100000" b="-100000"/>
            </a:gradFill>
            <a:ln w="12700" cap="flat" cmpd="sng" algn="ctr">
              <a:noFill/>
              <a:prstDash val="solid"/>
              <a:miter lim="800000"/>
            </a:ln>
            <a:effectLst/>
          </p:spPr>
          <p:txBody>
            <a:bodyPr rot="0" spcFirstLastPara="0" vert="horz" wrap="square" lIns="68580" tIns="34291" rIns="68580" bIns="3429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ysClr val="window" lastClr="FFFFFF"/>
                </a:solidFill>
                <a:effectLst/>
                <a:uLnTx/>
                <a:uFillTx/>
                <a:latin typeface="Helvetica"/>
                <a:ea typeface="+mn-ea"/>
                <a:cs typeface="+mn-cs"/>
              </a:endParaRPr>
            </a:p>
          </p:txBody>
        </p:sp>
        <p:grpSp>
          <p:nvGrpSpPr>
            <p:cNvPr id="15" name="Group 174">
              <a:extLst>
                <a:ext uri="{FF2B5EF4-FFF2-40B4-BE49-F238E27FC236}">
                  <a16:creationId xmlns:a16="http://schemas.microsoft.com/office/drawing/2014/main" id="{B4D1A885-D964-43E3-94F7-83758322CF19}"/>
                </a:ext>
              </a:extLst>
            </p:cNvPr>
            <p:cNvGrpSpPr/>
            <p:nvPr/>
          </p:nvGrpSpPr>
          <p:grpSpPr>
            <a:xfrm rot="10800000">
              <a:off x="4713874" y="1574270"/>
              <a:ext cx="1324234" cy="1257002"/>
              <a:chOff x="5630078" y="4772782"/>
              <a:chExt cx="920008" cy="1306987"/>
            </a:xfrm>
          </p:grpSpPr>
          <p:sp>
            <p:nvSpPr>
              <p:cNvPr id="44" name="Freeform: Shape 175">
                <a:extLst>
                  <a:ext uri="{FF2B5EF4-FFF2-40B4-BE49-F238E27FC236}">
                    <a16:creationId xmlns:a16="http://schemas.microsoft.com/office/drawing/2014/main" id="{20C75EA9-31F0-42CB-A20C-E43731CCF964}"/>
                  </a:ext>
                </a:extLst>
              </p:cNvPr>
              <p:cNvSpPr/>
              <p:nvPr/>
            </p:nvSpPr>
            <p:spPr>
              <a:xfrm>
                <a:off x="5630078" y="4772782"/>
                <a:ext cx="920008" cy="435005"/>
              </a:xfrm>
              <a:custGeom>
                <a:avLst/>
                <a:gdLst>
                  <a:gd name="connsiteX0" fmla="*/ 460003 w 920008"/>
                  <a:gd name="connsiteY0" fmla="*/ 0 h 435005"/>
                  <a:gd name="connsiteX1" fmla="*/ 717332 w 920008"/>
                  <a:gd name="connsiteY1" fmla="*/ 37146 h 435005"/>
                  <a:gd name="connsiteX2" fmla="*/ 738965 w 920008"/>
                  <a:gd name="connsiteY2" fmla="*/ 45582 h 435005"/>
                  <a:gd name="connsiteX3" fmla="*/ 738967 w 920008"/>
                  <a:gd name="connsiteY3" fmla="*/ 45581 h 435005"/>
                  <a:gd name="connsiteX4" fmla="*/ 785447 w 920008"/>
                  <a:gd name="connsiteY4" fmla="*/ 63704 h 435005"/>
                  <a:gd name="connsiteX5" fmla="*/ 910899 w 920008"/>
                  <a:gd name="connsiteY5" fmla="*/ 173667 h 435005"/>
                  <a:gd name="connsiteX6" fmla="*/ 920008 w 920008"/>
                  <a:gd name="connsiteY6" fmla="*/ 216365 h 435005"/>
                  <a:gd name="connsiteX7" fmla="*/ 892517 w 920008"/>
                  <a:gd name="connsiteY7" fmla="*/ 289322 h 435005"/>
                  <a:gd name="connsiteX8" fmla="*/ 884081 w 920008"/>
                  <a:gd name="connsiteY8" fmla="*/ 302164 h 435005"/>
                  <a:gd name="connsiteX9" fmla="*/ 460003 w 920008"/>
                  <a:gd name="connsiteY9" fmla="*/ 435005 h 435005"/>
                  <a:gd name="connsiteX10" fmla="*/ 35925 w 920008"/>
                  <a:gd name="connsiteY10" fmla="*/ 302164 h 435005"/>
                  <a:gd name="connsiteX11" fmla="*/ 27494 w 920008"/>
                  <a:gd name="connsiteY11" fmla="*/ 289329 h 435005"/>
                  <a:gd name="connsiteX12" fmla="*/ 0 w 920008"/>
                  <a:gd name="connsiteY12" fmla="*/ 216362 h 435005"/>
                  <a:gd name="connsiteX13" fmla="*/ 9107 w 920008"/>
                  <a:gd name="connsiteY13" fmla="*/ 173667 h 435005"/>
                  <a:gd name="connsiteX14" fmla="*/ 134559 w 920008"/>
                  <a:gd name="connsiteY14" fmla="*/ 63704 h 435005"/>
                  <a:gd name="connsiteX15" fmla="*/ 181040 w 920008"/>
                  <a:gd name="connsiteY15" fmla="*/ 45581 h 435005"/>
                  <a:gd name="connsiteX16" fmla="*/ 181042 w 920008"/>
                  <a:gd name="connsiteY16" fmla="*/ 45582 h 435005"/>
                  <a:gd name="connsiteX17" fmla="*/ 202675 w 920008"/>
                  <a:gd name="connsiteY17" fmla="*/ 37146 h 435005"/>
                  <a:gd name="connsiteX18" fmla="*/ 460003 w 920008"/>
                  <a:gd name="connsiteY18" fmla="*/ 0 h 43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0008" h="435005">
                    <a:moveTo>
                      <a:pt x="460003" y="0"/>
                    </a:moveTo>
                    <a:cubicBezTo>
                      <a:pt x="555323" y="0"/>
                      <a:pt x="643876" y="13694"/>
                      <a:pt x="717332" y="37146"/>
                    </a:cubicBezTo>
                    <a:lnTo>
                      <a:pt x="738965" y="45582"/>
                    </a:lnTo>
                    <a:lnTo>
                      <a:pt x="738967" y="45581"/>
                    </a:lnTo>
                    <a:lnTo>
                      <a:pt x="785447" y="63704"/>
                    </a:lnTo>
                    <a:cubicBezTo>
                      <a:pt x="847913" y="93224"/>
                      <a:pt x="892507" y="131191"/>
                      <a:pt x="910899" y="173667"/>
                    </a:cubicBezTo>
                    <a:lnTo>
                      <a:pt x="920008" y="216365"/>
                    </a:lnTo>
                    <a:lnTo>
                      <a:pt x="892517" y="289322"/>
                    </a:lnTo>
                    <a:lnTo>
                      <a:pt x="884081" y="302164"/>
                    </a:lnTo>
                    <a:cubicBezTo>
                      <a:pt x="814212" y="380230"/>
                      <a:pt x="650643" y="435005"/>
                      <a:pt x="460003" y="435005"/>
                    </a:cubicBezTo>
                    <a:cubicBezTo>
                      <a:pt x="269363" y="435005"/>
                      <a:pt x="105794" y="380230"/>
                      <a:pt x="35925" y="302164"/>
                    </a:cubicBezTo>
                    <a:lnTo>
                      <a:pt x="27494" y="289329"/>
                    </a:lnTo>
                    <a:lnTo>
                      <a:pt x="0" y="216362"/>
                    </a:lnTo>
                    <a:lnTo>
                      <a:pt x="9107" y="173667"/>
                    </a:lnTo>
                    <a:cubicBezTo>
                      <a:pt x="27500" y="131191"/>
                      <a:pt x="72093" y="93224"/>
                      <a:pt x="134559" y="63704"/>
                    </a:cubicBezTo>
                    <a:lnTo>
                      <a:pt x="181040" y="45581"/>
                    </a:lnTo>
                    <a:lnTo>
                      <a:pt x="181042" y="45582"/>
                    </a:lnTo>
                    <a:lnTo>
                      <a:pt x="202675" y="37146"/>
                    </a:lnTo>
                    <a:cubicBezTo>
                      <a:pt x="276131" y="13694"/>
                      <a:pt x="364683" y="0"/>
                      <a:pt x="460003" y="0"/>
                    </a:cubicBezTo>
                    <a:close/>
                  </a:path>
                </a:pathLst>
              </a:custGeom>
              <a:gradFill flip="none" rotWithShape="1">
                <a:gsLst>
                  <a:gs pos="0">
                    <a:srgbClr val="4CC1EF">
                      <a:lumMod val="75000"/>
                    </a:srgbClr>
                  </a:gs>
                  <a:gs pos="78000">
                    <a:srgbClr val="4CC1EF">
                      <a:lumMod val="50000"/>
                    </a:srgbClr>
                  </a:gs>
                </a:gsLst>
                <a:path path="circle">
                  <a:fillToRect l="100000" t="100000"/>
                </a:path>
                <a:tileRect r="-100000" b="-100000"/>
              </a:gradFill>
              <a:ln w="12700" cap="flat" cmpd="sng" algn="ctr">
                <a:noFill/>
                <a:prstDash val="solid"/>
                <a:miter lim="800000"/>
              </a:ln>
              <a:effectLst/>
            </p:spPr>
            <p:txBody>
              <a:bodyPr rot="0" spcFirstLastPara="0" vert="horz" wrap="square" lIns="68580" tIns="34291" rIns="68580" bIns="3429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ysClr val="window" lastClr="FFFFFF"/>
                  </a:solidFill>
                  <a:effectLst/>
                  <a:uLnTx/>
                  <a:uFillTx/>
                  <a:latin typeface="Helvetica"/>
                  <a:ea typeface="+mn-ea"/>
                  <a:cs typeface="+mn-cs"/>
                </a:endParaRPr>
              </a:p>
            </p:txBody>
          </p:sp>
          <p:sp>
            <p:nvSpPr>
              <p:cNvPr id="45" name="Freeform: Shape 176">
                <a:extLst>
                  <a:ext uri="{FF2B5EF4-FFF2-40B4-BE49-F238E27FC236}">
                    <a16:creationId xmlns:a16="http://schemas.microsoft.com/office/drawing/2014/main" id="{7179CBFC-B105-4C00-8600-F7515FCA6630}"/>
                  </a:ext>
                </a:extLst>
              </p:cNvPr>
              <p:cNvSpPr/>
              <p:nvPr/>
            </p:nvSpPr>
            <p:spPr>
              <a:xfrm>
                <a:off x="5657573" y="5062104"/>
                <a:ext cx="865023" cy="1017665"/>
              </a:xfrm>
              <a:custGeom>
                <a:avLst/>
                <a:gdLst>
                  <a:gd name="connsiteX0" fmla="*/ 865023 w 865023"/>
                  <a:gd name="connsiteY0" fmla="*/ 0 h 1017665"/>
                  <a:gd name="connsiteX1" fmla="*/ 560821 w 865023"/>
                  <a:gd name="connsiteY1" fmla="*/ 807308 h 1017665"/>
                  <a:gd name="connsiteX2" fmla="*/ 499097 w 865023"/>
                  <a:gd name="connsiteY2" fmla="*/ 971115 h 1017665"/>
                  <a:gd name="connsiteX3" fmla="*/ 499096 w 865023"/>
                  <a:gd name="connsiteY3" fmla="*/ 971115 h 1017665"/>
                  <a:gd name="connsiteX4" fmla="*/ 497429 w 865023"/>
                  <a:gd name="connsiteY4" fmla="*/ 975539 h 1017665"/>
                  <a:gd name="connsiteX5" fmla="*/ 483176 w 865023"/>
                  <a:gd name="connsiteY5" fmla="*/ 996677 h 1017665"/>
                  <a:gd name="connsiteX6" fmla="*/ 432507 w 865023"/>
                  <a:gd name="connsiteY6" fmla="*/ 1017665 h 1017665"/>
                  <a:gd name="connsiteX7" fmla="*/ 381838 w 865023"/>
                  <a:gd name="connsiteY7" fmla="*/ 996677 h 1017665"/>
                  <a:gd name="connsiteX8" fmla="*/ 367595 w 865023"/>
                  <a:gd name="connsiteY8" fmla="*/ 975552 h 1017665"/>
                  <a:gd name="connsiteX9" fmla="*/ 365914 w 865023"/>
                  <a:gd name="connsiteY9" fmla="*/ 971091 h 1017665"/>
                  <a:gd name="connsiteX10" fmla="*/ 0 w 865023"/>
                  <a:gd name="connsiteY10" fmla="*/ 7 h 1017665"/>
                  <a:gd name="connsiteX11" fmla="*/ 3 w 865023"/>
                  <a:gd name="connsiteY11" fmla="*/ 11 h 1017665"/>
                  <a:gd name="connsiteX12" fmla="*/ 8431 w 865023"/>
                  <a:gd name="connsiteY12" fmla="*/ 12842 h 1017665"/>
                  <a:gd name="connsiteX13" fmla="*/ 432509 w 865023"/>
                  <a:gd name="connsiteY13" fmla="*/ 145683 h 1017665"/>
                  <a:gd name="connsiteX14" fmla="*/ 856587 w 865023"/>
                  <a:gd name="connsiteY14" fmla="*/ 12842 h 1017665"/>
                  <a:gd name="connsiteX15" fmla="*/ 865022 w 865023"/>
                  <a:gd name="connsiteY15" fmla="*/ 2 h 101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5023" h="1017665">
                    <a:moveTo>
                      <a:pt x="865023" y="0"/>
                    </a:moveTo>
                    <a:lnTo>
                      <a:pt x="560821" y="807308"/>
                    </a:lnTo>
                    <a:lnTo>
                      <a:pt x="499097" y="971115"/>
                    </a:lnTo>
                    <a:lnTo>
                      <a:pt x="499096" y="971115"/>
                    </a:lnTo>
                    <a:lnTo>
                      <a:pt x="497429" y="975539"/>
                    </a:lnTo>
                    <a:lnTo>
                      <a:pt x="483176" y="996677"/>
                    </a:lnTo>
                    <a:cubicBezTo>
                      <a:pt x="470209" y="1009645"/>
                      <a:pt x="452295" y="1017665"/>
                      <a:pt x="432507" y="1017665"/>
                    </a:cubicBezTo>
                    <a:cubicBezTo>
                      <a:pt x="412720" y="1017665"/>
                      <a:pt x="394805" y="1009645"/>
                      <a:pt x="381838" y="996677"/>
                    </a:cubicBezTo>
                    <a:lnTo>
                      <a:pt x="367595" y="975552"/>
                    </a:lnTo>
                    <a:lnTo>
                      <a:pt x="365914" y="971091"/>
                    </a:lnTo>
                    <a:lnTo>
                      <a:pt x="0" y="7"/>
                    </a:lnTo>
                    <a:lnTo>
                      <a:pt x="3" y="11"/>
                    </a:lnTo>
                    <a:lnTo>
                      <a:pt x="8431" y="12842"/>
                    </a:lnTo>
                    <a:cubicBezTo>
                      <a:pt x="78300" y="90908"/>
                      <a:pt x="241869" y="145683"/>
                      <a:pt x="432509" y="145683"/>
                    </a:cubicBezTo>
                    <a:cubicBezTo>
                      <a:pt x="623149" y="145683"/>
                      <a:pt x="786718" y="90908"/>
                      <a:pt x="856587" y="12842"/>
                    </a:cubicBezTo>
                    <a:lnTo>
                      <a:pt x="865022" y="2"/>
                    </a:lnTo>
                    <a:close/>
                  </a:path>
                </a:pathLst>
              </a:custGeom>
              <a:gradFill flip="none" rotWithShape="1">
                <a:gsLst>
                  <a:gs pos="46000">
                    <a:srgbClr val="4CC1EF">
                      <a:lumMod val="75000"/>
                    </a:srgbClr>
                  </a:gs>
                  <a:gs pos="78000">
                    <a:srgbClr val="4CC1EF">
                      <a:lumMod val="50000"/>
                    </a:srgbClr>
                  </a:gs>
                </a:gsLst>
                <a:path path="circle">
                  <a:fillToRect r="100000" b="100000"/>
                </a:path>
                <a:tileRect l="-100000" t="-100000"/>
              </a:gradFill>
              <a:ln w="12700" cap="flat" cmpd="sng" algn="ctr">
                <a:noFill/>
                <a:prstDash val="solid"/>
                <a:miter lim="800000"/>
              </a:ln>
              <a:effectLst/>
            </p:spPr>
            <p:txBody>
              <a:bodyPr rot="0" spcFirstLastPara="0" vert="horz" wrap="square" lIns="68580" tIns="34291" rIns="68580" bIns="3429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ysClr val="window" lastClr="FFFFFF"/>
                  </a:solidFill>
                  <a:effectLst/>
                  <a:uLnTx/>
                  <a:uFillTx/>
                  <a:latin typeface="Helvetica"/>
                  <a:ea typeface="+mn-ea"/>
                  <a:cs typeface="+mn-cs"/>
                </a:endParaRPr>
              </a:p>
            </p:txBody>
          </p:sp>
        </p:grpSp>
        <p:sp>
          <p:nvSpPr>
            <p:cNvPr id="16" name="Freeform: Shape 177">
              <a:extLst>
                <a:ext uri="{FF2B5EF4-FFF2-40B4-BE49-F238E27FC236}">
                  <a16:creationId xmlns:a16="http://schemas.microsoft.com/office/drawing/2014/main" id="{CDAECBF7-B8AB-4C4C-BB05-AFD79CA6E1F8}"/>
                </a:ext>
              </a:extLst>
            </p:cNvPr>
            <p:cNvSpPr/>
            <p:nvPr/>
          </p:nvSpPr>
          <p:spPr>
            <a:xfrm rot="10800000">
              <a:off x="4308528" y="2814099"/>
              <a:ext cx="2172957" cy="982414"/>
            </a:xfrm>
            <a:custGeom>
              <a:avLst/>
              <a:gdLst>
                <a:gd name="connsiteX0" fmla="*/ 935318 w 1870640"/>
                <a:gd name="connsiteY0" fmla="*/ 874879 h 1309885"/>
                <a:gd name="connsiteX1" fmla="*/ 1524558 w 1870640"/>
                <a:gd name="connsiteY1" fmla="*/ 1048547 h 1309885"/>
                <a:gd name="connsiteX2" fmla="*/ 1534693 w 1870640"/>
                <a:gd name="connsiteY2" fmla="*/ 1084905 h 1309885"/>
                <a:gd name="connsiteX3" fmla="*/ 1508160 w 1870640"/>
                <a:gd name="connsiteY3" fmla="*/ 1155319 h 1309885"/>
                <a:gd name="connsiteX4" fmla="*/ 1489511 w 1870640"/>
                <a:gd name="connsiteY4" fmla="*/ 1177044 h 1309885"/>
                <a:gd name="connsiteX5" fmla="*/ 1271600 w 1870640"/>
                <a:gd name="connsiteY5" fmla="*/ 1272739 h 1309885"/>
                <a:gd name="connsiteX6" fmla="*/ 1214283 w 1870640"/>
                <a:gd name="connsiteY6" fmla="*/ 1283990 h 1309885"/>
                <a:gd name="connsiteX7" fmla="*/ 1169434 w 1870640"/>
                <a:gd name="connsiteY7" fmla="*/ 1292793 h 1309885"/>
                <a:gd name="connsiteX8" fmla="*/ 935319 w 1870640"/>
                <a:gd name="connsiteY8" fmla="*/ 1309885 h 1309885"/>
                <a:gd name="connsiteX9" fmla="*/ 701204 w 1870640"/>
                <a:gd name="connsiteY9" fmla="*/ 1292793 h 1309885"/>
                <a:gd name="connsiteX10" fmla="*/ 656356 w 1870640"/>
                <a:gd name="connsiteY10" fmla="*/ 1283990 h 1309885"/>
                <a:gd name="connsiteX11" fmla="*/ 677991 w 1870640"/>
                <a:gd name="connsiteY11" fmla="*/ 1275554 h 1309885"/>
                <a:gd name="connsiteX12" fmla="*/ 677990 w 1870640"/>
                <a:gd name="connsiteY12" fmla="*/ 1275554 h 1309885"/>
                <a:gd name="connsiteX13" fmla="*/ 656355 w 1870640"/>
                <a:gd name="connsiteY13" fmla="*/ 1283990 h 1309885"/>
                <a:gd name="connsiteX14" fmla="*/ 599036 w 1870640"/>
                <a:gd name="connsiteY14" fmla="*/ 1272739 h 1309885"/>
                <a:gd name="connsiteX15" fmla="*/ 381125 w 1870640"/>
                <a:gd name="connsiteY15" fmla="*/ 1177044 h 1309885"/>
                <a:gd name="connsiteX16" fmla="*/ 362479 w 1870640"/>
                <a:gd name="connsiteY16" fmla="*/ 1155323 h 1309885"/>
                <a:gd name="connsiteX17" fmla="*/ 335944 w 1870640"/>
                <a:gd name="connsiteY17" fmla="*/ 1084902 h 1309885"/>
                <a:gd name="connsiteX18" fmla="*/ 346078 w 1870640"/>
                <a:gd name="connsiteY18" fmla="*/ 1048547 h 1309885"/>
                <a:gd name="connsiteX19" fmla="*/ 935318 w 1870640"/>
                <a:gd name="connsiteY19" fmla="*/ 874879 h 1309885"/>
                <a:gd name="connsiteX20" fmla="*/ 935320 w 1870640"/>
                <a:gd name="connsiteY20" fmla="*/ 0 h 1309885"/>
                <a:gd name="connsiteX21" fmla="*/ 1461691 w 1870640"/>
                <a:gd name="connsiteY21" fmla="*/ 37146 h 1309885"/>
                <a:gd name="connsiteX22" fmla="*/ 1486139 w 1870640"/>
                <a:gd name="connsiteY22" fmla="*/ 41806 h 1309885"/>
                <a:gd name="connsiteX23" fmla="*/ 1601022 w 1870640"/>
                <a:gd name="connsiteY23" fmla="*/ 63705 h 1309885"/>
                <a:gd name="connsiteX24" fmla="*/ 1857638 w 1870640"/>
                <a:gd name="connsiteY24" fmla="*/ 173668 h 1309885"/>
                <a:gd name="connsiteX25" fmla="*/ 1870640 w 1870640"/>
                <a:gd name="connsiteY25" fmla="*/ 193351 h 1309885"/>
                <a:gd name="connsiteX26" fmla="*/ 1838564 w 1870640"/>
                <a:gd name="connsiteY26" fmla="*/ 278476 h 1309885"/>
                <a:gd name="connsiteX27" fmla="*/ 1838562 w 1870640"/>
                <a:gd name="connsiteY27" fmla="*/ 278478 h 1309885"/>
                <a:gd name="connsiteX28" fmla="*/ 1534693 w 1870640"/>
                <a:gd name="connsiteY28" fmla="*/ 1084904 h 1309885"/>
                <a:gd name="connsiteX29" fmla="*/ 1524558 w 1870640"/>
                <a:gd name="connsiteY29" fmla="*/ 1048546 h 1309885"/>
                <a:gd name="connsiteX30" fmla="*/ 935318 w 1870640"/>
                <a:gd name="connsiteY30" fmla="*/ 874878 h 1309885"/>
                <a:gd name="connsiteX31" fmla="*/ 346078 w 1870640"/>
                <a:gd name="connsiteY31" fmla="*/ 1048546 h 1309885"/>
                <a:gd name="connsiteX32" fmla="*/ 335944 w 1870640"/>
                <a:gd name="connsiteY32" fmla="*/ 1084901 h 1309885"/>
                <a:gd name="connsiteX33" fmla="*/ 32075 w 1870640"/>
                <a:gd name="connsiteY33" fmla="*/ 278475 h 1309885"/>
                <a:gd name="connsiteX34" fmla="*/ 32076 w 1870640"/>
                <a:gd name="connsiteY34" fmla="*/ 278476 h 1309885"/>
                <a:gd name="connsiteX35" fmla="*/ 0 w 1870640"/>
                <a:gd name="connsiteY35" fmla="*/ 193351 h 1309885"/>
                <a:gd name="connsiteX36" fmla="*/ 13002 w 1870640"/>
                <a:gd name="connsiteY36" fmla="*/ 173668 h 1309885"/>
                <a:gd name="connsiteX37" fmla="*/ 269618 w 1870640"/>
                <a:gd name="connsiteY37" fmla="*/ 63705 h 1309885"/>
                <a:gd name="connsiteX38" fmla="*/ 384501 w 1870640"/>
                <a:gd name="connsiteY38" fmla="*/ 41806 h 1309885"/>
                <a:gd name="connsiteX39" fmla="*/ 408949 w 1870640"/>
                <a:gd name="connsiteY39" fmla="*/ 37146 h 1309885"/>
                <a:gd name="connsiteX40" fmla="*/ 935320 w 1870640"/>
                <a:gd name="connsiteY40" fmla="*/ 0 h 130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870640" h="1309885">
                  <a:moveTo>
                    <a:pt x="935318" y="874879"/>
                  </a:moveTo>
                  <a:cubicBezTo>
                    <a:pt x="1225973" y="874879"/>
                    <a:pt x="1468474" y="949435"/>
                    <a:pt x="1524558" y="1048547"/>
                  </a:cubicBezTo>
                  <a:lnTo>
                    <a:pt x="1534693" y="1084905"/>
                  </a:lnTo>
                  <a:lnTo>
                    <a:pt x="1508160" y="1155319"/>
                  </a:lnTo>
                  <a:lnTo>
                    <a:pt x="1489511" y="1177044"/>
                  </a:lnTo>
                  <a:cubicBezTo>
                    <a:pt x="1443858" y="1216076"/>
                    <a:pt x="1367593" y="1249287"/>
                    <a:pt x="1271600" y="1272739"/>
                  </a:cubicBezTo>
                  <a:lnTo>
                    <a:pt x="1214283" y="1283990"/>
                  </a:lnTo>
                  <a:lnTo>
                    <a:pt x="1169434" y="1292793"/>
                  </a:lnTo>
                  <a:cubicBezTo>
                    <a:pt x="1097477" y="1303799"/>
                    <a:pt x="1018363" y="1309885"/>
                    <a:pt x="935319" y="1309885"/>
                  </a:cubicBezTo>
                  <a:cubicBezTo>
                    <a:pt x="852275" y="1309885"/>
                    <a:pt x="773162" y="1303799"/>
                    <a:pt x="701204" y="1292793"/>
                  </a:cubicBezTo>
                  <a:lnTo>
                    <a:pt x="656356" y="1283990"/>
                  </a:lnTo>
                  <a:lnTo>
                    <a:pt x="677991" y="1275554"/>
                  </a:lnTo>
                  <a:cubicBezTo>
                    <a:pt x="681597" y="1274148"/>
                    <a:pt x="681596" y="1274148"/>
                    <a:pt x="677990" y="1275554"/>
                  </a:cubicBezTo>
                  <a:lnTo>
                    <a:pt x="656355" y="1283990"/>
                  </a:lnTo>
                  <a:lnTo>
                    <a:pt x="599036" y="1272739"/>
                  </a:lnTo>
                  <a:cubicBezTo>
                    <a:pt x="503043" y="1249287"/>
                    <a:pt x="426778" y="1216076"/>
                    <a:pt x="381125" y="1177044"/>
                  </a:cubicBezTo>
                  <a:lnTo>
                    <a:pt x="362479" y="1155323"/>
                  </a:lnTo>
                  <a:lnTo>
                    <a:pt x="335944" y="1084902"/>
                  </a:lnTo>
                  <a:lnTo>
                    <a:pt x="346078" y="1048547"/>
                  </a:lnTo>
                  <a:cubicBezTo>
                    <a:pt x="402162" y="949435"/>
                    <a:pt x="644663" y="874879"/>
                    <a:pt x="935318" y="874879"/>
                  </a:cubicBezTo>
                  <a:close/>
                  <a:moveTo>
                    <a:pt x="935320" y="0"/>
                  </a:moveTo>
                  <a:cubicBezTo>
                    <a:pt x="1130300" y="0"/>
                    <a:pt x="1311436" y="13694"/>
                    <a:pt x="1461691" y="37146"/>
                  </a:cubicBezTo>
                  <a:lnTo>
                    <a:pt x="1486139" y="41806"/>
                  </a:lnTo>
                  <a:lnTo>
                    <a:pt x="1601022" y="63705"/>
                  </a:lnTo>
                  <a:cubicBezTo>
                    <a:pt x="1728798" y="93225"/>
                    <a:pt x="1820016" y="131191"/>
                    <a:pt x="1857638" y="173668"/>
                  </a:cubicBezTo>
                  <a:lnTo>
                    <a:pt x="1870640" y="193351"/>
                  </a:lnTo>
                  <a:lnTo>
                    <a:pt x="1838564" y="278476"/>
                  </a:lnTo>
                  <a:lnTo>
                    <a:pt x="1838562" y="278478"/>
                  </a:lnTo>
                  <a:lnTo>
                    <a:pt x="1534693" y="1084904"/>
                  </a:lnTo>
                  <a:lnTo>
                    <a:pt x="1524558" y="1048546"/>
                  </a:lnTo>
                  <a:cubicBezTo>
                    <a:pt x="1468474" y="949434"/>
                    <a:pt x="1225973" y="874878"/>
                    <a:pt x="935318" y="874878"/>
                  </a:cubicBezTo>
                  <a:cubicBezTo>
                    <a:pt x="644663" y="874878"/>
                    <a:pt x="402162" y="949434"/>
                    <a:pt x="346078" y="1048546"/>
                  </a:cubicBezTo>
                  <a:lnTo>
                    <a:pt x="335944" y="1084901"/>
                  </a:lnTo>
                  <a:lnTo>
                    <a:pt x="32075" y="278475"/>
                  </a:lnTo>
                  <a:lnTo>
                    <a:pt x="32076" y="278476"/>
                  </a:lnTo>
                  <a:lnTo>
                    <a:pt x="0" y="193351"/>
                  </a:lnTo>
                  <a:lnTo>
                    <a:pt x="13002" y="173668"/>
                  </a:lnTo>
                  <a:cubicBezTo>
                    <a:pt x="50624" y="131191"/>
                    <a:pt x="141842" y="93225"/>
                    <a:pt x="269618" y="63705"/>
                  </a:cubicBezTo>
                  <a:lnTo>
                    <a:pt x="384501" y="41806"/>
                  </a:lnTo>
                  <a:lnTo>
                    <a:pt x="408949" y="37146"/>
                  </a:lnTo>
                  <a:cubicBezTo>
                    <a:pt x="559205" y="13694"/>
                    <a:pt x="740340" y="0"/>
                    <a:pt x="935320" y="0"/>
                  </a:cubicBezTo>
                  <a:close/>
                </a:path>
              </a:pathLst>
            </a:custGeom>
            <a:gradFill flip="none" rotWithShape="1">
              <a:gsLst>
                <a:gs pos="0">
                  <a:srgbClr val="A2B969"/>
                </a:gs>
                <a:gs pos="78000">
                  <a:srgbClr val="A2B969">
                    <a:lumMod val="75000"/>
                  </a:srgbClr>
                </a:gs>
              </a:gsLst>
              <a:path path="circle">
                <a:fillToRect l="100000" t="100000"/>
              </a:path>
              <a:tileRect r="-100000" b="-100000"/>
            </a:gradFill>
            <a:ln w="12700" cap="flat" cmpd="sng" algn="ctr">
              <a:noFill/>
              <a:prstDash val="solid"/>
              <a:miter lim="800000"/>
            </a:ln>
            <a:effectLst/>
          </p:spPr>
          <p:txBody>
            <a:bodyPr rot="0" spcFirstLastPara="0" vert="horz" wrap="square" lIns="68580" tIns="34291" rIns="68580" bIns="3429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ysClr val="window" lastClr="FFFFFF"/>
                </a:solidFill>
                <a:effectLst/>
                <a:uLnTx/>
                <a:uFillTx/>
                <a:latin typeface="Helvetica"/>
                <a:ea typeface="+mn-ea"/>
                <a:cs typeface="+mn-cs"/>
              </a:endParaRPr>
            </a:p>
          </p:txBody>
        </p:sp>
        <p:grpSp>
          <p:nvGrpSpPr>
            <p:cNvPr id="17" name="Group 178">
              <a:extLst>
                <a:ext uri="{FF2B5EF4-FFF2-40B4-BE49-F238E27FC236}">
                  <a16:creationId xmlns:a16="http://schemas.microsoft.com/office/drawing/2014/main" id="{060BDF1D-DA0D-48D1-BE8C-ADA7E923D84E}"/>
                </a:ext>
              </a:extLst>
            </p:cNvPr>
            <p:cNvGrpSpPr/>
            <p:nvPr/>
          </p:nvGrpSpPr>
          <p:grpSpPr>
            <a:xfrm rot="10800000">
              <a:off x="4220870" y="2730715"/>
              <a:ext cx="2260615" cy="1086135"/>
              <a:chOff x="5154762" y="3534373"/>
              <a:chExt cx="1870640" cy="1309885"/>
            </a:xfrm>
          </p:grpSpPr>
          <p:sp>
            <p:nvSpPr>
              <p:cNvPr id="42" name="Freeform: Shape 179">
                <a:extLst>
                  <a:ext uri="{FF2B5EF4-FFF2-40B4-BE49-F238E27FC236}">
                    <a16:creationId xmlns:a16="http://schemas.microsoft.com/office/drawing/2014/main" id="{FA06DD93-3045-44B1-BEC8-7DB4EDD9A62C}"/>
                  </a:ext>
                </a:extLst>
              </p:cNvPr>
              <p:cNvSpPr/>
              <p:nvPr/>
            </p:nvSpPr>
            <p:spPr>
              <a:xfrm>
                <a:off x="5154762" y="3534373"/>
                <a:ext cx="1870640" cy="435006"/>
              </a:xfrm>
              <a:custGeom>
                <a:avLst/>
                <a:gdLst>
                  <a:gd name="connsiteX0" fmla="*/ 935320 w 1870640"/>
                  <a:gd name="connsiteY0" fmla="*/ 0 h 435006"/>
                  <a:gd name="connsiteX1" fmla="*/ 1461691 w 1870640"/>
                  <a:gd name="connsiteY1" fmla="*/ 37146 h 435006"/>
                  <a:gd name="connsiteX2" fmla="*/ 1486139 w 1870640"/>
                  <a:gd name="connsiteY2" fmla="*/ 41806 h 435006"/>
                  <a:gd name="connsiteX3" fmla="*/ 1601022 w 1870640"/>
                  <a:gd name="connsiteY3" fmla="*/ 63705 h 435006"/>
                  <a:gd name="connsiteX4" fmla="*/ 1857638 w 1870640"/>
                  <a:gd name="connsiteY4" fmla="*/ 173668 h 435006"/>
                  <a:gd name="connsiteX5" fmla="*/ 1870640 w 1870640"/>
                  <a:gd name="connsiteY5" fmla="*/ 193351 h 435006"/>
                  <a:gd name="connsiteX6" fmla="*/ 1838564 w 1870640"/>
                  <a:gd name="connsiteY6" fmla="*/ 278476 h 435006"/>
                  <a:gd name="connsiteX7" fmla="*/ 1834440 w 1870640"/>
                  <a:gd name="connsiteY7" fmla="*/ 282182 h 435006"/>
                  <a:gd name="connsiteX8" fmla="*/ 935320 w 1870640"/>
                  <a:gd name="connsiteY8" fmla="*/ 435006 h 435006"/>
                  <a:gd name="connsiteX9" fmla="*/ 36200 w 1870640"/>
                  <a:gd name="connsiteY9" fmla="*/ 282182 h 435006"/>
                  <a:gd name="connsiteX10" fmla="*/ 32076 w 1870640"/>
                  <a:gd name="connsiteY10" fmla="*/ 278476 h 435006"/>
                  <a:gd name="connsiteX11" fmla="*/ 0 w 1870640"/>
                  <a:gd name="connsiteY11" fmla="*/ 193351 h 435006"/>
                  <a:gd name="connsiteX12" fmla="*/ 13002 w 1870640"/>
                  <a:gd name="connsiteY12" fmla="*/ 173668 h 435006"/>
                  <a:gd name="connsiteX13" fmla="*/ 269618 w 1870640"/>
                  <a:gd name="connsiteY13" fmla="*/ 63705 h 435006"/>
                  <a:gd name="connsiteX14" fmla="*/ 384501 w 1870640"/>
                  <a:gd name="connsiteY14" fmla="*/ 41806 h 435006"/>
                  <a:gd name="connsiteX15" fmla="*/ 408949 w 1870640"/>
                  <a:gd name="connsiteY15" fmla="*/ 37146 h 435006"/>
                  <a:gd name="connsiteX16" fmla="*/ 935320 w 1870640"/>
                  <a:gd name="connsiteY16" fmla="*/ 0 h 4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0640" h="435006">
                    <a:moveTo>
                      <a:pt x="935320" y="0"/>
                    </a:moveTo>
                    <a:cubicBezTo>
                      <a:pt x="1130300" y="0"/>
                      <a:pt x="1311436" y="13694"/>
                      <a:pt x="1461691" y="37146"/>
                    </a:cubicBezTo>
                    <a:lnTo>
                      <a:pt x="1486139" y="41806"/>
                    </a:lnTo>
                    <a:lnTo>
                      <a:pt x="1601022" y="63705"/>
                    </a:lnTo>
                    <a:cubicBezTo>
                      <a:pt x="1728798" y="93225"/>
                      <a:pt x="1820016" y="131191"/>
                      <a:pt x="1857638" y="173668"/>
                    </a:cubicBezTo>
                    <a:lnTo>
                      <a:pt x="1870640" y="193351"/>
                    </a:lnTo>
                    <a:lnTo>
                      <a:pt x="1838564" y="278476"/>
                    </a:lnTo>
                    <a:lnTo>
                      <a:pt x="1834440" y="282182"/>
                    </a:lnTo>
                    <a:cubicBezTo>
                      <a:pt x="1715242" y="370721"/>
                      <a:pt x="1357776" y="435006"/>
                      <a:pt x="935320" y="435006"/>
                    </a:cubicBezTo>
                    <a:cubicBezTo>
                      <a:pt x="512864" y="435006"/>
                      <a:pt x="155398" y="370721"/>
                      <a:pt x="36200" y="282182"/>
                    </a:cubicBezTo>
                    <a:lnTo>
                      <a:pt x="32076" y="278476"/>
                    </a:lnTo>
                    <a:lnTo>
                      <a:pt x="0" y="193351"/>
                    </a:lnTo>
                    <a:lnTo>
                      <a:pt x="13002" y="173668"/>
                    </a:lnTo>
                    <a:cubicBezTo>
                      <a:pt x="50624" y="131191"/>
                      <a:pt x="141842" y="93225"/>
                      <a:pt x="269618" y="63705"/>
                    </a:cubicBezTo>
                    <a:lnTo>
                      <a:pt x="384501" y="41806"/>
                    </a:lnTo>
                    <a:lnTo>
                      <a:pt x="408949" y="37146"/>
                    </a:lnTo>
                    <a:cubicBezTo>
                      <a:pt x="559205" y="13694"/>
                      <a:pt x="740340" y="0"/>
                      <a:pt x="935320" y="0"/>
                    </a:cubicBezTo>
                    <a:close/>
                  </a:path>
                </a:pathLst>
              </a:custGeom>
              <a:gradFill flip="none" rotWithShape="1">
                <a:gsLst>
                  <a:gs pos="0">
                    <a:srgbClr val="A2B969"/>
                  </a:gs>
                  <a:gs pos="78000">
                    <a:srgbClr val="A2B969">
                      <a:lumMod val="75000"/>
                    </a:srgbClr>
                  </a:gs>
                </a:gsLst>
                <a:path path="circle">
                  <a:fillToRect l="100000" t="100000"/>
                </a:path>
                <a:tileRect r="-100000" b="-100000"/>
              </a:gradFill>
              <a:ln w="12700" cap="flat" cmpd="sng" algn="ctr">
                <a:noFill/>
                <a:prstDash val="solid"/>
                <a:miter lim="800000"/>
              </a:ln>
              <a:effectLst/>
            </p:spPr>
            <p:txBody>
              <a:bodyPr rot="0" spcFirstLastPara="0" vert="horz" wrap="square" lIns="68580" tIns="34291" rIns="68580" bIns="3429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ysClr val="window" lastClr="FFFFFF"/>
                  </a:solidFill>
                  <a:effectLst/>
                  <a:uLnTx/>
                  <a:uFillTx/>
                  <a:latin typeface="Helvetica"/>
                  <a:ea typeface="+mn-ea"/>
                  <a:cs typeface="+mn-cs"/>
                </a:endParaRPr>
              </a:p>
            </p:txBody>
          </p:sp>
          <p:sp>
            <p:nvSpPr>
              <p:cNvPr id="43" name="Freeform: Shape 180">
                <a:extLst>
                  <a:ext uri="{FF2B5EF4-FFF2-40B4-BE49-F238E27FC236}">
                    <a16:creationId xmlns:a16="http://schemas.microsoft.com/office/drawing/2014/main" id="{9DFE59F5-981B-494C-A43E-7E20D3D2E264}"/>
                  </a:ext>
                </a:extLst>
              </p:cNvPr>
              <p:cNvSpPr/>
              <p:nvPr/>
            </p:nvSpPr>
            <p:spPr>
              <a:xfrm>
                <a:off x="5186837" y="3812848"/>
                <a:ext cx="1806488" cy="1031410"/>
              </a:xfrm>
              <a:custGeom>
                <a:avLst/>
                <a:gdLst>
                  <a:gd name="connsiteX0" fmla="*/ 903243 w 1806488"/>
                  <a:gd name="connsiteY0" fmla="*/ 596404 h 1031410"/>
                  <a:gd name="connsiteX1" fmla="*/ 1492483 w 1806488"/>
                  <a:gd name="connsiteY1" fmla="*/ 770072 h 1031410"/>
                  <a:gd name="connsiteX2" fmla="*/ 1502618 w 1806488"/>
                  <a:gd name="connsiteY2" fmla="*/ 806430 h 1031410"/>
                  <a:gd name="connsiteX3" fmla="*/ 1476085 w 1806488"/>
                  <a:gd name="connsiteY3" fmla="*/ 876844 h 1031410"/>
                  <a:gd name="connsiteX4" fmla="*/ 1457436 w 1806488"/>
                  <a:gd name="connsiteY4" fmla="*/ 898569 h 1031410"/>
                  <a:gd name="connsiteX5" fmla="*/ 1239525 w 1806488"/>
                  <a:gd name="connsiteY5" fmla="*/ 994264 h 1031410"/>
                  <a:gd name="connsiteX6" fmla="*/ 1182208 w 1806488"/>
                  <a:gd name="connsiteY6" fmla="*/ 1005515 h 1031410"/>
                  <a:gd name="connsiteX7" fmla="*/ 1182208 w 1806488"/>
                  <a:gd name="connsiteY7" fmla="*/ 1005515 h 1031410"/>
                  <a:gd name="connsiteX8" fmla="*/ 1137359 w 1806488"/>
                  <a:gd name="connsiteY8" fmla="*/ 1014318 h 1031410"/>
                  <a:gd name="connsiteX9" fmla="*/ 903244 w 1806488"/>
                  <a:gd name="connsiteY9" fmla="*/ 1031410 h 1031410"/>
                  <a:gd name="connsiteX10" fmla="*/ 669129 w 1806488"/>
                  <a:gd name="connsiteY10" fmla="*/ 1014318 h 1031410"/>
                  <a:gd name="connsiteX11" fmla="*/ 624281 w 1806488"/>
                  <a:gd name="connsiteY11" fmla="*/ 1005515 h 1031410"/>
                  <a:gd name="connsiteX12" fmla="*/ 645916 w 1806488"/>
                  <a:gd name="connsiteY12" fmla="*/ 997079 h 1031410"/>
                  <a:gd name="connsiteX13" fmla="*/ 766381 w 1806488"/>
                  <a:gd name="connsiteY13" fmla="*/ 969712 h 1031410"/>
                  <a:gd name="connsiteX14" fmla="*/ 903244 w 1806488"/>
                  <a:gd name="connsiteY14" fmla="*/ 959933 h 1031410"/>
                  <a:gd name="connsiteX15" fmla="*/ 903243 w 1806488"/>
                  <a:gd name="connsiteY15" fmla="*/ 959933 h 1031410"/>
                  <a:gd name="connsiteX16" fmla="*/ 645915 w 1806488"/>
                  <a:gd name="connsiteY16" fmla="*/ 997079 h 1031410"/>
                  <a:gd name="connsiteX17" fmla="*/ 624280 w 1806488"/>
                  <a:gd name="connsiteY17" fmla="*/ 1005515 h 1031410"/>
                  <a:gd name="connsiteX18" fmla="*/ 566961 w 1806488"/>
                  <a:gd name="connsiteY18" fmla="*/ 994264 h 1031410"/>
                  <a:gd name="connsiteX19" fmla="*/ 349050 w 1806488"/>
                  <a:gd name="connsiteY19" fmla="*/ 898569 h 1031410"/>
                  <a:gd name="connsiteX20" fmla="*/ 330404 w 1806488"/>
                  <a:gd name="connsiteY20" fmla="*/ 876848 h 1031410"/>
                  <a:gd name="connsiteX21" fmla="*/ 303869 w 1806488"/>
                  <a:gd name="connsiteY21" fmla="*/ 806427 h 1031410"/>
                  <a:gd name="connsiteX22" fmla="*/ 314003 w 1806488"/>
                  <a:gd name="connsiteY22" fmla="*/ 770072 h 1031410"/>
                  <a:gd name="connsiteX23" fmla="*/ 903243 w 1806488"/>
                  <a:gd name="connsiteY23" fmla="*/ 596404 h 1031410"/>
                  <a:gd name="connsiteX24" fmla="*/ 0 w 1806488"/>
                  <a:gd name="connsiteY24" fmla="*/ 0 h 1031410"/>
                  <a:gd name="connsiteX25" fmla="*/ 4124 w 1806488"/>
                  <a:gd name="connsiteY25" fmla="*/ 3706 h 1031410"/>
                  <a:gd name="connsiteX26" fmla="*/ 903244 w 1806488"/>
                  <a:gd name="connsiteY26" fmla="*/ 156530 h 1031410"/>
                  <a:gd name="connsiteX27" fmla="*/ 1802364 w 1806488"/>
                  <a:gd name="connsiteY27" fmla="*/ 3706 h 1031410"/>
                  <a:gd name="connsiteX28" fmla="*/ 1806488 w 1806488"/>
                  <a:gd name="connsiteY28" fmla="*/ 0 h 1031410"/>
                  <a:gd name="connsiteX29" fmla="*/ 1502618 w 1806488"/>
                  <a:gd name="connsiteY29" fmla="*/ 806429 h 1031410"/>
                  <a:gd name="connsiteX30" fmla="*/ 1492483 w 1806488"/>
                  <a:gd name="connsiteY30" fmla="*/ 770071 h 1031410"/>
                  <a:gd name="connsiteX31" fmla="*/ 903243 w 1806488"/>
                  <a:gd name="connsiteY31" fmla="*/ 596403 h 1031410"/>
                  <a:gd name="connsiteX32" fmla="*/ 314003 w 1806488"/>
                  <a:gd name="connsiteY32" fmla="*/ 770071 h 1031410"/>
                  <a:gd name="connsiteX33" fmla="*/ 303869 w 1806488"/>
                  <a:gd name="connsiteY33" fmla="*/ 806426 h 1031410"/>
                  <a:gd name="connsiteX0" fmla="*/ 903243 w 1806488"/>
                  <a:gd name="connsiteY0" fmla="*/ 596404 h 1031410"/>
                  <a:gd name="connsiteX1" fmla="*/ 1492483 w 1806488"/>
                  <a:gd name="connsiteY1" fmla="*/ 770072 h 1031410"/>
                  <a:gd name="connsiteX2" fmla="*/ 1502618 w 1806488"/>
                  <a:gd name="connsiteY2" fmla="*/ 806430 h 1031410"/>
                  <a:gd name="connsiteX3" fmla="*/ 1476085 w 1806488"/>
                  <a:gd name="connsiteY3" fmla="*/ 876844 h 1031410"/>
                  <a:gd name="connsiteX4" fmla="*/ 1457436 w 1806488"/>
                  <a:gd name="connsiteY4" fmla="*/ 898569 h 1031410"/>
                  <a:gd name="connsiteX5" fmla="*/ 1239525 w 1806488"/>
                  <a:gd name="connsiteY5" fmla="*/ 994264 h 1031410"/>
                  <a:gd name="connsiteX6" fmla="*/ 1182208 w 1806488"/>
                  <a:gd name="connsiteY6" fmla="*/ 1005515 h 1031410"/>
                  <a:gd name="connsiteX7" fmla="*/ 1182208 w 1806488"/>
                  <a:gd name="connsiteY7" fmla="*/ 1005515 h 1031410"/>
                  <a:gd name="connsiteX8" fmla="*/ 1137359 w 1806488"/>
                  <a:gd name="connsiteY8" fmla="*/ 1014318 h 1031410"/>
                  <a:gd name="connsiteX9" fmla="*/ 903244 w 1806488"/>
                  <a:gd name="connsiteY9" fmla="*/ 1031410 h 1031410"/>
                  <a:gd name="connsiteX10" fmla="*/ 669129 w 1806488"/>
                  <a:gd name="connsiteY10" fmla="*/ 1014318 h 1031410"/>
                  <a:gd name="connsiteX11" fmla="*/ 624281 w 1806488"/>
                  <a:gd name="connsiteY11" fmla="*/ 1005515 h 1031410"/>
                  <a:gd name="connsiteX12" fmla="*/ 645916 w 1806488"/>
                  <a:gd name="connsiteY12" fmla="*/ 997079 h 1031410"/>
                  <a:gd name="connsiteX13" fmla="*/ 766381 w 1806488"/>
                  <a:gd name="connsiteY13" fmla="*/ 969712 h 1031410"/>
                  <a:gd name="connsiteX14" fmla="*/ 903244 w 1806488"/>
                  <a:gd name="connsiteY14" fmla="*/ 959933 h 1031410"/>
                  <a:gd name="connsiteX15" fmla="*/ 645915 w 1806488"/>
                  <a:gd name="connsiteY15" fmla="*/ 997079 h 1031410"/>
                  <a:gd name="connsiteX16" fmla="*/ 624280 w 1806488"/>
                  <a:gd name="connsiteY16" fmla="*/ 1005515 h 1031410"/>
                  <a:gd name="connsiteX17" fmla="*/ 566961 w 1806488"/>
                  <a:gd name="connsiteY17" fmla="*/ 994264 h 1031410"/>
                  <a:gd name="connsiteX18" fmla="*/ 349050 w 1806488"/>
                  <a:gd name="connsiteY18" fmla="*/ 898569 h 1031410"/>
                  <a:gd name="connsiteX19" fmla="*/ 330404 w 1806488"/>
                  <a:gd name="connsiteY19" fmla="*/ 876848 h 1031410"/>
                  <a:gd name="connsiteX20" fmla="*/ 303869 w 1806488"/>
                  <a:gd name="connsiteY20" fmla="*/ 806427 h 1031410"/>
                  <a:gd name="connsiteX21" fmla="*/ 314003 w 1806488"/>
                  <a:gd name="connsiteY21" fmla="*/ 770072 h 1031410"/>
                  <a:gd name="connsiteX22" fmla="*/ 903243 w 1806488"/>
                  <a:gd name="connsiteY22" fmla="*/ 596404 h 1031410"/>
                  <a:gd name="connsiteX23" fmla="*/ 0 w 1806488"/>
                  <a:gd name="connsiteY23" fmla="*/ 0 h 1031410"/>
                  <a:gd name="connsiteX24" fmla="*/ 4124 w 1806488"/>
                  <a:gd name="connsiteY24" fmla="*/ 3706 h 1031410"/>
                  <a:gd name="connsiteX25" fmla="*/ 903244 w 1806488"/>
                  <a:gd name="connsiteY25" fmla="*/ 156530 h 1031410"/>
                  <a:gd name="connsiteX26" fmla="*/ 1802364 w 1806488"/>
                  <a:gd name="connsiteY26" fmla="*/ 3706 h 1031410"/>
                  <a:gd name="connsiteX27" fmla="*/ 1806488 w 1806488"/>
                  <a:gd name="connsiteY27" fmla="*/ 0 h 1031410"/>
                  <a:gd name="connsiteX28" fmla="*/ 1502618 w 1806488"/>
                  <a:gd name="connsiteY28" fmla="*/ 806429 h 1031410"/>
                  <a:gd name="connsiteX29" fmla="*/ 1492483 w 1806488"/>
                  <a:gd name="connsiteY29" fmla="*/ 770071 h 1031410"/>
                  <a:gd name="connsiteX30" fmla="*/ 903243 w 1806488"/>
                  <a:gd name="connsiteY30" fmla="*/ 596403 h 1031410"/>
                  <a:gd name="connsiteX31" fmla="*/ 314003 w 1806488"/>
                  <a:gd name="connsiteY31" fmla="*/ 770071 h 1031410"/>
                  <a:gd name="connsiteX32" fmla="*/ 303869 w 1806488"/>
                  <a:gd name="connsiteY32" fmla="*/ 806426 h 1031410"/>
                  <a:gd name="connsiteX33" fmla="*/ 0 w 1806488"/>
                  <a:gd name="connsiteY33" fmla="*/ 0 h 1031410"/>
                  <a:gd name="connsiteX0" fmla="*/ 903243 w 1806488"/>
                  <a:gd name="connsiteY0" fmla="*/ 596404 h 1031410"/>
                  <a:gd name="connsiteX1" fmla="*/ 1492483 w 1806488"/>
                  <a:gd name="connsiteY1" fmla="*/ 770072 h 1031410"/>
                  <a:gd name="connsiteX2" fmla="*/ 1502618 w 1806488"/>
                  <a:gd name="connsiteY2" fmla="*/ 806430 h 1031410"/>
                  <a:gd name="connsiteX3" fmla="*/ 1476085 w 1806488"/>
                  <a:gd name="connsiteY3" fmla="*/ 876844 h 1031410"/>
                  <a:gd name="connsiteX4" fmla="*/ 1457436 w 1806488"/>
                  <a:gd name="connsiteY4" fmla="*/ 898569 h 1031410"/>
                  <a:gd name="connsiteX5" fmla="*/ 1239525 w 1806488"/>
                  <a:gd name="connsiteY5" fmla="*/ 994264 h 1031410"/>
                  <a:gd name="connsiteX6" fmla="*/ 1182208 w 1806488"/>
                  <a:gd name="connsiteY6" fmla="*/ 1005515 h 1031410"/>
                  <a:gd name="connsiteX7" fmla="*/ 1182208 w 1806488"/>
                  <a:gd name="connsiteY7" fmla="*/ 1005515 h 1031410"/>
                  <a:gd name="connsiteX8" fmla="*/ 1137359 w 1806488"/>
                  <a:gd name="connsiteY8" fmla="*/ 1014318 h 1031410"/>
                  <a:gd name="connsiteX9" fmla="*/ 903244 w 1806488"/>
                  <a:gd name="connsiteY9" fmla="*/ 1031410 h 1031410"/>
                  <a:gd name="connsiteX10" fmla="*/ 669129 w 1806488"/>
                  <a:gd name="connsiteY10" fmla="*/ 1014318 h 1031410"/>
                  <a:gd name="connsiteX11" fmla="*/ 624281 w 1806488"/>
                  <a:gd name="connsiteY11" fmla="*/ 1005515 h 1031410"/>
                  <a:gd name="connsiteX12" fmla="*/ 645916 w 1806488"/>
                  <a:gd name="connsiteY12" fmla="*/ 997079 h 1031410"/>
                  <a:gd name="connsiteX13" fmla="*/ 766381 w 1806488"/>
                  <a:gd name="connsiteY13" fmla="*/ 969712 h 1031410"/>
                  <a:gd name="connsiteX14" fmla="*/ 645915 w 1806488"/>
                  <a:gd name="connsiteY14" fmla="*/ 997079 h 1031410"/>
                  <a:gd name="connsiteX15" fmla="*/ 624280 w 1806488"/>
                  <a:gd name="connsiteY15" fmla="*/ 1005515 h 1031410"/>
                  <a:gd name="connsiteX16" fmla="*/ 566961 w 1806488"/>
                  <a:gd name="connsiteY16" fmla="*/ 994264 h 1031410"/>
                  <a:gd name="connsiteX17" fmla="*/ 349050 w 1806488"/>
                  <a:gd name="connsiteY17" fmla="*/ 898569 h 1031410"/>
                  <a:gd name="connsiteX18" fmla="*/ 330404 w 1806488"/>
                  <a:gd name="connsiteY18" fmla="*/ 876848 h 1031410"/>
                  <a:gd name="connsiteX19" fmla="*/ 303869 w 1806488"/>
                  <a:gd name="connsiteY19" fmla="*/ 806427 h 1031410"/>
                  <a:gd name="connsiteX20" fmla="*/ 314003 w 1806488"/>
                  <a:gd name="connsiteY20" fmla="*/ 770072 h 1031410"/>
                  <a:gd name="connsiteX21" fmla="*/ 903243 w 1806488"/>
                  <a:gd name="connsiteY21" fmla="*/ 596404 h 1031410"/>
                  <a:gd name="connsiteX22" fmla="*/ 0 w 1806488"/>
                  <a:gd name="connsiteY22" fmla="*/ 0 h 1031410"/>
                  <a:gd name="connsiteX23" fmla="*/ 4124 w 1806488"/>
                  <a:gd name="connsiteY23" fmla="*/ 3706 h 1031410"/>
                  <a:gd name="connsiteX24" fmla="*/ 903244 w 1806488"/>
                  <a:gd name="connsiteY24" fmla="*/ 156530 h 1031410"/>
                  <a:gd name="connsiteX25" fmla="*/ 1802364 w 1806488"/>
                  <a:gd name="connsiteY25" fmla="*/ 3706 h 1031410"/>
                  <a:gd name="connsiteX26" fmla="*/ 1806488 w 1806488"/>
                  <a:gd name="connsiteY26" fmla="*/ 0 h 1031410"/>
                  <a:gd name="connsiteX27" fmla="*/ 1502618 w 1806488"/>
                  <a:gd name="connsiteY27" fmla="*/ 806429 h 1031410"/>
                  <a:gd name="connsiteX28" fmla="*/ 1492483 w 1806488"/>
                  <a:gd name="connsiteY28" fmla="*/ 770071 h 1031410"/>
                  <a:gd name="connsiteX29" fmla="*/ 903243 w 1806488"/>
                  <a:gd name="connsiteY29" fmla="*/ 596403 h 1031410"/>
                  <a:gd name="connsiteX30" fmla="*/ 314003 w 1806488"/>
                  <a:gd name="connsiteY30" fmla="*/ 770071 h 1031410"/>
                  <a:gd name="connsiteX31" fmla="*/ 303869 w 1806488"/>
                  <a:gd name="connsiteY31" fmla="*/ 806426 h 1031410"/>
                  <a:gd name="connsiteX32" fmla="*/ 0 w 1806488"/>
                  <a:gd name="connsiteY32" fmla="*/ 0 h 1031410"/>
                  <a:gd name="connsiteX0" fmla="*/ 903243 w 1806488"/>
                  <a:gd name="connsiteY0" fmla="*/ 596404 h 1031410"/>
                  <a:gd name="connsiteX1" fmla="*/ 1492483 w 1806488"/>
                  <a:gd name="connsiteY1" fmla="*/ 770072 h 1031410"/>
                  <a:gd name="connsiteX2" fmla="*/ 1502618 w 1806488"/>
                  <a:gd name="connsiteY2" fmla="*/ 806430 h 1031410"/>
                  <a:gd name="connsiteX3" fmla="*/ 1476085 w 1806488"/>
                  <a:gd name="connsiteY3" fmla="*/ 876844 h 1031410"/>
                  <a:gd name="connsiteX4" fmla="*/ 1457436 w 1806488"/>
                  <a:gd name="connsiteY4" fmla="*/ 898569 h 1031410"/>
                  <a:gd name="connsiteX5" fmla="*/ 1239525 w 1806488"/>
                  <a:gd name="connsiteY5" fmla="*/ 994264 h 1031410"/>
                  <a:gd name="connsiteX6" fmla="*/ 1182208 w 1806488"/>
                  <a:gd name="connsiteY6" fmla="*/ 1005515 h 1031410"/>
                  <a:gd name="connsiteX7" fmla="*/ 1182208 w 1806488"/>
                  <a:gd name="connsiteY7" fmla="*/ 1005515 h 1031410"/>
                  <a:gd name="connsiteX8" fmla="*/ 1137359 w 1806488"/>
                  <a:gd name="connsiteY8" fmla="*/ 1014318 h 1031410"/>
                  <a:gd name="connsiteX9" fmla="*/ 903244 w 1806488"/>
                  <a:gd name="connsiteY9" fmla="*/ 1031410 h 1031410"/>
                  <a:gd name="connsiteX10" fmla="*/ 669129 w 1806488"/>
                  <a:gd name="connsiteY10" fmla="*/ 1014318 h 1031410"/>
                  <a:gd name="connsiteX11" fmla="*/ 624281 w 1806488"/>
                  <a:gd name="connsiteY11" fmla="*/ 1005515 h 1031410"/>
                  <a:gd name="connsiteX12" fmla="*/ 645916 w 1806488"/>
                  <a:gd name="connsiteY12" fmla="*/ 997079 h 1031410"/>
                  <a:gd name="connsiteX13" fmla="*/ 645915 w 1806488"/>
                  <a:gd name="connsiteY13" fmla="*/ 997079 h 1031410"/>
                  <a:gd name="connsiteX14" fmla="*/ 624280 w 1806488"/>
                  <a:gd name="connsiteY14" fmla="*/ 1005515 h 1031410"/>
                  <a:gd name="connsiteX15" fmla="*/ 566961 w 1806488"/>
                  <a:gd name="connsiteY15" fmla="*/ 994264 h 1031410"/>
                  <a:gd name="connsiteX16" fmla="*/ 349050 w 1806488"/>
                  <a:gd name="connsiteY16" fmla="*/ 898569 h 1031410"/>
                  <a:gd name="connsiteX17" fmla="*/ 330404 w 1806488"/>
                  <a:gd name="connsiteY17" fmla="*/ 876848 h 1031410"/>
                  <a:gd name="connsiteX18" fmla="*/ 303869 w 1806488"/>
                  <a:gd name="connsiteY18" fmla="*/ 806427 h 1031410"/>
                  <a:gd name="connsiteX19" fmla="*/ 314003 w 1806488"/>
                  <a:gd name="connsiteY19" fmla="*/ 770072 h 1031410"/>
                  <a:gd name="connsiteX20" fmla="*/ 903243 w 1806488"/>
                  <a:gd name="connsiteY20" fmla="*/ 596404 h 1031410"/>
                  <a:gd name="connsiteX21" fmla="*/ 0 w 1806488"/>
                  <a:gd name="connsiteY21" fmla="*/ 0 h 1031410"/>
                  <a:gd name="connsiteX22" fmla="*/ 4124 w 1806488"/>
                  <a:gd name="connsiteY22" fmla="*/ 3706 h 1031410"/>
                  <a:gd name="connsiteX23" fmla="*/ 903244 w 1806488"/>
                  <a:gd name="connsiteY23" fmla="*/ 156530 h 1031410"/>
                  <a:gd name="connsiteX24" fmla="*/ 1802364 w 1806488"/>
                  <a:gd name="connsiteY24" fmla="*/ 3706 h 1031410"/>
                  <a:gd name="connsiteX25" fmla="*/ 1806488 w 1806488"/>
                  <a:gd name="connsiteY25" fmla="*/ 0 h 1031410"/>
                  <a:gd name="connsiteX26" fmla="*/ 1502618 w 1806488"/>
                  <a:gd name="connsiteY26" fmla="*/ 806429 h 1031410"/>
                  <a:gd name="connsiteX27" fmla="*/ 1492483 w 1806488"/>
                  <a:gd name="connsiteY27" fmla="*/ 770071 h 1031410"/>
                  <a:gd name="connsiteX28" fmla="*/ 903243 w 1806488"/>
                  <a:gd name="connsiteY28" fmla="*/ 596403 h 1031410"/>
                  <a:gd name="connsiteX29" fmla="*/ 314003 w 1806488"/>
                  <a:gd name="connsiteY29" fmla="*/ 770071 h 1031410"/>
                  <a:gd name="connsiteX30" fmla="*/ 303869 w 1806488"/>
                  <a:gd name="connsiteY30" fmla="*/ 806426 h 1031410"/>
                  <a:gd name="connsiteX31" fmla="*/ 0 w 1806488"/>
                  <a:gd name="connsiteY31" fmla="*/ 0 h 103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806488" h="1031410">
                    <a:moveTo>
                      <a:pt x="903243" y="596404"/>
                    </a:moveTo>
                    <a:cubicBezTo>
                      <a:pt x="1193898" y="596404"/>
                      <a:pt x="1436399" y="670960"/>
                      <a:pt x="1492483" y="770072"/>
                    </a:cubicBezTo>
                    <a:lnTo>
                      <a:pt x="1502618" y="806430"/>
                    </a:lnTo>
                    <a:lnTo>
                      <a:pt x="1476085" y="876844"/>
                    </a:lnTo>
                    <a:lnTo>
                      <a:pt x="1457436" y="898569"/>
                    </a:lnTo>
                    <a:cubicBezTo>
                      <a:pt x="1411783" y="937601"/>
                      <a:pt x="1335518" y="970812"/>
                      <a:pt x="1239525" y="994264"/>
                    </a:cubicBezTo>
                    <a:lnTo>
                      <a:pt x="1182208" y="1005515"/>
                    </a:lnTo>
                    <a:lnTo>
                      <a:pt x="1182208" y="1005515"/>
                    </a:lnTo>
                    <a:lnTo>
                      <a:pt x="1137359" y="1014318"/>
                    </a:lnTo>
                    <a:cubicBezTo>
                      <a:pt x="1065402" y="1025324"/>
                      <a:pt x="986288" y="1031410"/>
                      <a:pt x="903244" y="1031410"/>
                    </a:cubicBezTo>
                    <a:cubicBezTo>
                      <a:pt x="820200" y="1031410"/>
                      <a:pt x="741087" y="1025324"/>
                      <a:pt x="669129" y="1014318"/>
                    </a:cubicBezTo>
                    <a:lnTo>
                      <a:pt x="624281" y="1005515"/>
                    </a:lnTo>
                    <a:lnTo>
                      <a:pt x="645916" y="997079"/>
                    </a:lnTo>
                    <a:cubicBezTo>
                      <a:pt x="649522" y="995673"/>
                      <a:pt x="649521" y="995673"/>
                      <a:pt x="645915" y="997079"/>
                    </a:cubicBezTo>
                    <a:lnTo>
                      <a:pt x="624280" y="1005515"/>
                    </a:lnTo>
                    <a:lnTo>
                      <a:pt x="566961" y="994264"/>
                    </a:lnTo>
                    <a:cubicBezTo>
                      <a:pt x="470968" y="970812"/>
                      <a:pt x="394703" y="937601"/>
                      <a:pt x="349050" y="898569"/>
                    </a:cubicBezTo>
                    <a:lnTo>
                      <a:pt x="330404" y="876848"/>
                    </a:lnTo>
                    <a:lnTo>
                      <a:pt x="303869" y="806427"/>
                    </a:lnTo>
                    <a:lnTo>
                      <a:pt x="314003" y="770072"/>
                    </a:lnTo>
                    <a:cubicBezTo>
                      <a:pt x="370087" y="670960"/>
                      <a:pt x="612588" y="596404"/>
                      <a:pt x="903243" y="596404"/>
                    </a:cubicBezTo>
                    <a:close/>
                    <a:moveTo>
                      <a:pt x="0" y="0"/>
                    </a:moveTo>
                    <a:lnTo>
                      <a:pt x="4124" y="3706"/>
                    </a:lnTo>
                    <a:cubicBezTo>
                      <a:pt x="123322" y="92245"/>
                      <a:pt x="480788" y="156530"/>
                      <a:pt x="903244" y="156530"/>
                    </a:cubicBezTo>
                    <a:cubicBezTo>
                      <a:pt x="1325700" y="156530"/>
                      <a:pt x="1683166" y="92245"/>
                      <a:pt x="1802364" y="3706"/>
                    </a:cubicBezTo>
                    <a:lnTo>
                      <a:pt x="1806488" y="0"/>
                    </a:lnTo>
                    <a:lnTo>
                      <a:pt x="1502618" y="806429"/>
                    </a:lnTo>
                    <a:lnTo>
                      <a:pt x="1492483" y="770071"/>
                    </a:lnTo>
                    <a:cubicBezTo>
                      <a:pt x="1436399" y="670959"/>
                      <a:pt x="1193898" y="596403"/>
                      <a:pt x="903243" y="596403"/>
                    </a:cubicBezTo>
                    <a:cubicBezTo>
                      <a:pt x="612588" y="596403"/>
                      <a:pt x="370087" y="670959"/>
                      <a:pt x="314003" y="770071"/>
                    </a:cubicBezTo>
                    <a:lnTo>
                      <a:pt x="303869" y="806426"/>
                    </a:lnTo>
                    <a:lnTo>
                      <a:pt x="0" y="0"/>
                    </a:lnTo>
                    <a:close/>
                  </a:path>
                </a:pathLst>
              </a:custGeom>
              <a:gradFill flip="none" rotWithShape="1">
                <a:gsLst>
                  <a:gs pos="46000">
                    <a:srgbClr val="A2B969"/>
                  </a:gs>
                  <a:gs pos="78000">
                    <a:srgbClr val="A2B969">
                      <a:lumMod val="75000"/>
                    </a:srgbClr>
                  </a:gs>
                </a:gsLst>
                <a:path path="circle">
                  <a:fillToRect r="100000" b="100000"/>
                </a:path>
                <a:tileRect l="-100000" t="-100000"/>
              </a:gradFill>
              <a:ln w="12700" cap="flat" cmpd="sng" algn="ctr">
                <a:noFill/>
                <a:prstDash val="solid"/>
                <a:miter lim="800000"/>
              </a:ln>
              <a:effectLst/>
            </p:spPr>
            <p:txBody>
              <a:bodyPr rot="0" spcFirstLastPara="0" vert="horz" wrap="square" lIns="68580" tIns="34291" rIns="68580" bIns="34291"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ysClr val="window" lastClr="FFFFFF"/>
                  </a:solidFill>
                  <a:effectLst/>
                  <a:uLnTx/>
                  <a:uFillTx/>
                  <a:latin typeface="Helvetica"/>
                  <a:ea typeface="+mn-ea"/>
                  <a:cs typeface="+mn-cs"/>
                </a:endParaRPr>
              </a:p>
            </p:txBody>
          </p:sp>
        </p:grpSp>
        <p:sp>
          <p:nvSpPr>
            <p:cNvPr id="18" name="Freeform: Shape 181">
              <a:extLst>
                <a:ext uri="{FF2B5EF4-FFF2-40B4-BE49-F238E27FC236}">
                  <a16:creationId xmlns:a16="http://schemas.microsoft.com/office/drawing/2014/main" id="{793128A7-447D-4ABE-B5B9-4C0B4FF2F92A}"/>
                </a:ext>
              </a:extLst>
            </p:cNvPr>
            <p:cNvSpPr/>
            <p:nvPr/>
          </p:nvSpPr>
          <p:spPr>
            <a:xfrm rot="10800000">
              <a:off x="3794857" y="3782571"/>
              <a:ext cx="3163721" cy="1166435"/>
            </a:xfrm>
            <a:custGeom>
              <a:avLst/>
              <a:gdLst>
                <a:gd name="connsiteX0" fmla="*/ 1397448 w 2794895"/>
                <a:gd name="connsiteY0" fmla="*/ 1234526 h 1308512"/>
                <a:gd name="connsiteX1" fmla="*/ 1923819 w 2794895"/>
                <a:gd name="connsiteY1" fmla="*/ 1271672 h 1308512"/>
                <a:gd name="connsiteX2" fmla="*/ 1948267 w 2794895"/>
                <a:gd name="connsiteY2" fmla="*/ 1276332 h 1308512"/>
                <a:gd name="connsiteX3" fmla="*/ 1812119 w 2794895"/>
                <a:gd name="connsiteY3" fmla="*/ 1291420 h 1308512"/>
                <a:gd name="connsiteX4" fmla="*/ 1397448 w 2794895"/>
                <a:gd name="connsiteY4" fmla="*/ 1308512 h 1308512"/>
                <a:gd name="connsiteX5" fmla="*/ 982777 w 2794895"/>
                <a:gd name="connsiteY5" fmla="*/ 1291420 h 1308512"/>
                <a:gd name="connsiteX6" fmla="*/ 846630 w 2794895"/>
                <a:gd name="connsiteY6" fmla="*/ 1276332 h 1308512"/>
                <a:gd name="connsiteX7" fmla="*/ 871077 w 2794895"/>
                <a:gd name="connsiteY7" fmla="*/ 1271672 h 1308512"/>
                <a:gd name="connsiteX8" fmla="*/ 1397448 w 2794895"/>
                <a:gd name="connsiteY8" fmla="*/ 1234526 h 1308512"/>
                <a:gd name="connsiteX9" fmla="*/ 674350 w 2794895"/>
                <a:gd name="connsiteY9" fmla="*/ 31386 h 1308512"/>
                <a:gd name="connsiteX10" fmla="*/ 765075 w 2794895"/>
                <a:gd name="connsiteY10" fmla="*/ 42444 h 1308512"/>
                <a:gd name="connsiteX11" fmla="*/ 1397448 w 2794895"/>
                <a:gd name="connsiteY11" fmla="*/ 74747 h 1308512"/>
                <a:gd name="connsiteX12" fmla="*/ 2029821 w 2794895"/>
                <a:gd name="connsiteY12" fmla="*/ 42444 h 1308512"/>
                <a:gd name="connsiteX13" fmla="*/ 2120546 w 2794895"/>
                <a:gd name="connsiteY13" fmla="*/ 31386 h 1308512"/>
                <a:gd name="connsiteX14" fmla="*/ 2181694 w 2794895"/>
                <a:gd name="connsiteY14" fmla="*/ 37147 h 1308512"/>
                <a:gd name="connsiteX15" fmla="*/ 2792877 w 2794895"/>
                <a:gd name="connsiteY15" fmla="*/ 195266 h 1308512"/>
                <a:gd name="connsiteX16" fmla="*/ 2794895 w 2794895"/>
                <a:gd name="connsiteY16" fmla="*/ 201461 h 1308512"/>
                <a:gd name="connsiteX17" fmla="*/ 2772772 w 2794895"/>
                <a:gd name="connsiteY17" fmla="*/ 260171 h 1308512"/>
                <a:gd name="connsiteX18" fmla="*/ 2772771 w 2794895"/>
                <a:gd name="connsiteY18" fmla="*/ 260173 h 1308512"/>
                <a:gd name="connsiteX19" fmla="*/ 2461554 w 2794895"/>
                <a:gd name="connsiteY19" fmla="*/ 1086096 h 1308512"/>
                <a:gd name="connsiteX20" fmla="*/ 2445281 w 2794895"/>
                <a:gd name="connsiteY20" fmla="*/ 1129283 h 1308512"/>
                <a:gd name="connsiteX21" fmla="*/ 2441125 w 2794895"/>
                <a:gd name="connsiteY21" fmla="*/ 1134843 h 1308512"/>
                <a:gd name="connsiteX22" fmla="*/ 1993079 w 2794895"/>
                <a:gd name="connsiteY22" fmla="*/ 1271365 h 1308512"/>
                <a:gd name="connsiteX23" fmla="*/ 1948267 w 2794895"/>
                <a:gd name="connsiteY23" fmla="*/ 1276331 h 1308512"/>
                <a:gd name="connsiteX24" fmla="*/ 1923819 w 2794895"/>
                <a:gd name="connsiteY24" fmla="*/ 1271671 h 1308512"/>
                <a:gd name="connsiteX25" fmla="*/ 1397448 w 2794895"/>
                <a:gd name="connsiteY25" fmla="*/ 1234525 h 1308512"/>
                <a:gd name="connsiteX26" fmla="*/ 871077 w 2794895"/>
                <a:gd name="connsiteY26" fmla="*/ 1271671 h 1308512"/>
                <a:gd name="connsiteX27" fmla="*/ 846629 w 2794895"/>
                <a:gd name="connsiteY27" fmla="*/ 1276331 h 1308512"/>
                <a:gd name="connsiteX28" fmla="*/ 801817 w 2794895"/>
                <a:gd name="connsiteY28" fmla="*/ 1271365 h 1308512"/>
                <a:gd name="connsiteX29" fmla="*/ 353771 w 2794895"/>
                <a:gd name="connsiteY29" fmla="*/ 1134843 h 1308512"/>
                <a:gd name="connsiteX30" fmla="*/ 349615 w 2794895"/>
                <a:gd name="connsiteY30" fmla="*/ 1129283 h 1308512"/>
                <a:gd name="connsiteX31" fmla="*/ 333342 w 2794895"/>
                <a:gd name="connsiteY31" fmla="*/ 1086096 h 1308512"/>
                <a:gd name="connsiteX32" fmla="*/ 22127 w 2794895"/>
                <a:gd name="connsiteY32" fmla="*/ 260176 h 1308512"/>
                <a:gd name="connsiteX33" fmla="*/ 22125 w 2794895"/>
                <a:gd name="connsiteY33" fmla="*/ 260174 h 1308512"/>
                <a:gd name="connsiteX34" fmla="*/ 0 w 2794895"/>
                <a:gd name="connsiteY34" fmla="*/ 201458 h 1308512"/>
                <a:gd name="connsiteX35" fmla="*/ 2017 w 2794895"/>
                <a:gd name="connsiteY35" fmla="*/ 195266 h 1308512"/>
                <a:gd name="connsiteX36" fmla="*/ 613200 w 2794895"/>
                <a:gd name="connsiteY36" fmla="*/ 37147 h 1308512"/>
                <a:gd name="connsiteX37" fmla="*/ 1397447 w 2794895"/>
                <a:gd name="connsiteY37" fmla="*/ 0 h 1308512"/>
                <a:gd name="connsiteX38" fmla="*/ 2066044 w 2794895"/>
                <a:gd name="connsiteY38" fmla="*/ 26251 h 1308512"/>
                <a:gd name="connsiteX39" fmla="*/ 2120546 w 2794895"/>
                <a:gd name="connsiteY39" fmla="*/ 31385 h 1308512"/>
                <a:gd name="connsiteX40" fmla="*/ 2029821 w 2794895"/>
                <a:gd name="connsiteY40" fmla="*/ 42443 h 1308512"/>
                <a:gd name="connsiteX41" fmla="*/ 1397448 w 2794895"/>
                <a:gd name="connsiteY41" fmla="*/ 74746 h 1308512"/>
                <a:gd name="connsiteX42" fmla="*/ 765075 w 2794895"/>
                <a:gd name="connsiteY42" fmla="*/ 42443 h 1308512"/>
                <a:gd name="connsiteX43" fmla="*/ 674350 w 2794895"/>
                <a:gd name="connsiteY43" fmla="*/ 31385 h 1308512"/>
                <a:gd name="connsiteX44" fmla="*/ 728850 w 2794895"/>
                <a:gd name="connsiteY44" fmla="*/ 26251 h 1308512"/>
                <a:gd name="connsiteX45" fmla="*/ 1397447 w 2794895"/>
                <a:gd name="connsiteY45" fmla="*/ 0 h 13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794895" h="1308512">
                  <a:moveTo>
                    <a:pt x="1397448" y="1234526"/>
                  </a:moveTo>
                  <a:cubicBezTo>
                    <a:pt x="1592428" y="1234526"/>
                    <a:pt x="1773564" y="1248220"/>
                    <a:pt x="1923819" y="1271672"/>
                  </a:cubicBezTo>
                  <a:lnTo>
                    <a:pt x="1948267" y="1276332"/>
                  </a:lnTo>
                  <a:lnTo>
                    <a:pt x="1812119" y="1291420"/>
                  </a:lnTo>
                  <a:cubicBezTo>
                    <a:pt x="1684666" y="1302426"/>
                    <a:pt x="1544539" y="1308512"/>
                    <a:pt x="1397448" y="1308512"/>
                  </a:cubicBezTo>
                  <a:cubicBezTo>
                    <a:pt x="1250358" y="1308512"/>
                    <a:pt x="1110230" y="1302426"/>
                    <a:pt x="982777" y="1291420"/>
                  </a:cubicBezTo>
                  <a:lnTo>
                    <a:pt x="846630" y="1276332"/>
                  </a:lnTo>
                  <a:lnTo>
                    <a:pt x="871077" y="1271672"/>
                  </a:lnTo>
                  <a:cubicBezTo>
                    <a:pt x="1021333" y="1248220"/>
                    <a:pt x="1202469" y="1234526"/>
                    <a:pt x="1397448" y="1234526"/>
                  </a:cubicBezTo>
                  <a:close/>
                  <a:moveTo>
                    <a:pt x="674350" y="31386"/>
                  </a:moveTo>
                  <a:lnTo>
                    <a:pt x="765075" y="42444"/>
                  </a:lnTo>
                  <a:cubicBezTo>
                    <a:pt x="959441" y="63245"/>
                    <a:pt x="1173136" y="74747"/>
                    <a:pt x="1397448" y="74747"/>
                  </a:cubicBezTo>
                  <a:cubicBezTo>
                    <a:pt x="1621761" y="74747"/>
                    <a:pt x="1835455" y="63245"/>
                    <a:pt x="2029821" y="42444"/>
                  </a:cubicBezTo>
                  <a:lnTo>
                    <a:pt x="2120546" y="31386"/>
                  </a:lnTo>
                  <a:lnTo>
                    <a:pt x="2181694" y="37147"/>
                  </a:lnTo>
                  <a:cubicBezTo>
                    <a:pt x="2517496" y="72325"/>
                    <a:pt x="2749779" y="129459"/>
                    <a:pt x="2792877" y="195266"/>
                  </a:cubicBezTo>
                  <a:lnTo>
                    <a:pt x="2794895" y="201461"/>
                  </a:lnTo>
                  <a:lnTo>
                    <a:pt x="2772772" y="260171"/>
                  </a:lnTo>
                  <a:lnTo>
                    <a:pt x="2772771" y="260173"/>
                  </a:lnTo>
                  <a:lnTo>
                    <a:pt x="2461554" y="1086096"/>
                  </a:lnTo>
                  <a:lnTo>
                    <a:pt x="2445281" y="1129283"/>
                  </a:lnTo>
                  <a:lnTo>
                    <a:pt x="2441125" y="1134843"/>
                  </a:lnTo>
                  <a:cubicBezTo>
                    <a:pt x="2384362" y="1191478"/>
                    <a:pt x="2219781" y="1240095"/>
                    <a:pt x="1993079" y="1271365"/>
                  </a:cubicBezTo>
                  <a:lnTo>
                    <a:pt x="1948267" y="1276331"/>
                  </a:lnTo>
                  <a:lnTo>
                    <a:pt x="1923819" y="1271671"/>
                  </a:lnTo>
                  <a:cubicBezTo>
                    <a:pt x="1773564" y="1248219"/>
                    <a:pt x="1592428" y="1234525"/>
                    <a:pt x="1397448" y="1234525"/>
                  </a:cubicBezTo>
                  <a:cubicBezTo>
                    <a:pt x="1202468" y="1234525"/>
                    <a:pt x="1021333" y="1248219"/>
                    <a:pt x="871077" y="1271671"/>
                  </a:cubicBezTo>
                  <a:lnTo>
                    <a:pt x="846629" y="1276331"/>
                  </a:lnTo>
                  <a:lnTo>
                    <a:pt x="801817" y="1271365"/>
                  </a:lnTo>
                  <a:cubicBezTo>
                    <a:pt x="575115" y="1240095"/>
                    <a:pt x="410534" y="1191478"/>
                    <a:pt x="353771" y="1134843"/>
                  </a:cubicBezTo>
                  <a:lnTo>
                    <a:pt x="349615" y="1129283"/>
                  </a:lnTo>
                  <a:lnTo>
                    <a:pt x="333342" y="1086096"/>
                  </a:lnTo>
                  <a:lnTo>
                    <a:pt x="22127" y="260176"/>
                  </a:lnTo>
                  <a:lnTo>
                    <a:pt x="22125" y="260174"/>
                  </a:lnTo>
                  <a:lnTo>
                    <a:pt x="0" y="201458"/>
                  </a:lnTo>
                  <a:lnTo>
                    <a:pt x="2017" y="195266"/>
                  </a:lnTo>
                  <a:cubicBezTo>
                    <a:pt x="45115" y="129459"/>
                    <a:pt x="277398" y="72325"/>
                    <a:pt x="613200" y="37147"/>
                  </a:cubicBezTo>
                  <a:close/>
                  <a:moveTo>
                    <a:pt x="1397447" y="0"/>
                  </a:moveTo>
                  <a:cubicBezTo>
                    <a:pt x="1639533" y="0"/>
                    <a:pt x="1867295" y="9510"/>
                    <a:pt x="2066044" y="26251"/>
                  </a:cubicBezTo>
                  <a:lnTo>
                    <a:pt x="2120546" y="31385"/>
                  </a:lnTo>
                  <a:lnTo>
                    <a:pt x="2029821" y="42443"/>
                  </a:lnTo>
                  <a:cubicBezTo>
                    <a:pt x="1835455" y="63244"/>
                    <a:pt x="1621761" y="74746"/>
                    <a:pt x="1397448" y="74746"/>
                  </a:cubicBezTo>
                  <a:cubicBezTo>
                    <a:pt x="1173136" y="74746"/>
                    <a:pt x="959441" y="63244"/>
                    <a:pt x="765075" y="42443"/>
                  </a:cubicBezTo>
                  <a:lnTo>
                    <a:pt x="674350" y="31385"/>
                  </a:lnTo>
                  <a:lnTo>
                    <a:pt x="728850" y="26251"/>
                  </a:lnTo>
                  <a:cubicBezTo>
                    <a:pt x="927599" y="9510"/>
                    <a:pt x="1155362" y="0"/>
                    <a:pt x="1397447" y="0"/>
                  </a:cubicBezTo>
                  <a:close/>
                </a:path>
              </a:pathLst>
            </a:custGeom>
            <a:gradFill flip="none" rotWithShape="1">
              <a:gsLst>
                <a:gs pos="0">
                  <a:srgbClr val="F7931F"/>
                </a:gs>
                <a:gs pos="78000">
                  <a:srgbClr val="F7931F">
                    <a:lumMod val="50000"/>
                  </a:srgbClr>
                </a:gs>
              </a:gsLst>
              <a:path path="circle">
                <a:fillToRect l="100000" t="100000"/>
              </a:path>
              <a:tileRect r="-100000" b="-100000"/>
            </a:gradFill>
            <a:ln w="12700" cap="flat" cmpd="sng" algn="ctr">
              <a:noFill/>
              <a:prstDash val="solid"/>
              <a:miter lim="800000"/>
            </a:ln>
            <a:effectLst/>
          </p:spPr>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ysClr val="window" lastClr="FFFFFF"/>
                </a:solidFill>
                <a:effectLst/>
                <a:uLnTx/>
                <a:uFillTx/>
                <a:latin typeface="Helvetica"/>
                <a:ea typeface="+mn-ea"/>
                <a:cs typeface="+mn-cs"/>
              </a:endParaRPr>
            </a:p>
          </p:txBody>
        </p:sp>
        <p:grpSp>
          <p:nvGrpSpPr>
            <p:cNvPr id="19" name="Group 182">
              <a:extLst>
                <a:ext uri="{FF2B5EF4-FFF2-40B4-BE49-F238E27FC236}">
                  <a16:creationId xmlns:a16="http://schemas.microsoft.com/office/drawing/2014/main" id="{7ACCCB25-2B86-4CE5-B5BC-F510C84027AE}"/>
                </a:ext>
              </a:extLst>
            </p:cNvPr>
            <p:cNvGrpSpPr/>
            <p:nvPr/>
          </p:nvGrpSpPr>
          <p:grpSpPr>
            <a:xfrm rot="10800000">
              <a:off x="3769846" y="3754106"/>
              <a:ext cx="3214613" cy="1199134"/>
              <a:chOff x="4692634" y="2299847"/>
              <a:chExt cx="2794895" cy="1308512"/>
            </a:xfrm>
          </p:grpSpPr>
          <p:sp>
            <p:nvSpPr>
              <p:cNvPr id="40" name="Freeform: Shape 183">
                <a:extLst>
                  <a:ext uri="{FF2B5EF4-FFF2-40B4-BE49-F238E27FC236}">
                    <a16:creationId xmlns:a16="http://schemas.microsoft.com/office/drawing/2014/main" id="{F301B919-5534-44C4-88C3-FCC3FB2408DB}"/>
                  </a:ext>
                </a:extLst>
              </p:cNvPr>
              <p:cNvSpPr/>
              <p:nvPr/>
            </p:nvSpPr>
            <p:spPr>
              <a:xfrm>
                <a:off x="4692634" y="2299847"/>
                <a:ext cx="2794895" cy="435007"/>
              </a:xfrm>
              <a:custGeom>
                <a:avLst/>
                <a:gdLst>
                  <a:gd name="connsiteX0" fmla="*/ 674350 w 2794895"/>
                  <a:gd name="connsiteY0" fmla="*/ 31386 h 435007"/>
                  <a:gd name="connsiteX1" fmla="*/ 765075 w 2794895"/>
                  <a:gd name="connsiteY1" fmla="*/ 42444 h 435007"/>
                  <a:gd name="connsiteX2" fmla="*/ 1397448 w 2794895"/>
                  <a:gd name="connsiteY2" fmla="*/ 74747 h 435007"/>
                  <a:gd name="connsiteX3" fmla="*/ 2029821 w 2794895"/>
                  <a:gd name="connsiteY3" fmla="*/ 42444 h 435007"/>
                  <a:gd name="connsiteX4" fmla="*/ 2120546 w 2794895"/>
                  <a:gd name="connsiteY4" fmla="*/ 31386 h 435007"/>
                  <a:gd name="connsiteX5" fmla="*/ 2181694 w 2794895"/>
                  <a:gd name="connsiteY5" fmla="*/ 37147 h 435007"/>
                  <a:gd name="connsiteX6" fmla="*/ 2792877 w 2794895"/>
                  <a:gd name="connsiteY6" fmla="*/ 195266 h 435007"/>
                  <a:gd name="connsiteX7" fmla="*/ 2794895 w 2794895"/>
                  <a:gd name="connsiteY7" fmla="*/ 201461 h 435007"/>
                  <a:gd name="connsiteX8" fmla="*/ 2772772 w 2794895"/>
                  <a:gd name="connsiteY8" fmla="*/ 260171 h 435007"/>
                  <a:gd name="connsiteX9" fmla="*/ 2771622 w 2794895"/>
                  <a:gd name="connsiteY9" fmla="*/ 261339 h 435007"/>
                  <a:gd name="connsiteX10" fmla="*/ 1397447 w 2794895"/>
                  <a:gd name="connsiteY10" fmla="*/ 435007 h 435007"/>
                  <a:gd name="connsiteX11" fmla="*/ 23272 w 2794895"/>
                  <a:gd name="connsiteY11" fmla="*/ 261339 h 435007"/>
                  <a:gd name="connsiteX12" fmla="*/ 22125 w 2794895"/>
                  <a:gd name="connsiteY12" fmla="*/ 260174 h 435007"/>
                  <a:gd name="connsiteX13" fmla="*/ 0 w 2794895"/>
                  <a:gd name="connsiteY13" fmla="*/ 201458 h 435007"/>
                  <a:gd name="connsiteX14" fmla="*/ 2017 w 2794895"/>
                  <a:gd name="connsiteY14" fmla="*/ 195266 h 435007"/>
                  <a:gd name="connsiteX15" fmla="*/ 613200 w 2794895"/>
                  <a:gd name="connsiteY15" fmla="*/ 37147 h 435007"/>
                  <a:gd name="connsiteX16" fmla="*/ 1397447 w 2794895"/>
                  <a:gd name="connsiteY16" fmla="*/ 0 h 435007"/>
                  <a:gd name="connsiteX17" fmla="*/ 2066044 w 2794895"/>
                  <a:gd name="connsiteY17" fmla="*/ 26251 h 435007"/>
                  <a:gd name="connsiteX18" fmla="*/ 2120546 w 2794895"/>
                  <a:gd name="connsiteY18" fmla="*/ 31385 h 435007"/>
                  <a:gd name="connsiteX19" fmla="*/ 2029821 w 2794895"/>
                  <a:gd name="connsiteY19" fmla="*/ 42443 h 435007"/>
                  <a:gd name="connsiteX20" fmla="*/ 1397448 w 2794895"/>
                  <a:gd name="connsiteY20" fmla="*/ 74746 h 435007"/>
                  <a:gd name="connsiteX21" fmla="*/ 765075 w 2794895"/>
                  <a:gd name="connsiteY21" fmla="*/ 42443 h 435007"/>
                  <a:gd name="connsiteX22" fmla="*/ 674350 w 2794895"/>
                  <a:gd name="connsiteY22" fmla="*/ 31385 h 435007"/>
                  <a:gd name="connsiteX23" fmla="*/ 728850 w 2794895"/>
                  <a:gd name="connsiteY23" fmla="*/ 26251 h 435007"/>
                  <a:gd name="connsiteX24" fmla="*/ 1397447 w 2794895"/>
                  <a:gd name="connsiteY24" fmla="*/ 0 h 435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94895" h="435007">
                    <a:moveTo>
                      <a:pt x="674350" y="31386"/>
                    </a:moveTo>
                    <a:lnTo>
                      <a:pt x="765075" y="42444"/>
                    </a:lnTo>
                    <a:cubicBezTo>
                      <a:pt x="959441" y="63245"/>
                      <a:pt x="1173136" y="74747"/>
                      <a:pt x="1397448" y="74747"/>
                    </a:cubicBezTo>
                    <a:cubicBezTo>
                      <a:pt x="1621761" y="74747"/>
                      <a:pt x="1835455" y="63245"/>
                      <a:pt x="2029821" y="42444"/>
                    </a:cubicBezTo>
                    <a:lnTo>
                      <a:pt x="2120546" y="31386"/>
                    </a:lnTo>
                    <a:lnTo>
                      <a:pt x="2181694" y="37147"/>
                    </a:lnTo>
                    <a:cubicBezTo>
                      <a:pt x="2517496" y="72325"/>
                      <a:pt x="2749779" y="129459"/>
                      <a:pt x="2792877" y="195266"/>
                    </a:cubicBezTo>
                    <a:lnTo>
                      <a:pt x="2794895" y="201461"/>
                    </a:lnTo>
                    <a:lnTo>
                      <a:pt x="2772772" y="260171"/>
                    </a:lnTo>
                    <a:lnTo>
                      <a:pt x="2771622" y="261339"/>
                    </a:lnTo>
                    <a:cubicBezTo>
                      <a:pt x="2640828" y="360451"/>
                      <a:pt x="2075287" y="435007"/>
                      <a:pt x="1397447" y="435007"/>
                    </a:cubicBezTo>
                    <a:cubicBezTo>
                      <a:pt x="719607" y="435007"/>
                      <a:pt x="154066" y="360451"/>
                      <a:pt x="23272" y="261339"/>
                    </a:cubicBezTo>
                    <a:lnTo>
                      <a:pt x="22125" y="260174"/>
                    </a:lnTo>
                    <a:lnTo>
                      <a:pt x="0" y="201458"/>
                    </a:lnTo>
                    <a:lnTo>
                      <a:pt x="2017" y="195266"/>
                    </a:lnTo>
                    <a:cubicBezTo>
                      <a:pt x="45115" y="129459"/>
                      <a:pt x="277398" y="72325"/>
                      <a:pt x="613200" y="37147"/>
                    </a:cubicBezTo>
                    <a:close/>
                    <a:moveTo>
                      <a:pt x="1397447" y="0"/>
                    </a:moveTo>
                    <a:cubicBezTo>
                      <a:pt x="1639533" y="0"/>
                      <a:pt x="1867295" y="9510"/>
                      <a:pt x="2066044" y="26251"/>
                    </a:cubicBezTo>
                    <a:lnTo>
                      <a:pt x="2120546" y="31385"/>
                    </a:lnTo>
                    <a:lnTo>
                      <a:pt x="2029821" y="42443"/>
                    </a:lnTo>
                    <a:cubicBezTo>
                      <a:pt x="1835455" y="63244"/>
                      <a:pt x="1621761" y="74746"/>
                      <a:pt x="1397448" y="74746"/>
                    </a:cubicBezTo>
                    <a:cubicBezTo>
                      <a:pt x="1173136" y="74746"/>
                      <a:pt x="959441" y="63244"/>
                      <a:pt x="765075" y="42443"/>
                    </a:cubicBezTo>
                    <a:lnTo>
                      <a:pt x="674350" y="31385"/>
                    </a:lnTo>
                    <a:lnTo>
                      <a:pt x="728850" y="26251"/>
                    </a:lnTo>
                    <a:cubicBezTo>
                      <a:pt x="927599" y="9510"/>
                      <a:pt x="1155362" y="0"/>
                      <a:pt x="1397447" y="0"/>
                    </a:cubicBezTo>
                    <a:close/>
                  </a:path>
                </a:pathLst>
              </a:custGeom>
              <a:gradFill flip="none" rotWithShape="1">
                <a:gsLst>
                  <a:gs pos="0">
                    <a:srgbClr val="F7931F"/>
                  </a:gs>
                  <a:gs pos="78000">
                    <a:srgbClr val="F7931F">
                      <a:lumMod val="50000"/>
                    </a:srgbClr>
                  </a:gs>
                </a:gsLst>
                <a:path path="circle">
                  <a:fillToRect l="100000" t="100000"/>
                </a:path>
                <a:tileRect r="-100000" b="-100000"/>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ysClr val="window" lastClr="FFFFFF"/>
                  </a:solidFill>
                  <a:effectLst/>
                  <a:uLnTx/>
                  <a:uFillTx/>
                  <a:latin typeface="Helvetica"/>
                  <a:ea typeface="+mn-ea"/>
                  <a:cs typeface="+mn-cs"/>
                </a:endParaRPr>
              </a:p>
            </p:txBody>
          </p:sp>
          <p:sp>
            <p:nvSpPr>
              <p:cNvPr id="41" name="Freeform: Shape 184">
                <a:extLst>
                  <a:ext uri="{FF2B5EF4-FFF2-40B4-BE49-F238E27FC236}">
                    <a16:creationId xmlns:a16="http://schemas.microsoft.com/office/drawing/2014/main" id="{133A4629-5FB1-4C92-8790-AAD2EB169A22}"/>
                  </a:ext>
                </a:extLst>
              </p:cNvPr>
              <p:cNvSpPr/>
              <p:nvPr/>
            </p:nvSpPr>
            <p:spPr>
              <a:xfrm>
                <a:off x="4714759" y="2560016"/>
                <a:ext cx="2750647" cy="1048343"/>
              </a:xfrm>
              <a:custGeom>
                <a:avLst/>
                <a:gdLst>
                  <a:gd name="connsiteX0" fmla="*/ 1375323 w 2750647"/>
                  <a:gd name="connsiteY0" fmla="*/ 974357 h 1048343"/>
                  <a:gd name="connsiteX1" fmla="*/ 1901694 w 2750647"/>
                  <a:gd name="connsiteY1" fmla="*/ 1011503 h 1048343"/>
                  <a:gd name="connsiteX2" fmla="*/ 1926142 w 2750647"/>
                  <a:gd name="connsiteY2" fmla="*/ 1016163 h 1048343"/>
                  <a:gd name="connsiteX3" fmla="*/ 1789994 w 2750647"/>
                  <a:gd name="connsiteY3" fmla="*/ 1031251 h 1048343"/>
                  <a:gd name="connsiteX4" fmla="*/ 1375323 w 2750647"/>
                  <a:gd name="connsiteY4" fmla="*/ 1048343 h 1048343"/>
                  <a:gd name="connsiteX5" fmla="*/ 960652 w 2750647"/>
                  <a:gd name="connsiteY5" fmla="*/ 1031251 h 1048343"/>
                  <a:gd name="connsiteX6" fmla="*/ 824505 w 2750647"/>
                  <a:gd name="connsiteY6" fmla="*/ 1016163 h 1048343"/>
                  <a:gd name="connsiteX7" fmla="*/ 848952 w 2750647"/>
                  <a:gd name="connsiteY7" fmla="*/ 1011503 h 1048343"/>
                  <a:gd name="connsiteX8" fmla="*/ 1375323 w 2750647"/>
                  <a:gd name="connsiteY8" fmla="*/ 974357 h 1048343"/>
                  <a:gd name="connsiteX9" fmla="*/ 2750647 w 2750647"/>
                  <a:gd name="connsiteY9" fmla="*/ 0 h 1048343"/>
                  <a:gd name="connsiteX10" fmla="*/ 2439429 w 2750647"/>
                  <a:gd name="connsiteY10" fmla="*/ 825927 h 1048343"/>
                  <a:gd name="connsiteX11" fmla="*/ 2423156 w 2750647"/>
                  <a:gd name="connsiteY11" fmla="*/ 869114 h 1048343"/>
                  <a:gd name="connsiteX12" fmla="*/ 2419000 w 2750647"/>
                  <a:gd name="connsiteY12" fmla="*/ 874674 h 1048343"/>
                  <a:gd name="connsiteX13" fmla="*/ 1970954 w 2750647"/>
                  <a:gd name="connsiteY13" fmla="*/ 1011196 h 1048343"/>
                  <a:gd name="connsiteX14" fmla="*/ 1926142 w 2750647"/>
                  <a:gd name="connsiteY14" fmla="*/ 1016162 h 1048343"/>
                  <a:gd name="connsiteX15" fmla="*/ 1901694 w 2750647"/>
                  <a:gd name="connsiteY15" fmla="*/ 1011502 h 1048343"/>
                  <a:gd name="connsiteX16" fmla="*/ 1375323 w 2750647"/>
                  <a:gd name="connsiteY16" fmla="*/ 974356 h 1048343"/>
                  <a:gd name="connsiteX17" fmla="*/ 848952 w 2750647"/>
                  <a:gd name="connsiteY17" fmla="*/ 1011502 h 1048343"/>
                  <a:gd name="connsiteX18" fmla="*/ 824504 w 2750647"/>
                  <a:gd name="connsiteY18" fmla="*/ 1016162 h 1048343"/>
                  <a:gd name="connsiteX19" fmla="*/ 779692 w 2750647"/>
                  <a:gd name="connsiteY19" fmla="*/ 1011196 h 1048343"/>
                  <a:gd name="connsiteX20" fmla="*/ 331646 w 2750647"/>
                  <a:gd name="connsiteY20" fmla="*/ 874674 h 1048343"/>
                  <a:gd name="connsiteX21" fmla="*/ 327490 w 2750647"/>
                  <a:gd name="connsiteY21" fmla="*/ 869114 h 1048343"/>
                  <a:gd name="connsiteX22" fmla="*/ 311217 w 2750647"/>
                  <a:gd name="connsiteY22" fmla="*/ 825927 h 1048343"/>
                  <a:gd name="connsiteX23" fmla="*/ 0 w 2750647"/>
                  <a:gd name="connsiteY23" fmla="*/ 3 h 1048343"/>
                  <a:gd name="connsiteX24" fmla="*/ 1147 w 2750647"/>
                  <a:gd name="connsiteY24" fmla="*/ 1168 h 1048343"/>
                  <a:gd name="connsiteX25" fmla="*/ 1375322 w 2750647"/>
                  <a:gd name="connsiteY25" fmla="*/ 174836 h 1048343"/>
                  <a:gd name="connsiteX26" fmla="*/ 2749497 w 2750647"/>
                  <a:gd name="connsiteY26" fmla="*/ 1168 h 104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50647" h="1048343">
                    <a:moveTo>
                      <a:pt x="1375323" y="974357"/>
                    </a:moveTo>
                    <a:cubicBezTo>
                      <a:pt x="1570303" y="974357"/>
                      <a:pt x="1751439" y="988051"/>
                      <a:pt x="1901694" y="1011503"/>
                    </a:cubicBezTo>
                    <a:lnTo>
                      <a:pt x="1926142" y="1016163"/>
                    </a:lnTo>
                    <a:lnTo>
                      <a:pt x="1789994" y="1031251"/>
                    </a:lnTo>
                    <a:cubicBezTo>
                      <a:pt x="1662541" y="1042257"/>
                      <a:pt x="1522414" y="1048343"/>
                      <a:pt x="1375323" y="1048343"/>
                    </a:cubicBezTo>
                    <a:cubicBezTo>
                      <a:pt x="1228233" y="1048343"/>
                      <a:pt x="1088105" y="1042257"/>
                      <a:pt x="960652" y="1031251"/>
                    </a:cubicBezTo>
                    <a:lnTo>
                      <a:pt x="824505" y="1016163"/>
                    </a:lnTo>
                    <a:lnTo>
                      <a:pt x="848952" y="1011503"/>
                    </a:lnTo>
                    <a:cubicBezTo>
                      <a:pt x="999208" y="988051"/>
                      <a:pt x="1180344" y="974357"/>
                      <a:pt x="1375323" y="974357"/>
                    </a:cubicBezTo>
                    <a:close/>
                    <a:moveTo>
                      <a:pt x="2750647" y="0"/>
                    </a:moveTo>
                    <a:lnTo>
                      <a:pt x="2439429" y="825927"/>
                    </a:lnTo>
                    <a:lnTo>
                      <a:pt x="2423156" y="869114"/>
                    </a:lnTo>
                    <a:lnTo>
                      <a:pt x="2419000" y="874674"/>
                    </a:lnTo>
                    <a:cubicBezTo>
                      <a:pt x="2362237" y="931309"/>
                      <a:pt x="2197656" y="979926"/>
                      <a:pt x="1970954" y="1011196"/>
                    </a:cubicBezTo>
                    <a:lnTo>
                      <a:pt x="1926142" y="1016162"/>
                    </a:lnTo>
                    <a:lnTo>
                      <a:pt x="1901694" y="1011502"/>
                    </a:lnTo>
                    <a:cubicBezTo>
                      <a:pt x="1751439" y="988050"/>
                      <a:pt x="1570303" y="974356"/>
                      <a:pt x="1375323" y="974356"/>
                    </a:cubicBezTo>
                    <a:cubicBezTo>
                      <a:pt x="1180343" y="974356"/>
                      <a:pt x="999208" y="988050"/>
                      <a:pt x="848952" y="1011502"/>
                    </a:cubicBezTo>
                    <a:lnTo>
                      <a:pt x="824504" y="1016162"/>
                    </a:lnTo>
                    <a:lnTo>
                      <a:pt x="779692" y="1011196"/>
                    </a:lnTo>
                    <a:cubicBezTo>
                      <a:pt x="552990" y="979926"/>
                      <a:pt x="388409" y="931309"/>
                      <a:pt x="331646" y="874674"/>
                    </a:cubicBezTo>
                    <a:lnTo>
                      <a:pt x="327490" y="869114"/>
                    </a:lnTo>
                    <a:lnTo>
                      <a:pt x="311217" y="825927"/>
                    </a:lnTo>
                    <a:lnTo>
                      <a:pt x="0" y="3"/>
                    </a:lnTo>
                    <a:lnTo>
                      <a:pt x="1147" y="1168"/>
                    </a:lnTo>
                    <a:cubicBezTo>
                      <a:pt x="131941" y="100280"/>
                      <a:pt x="697482" y="174836"/>
                      <a:pt x="1375322" y="174836"/>
                    </a:cubicBezTo>
                    <a:cubicBezTo>
                      <a:pt x="2053162" y="174836"/>
                      <a:pt x="2618703" y="100280"/>
                      <a:pt x="2749497" y="1168"/>
                    </a:cubicBezTo>
                    <a:close/>
                  </a:path>
                </a:pathLst>
              </a:custGeom>
              <a:gradFill flip="none" rotWithShape="1">
                <a:gsLst>
                  <a:gs pos="46000">
                    <a:srgbClr val="F7931F"/>
                  </a:gs>
                  <a:gs pos="78000">
                    <a:srgbClr val="F7931F">
                      <a:lumMod val="75000"/>
                    </a:srgbClr>
                  </a:gs>
                </a:gsLst>
                <a:path path="circle">
                  <a:fillToRect r="100000" b="100000"/>
                </a:path>
                <a:tileRect l="-100000" t="-100000"/>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ysClr val="window" lastClr="FFFFFF"/>
                  </a:solidFill>
                  <a:effectLst/>
                  <a:uLnTx/>
                  <a:uFillTx/>
                  <a:latin typeface="Helvetica"/>
                  <a:ea typeface="+mn-ea"/>
                  <a:cs typeface="+mn-cs"/>
                </a:endParaRPr>
              </a:p>
            </p:txBody>
          </p:sp>
        </p:grpSp>
        <p:sp>
          <p:nvSpPr>
            <p:cNvPr id="20" name="Freeform: Shape 185">
              <a:extLst>
                <a:ext uri="{FF2B5EF4-FFF2-40B4-BE49-F238E27FC236}">
                  <a16:creationId xmlns:a16="http://schemas.microsoft.com/office/drawing/2014/main" id="{D84ABEA9-5BD3-4B9B-9BB3-82B786B4BC3C}"/>
                </a:ext>
              </a:extLst>
            </p:cNvPr>
            <p:cNvSpPr/>
            <p:nvPr/>
          </p:nvSpPr>
          <p:spPr>
            <a:xfrm rot="10800000">
              <a:off x="3200235" y="5207169"/>
              <a:ext cx="4329870" cy="1011380"/>
            </a:xfrm>
            <a:custGeom>
              <a:avLst/>
              <a:gdLst>
                <a:gd name="connsiteX0" fmla="*/ 2176688 w 3710867"/>
                <a:gd name="connsiteY0" fmla="*/ 1240801 h 1309272"/>
                <a:gd name="connsiteX1" fmla="*/ 2271082 w 3710867"/>
                <a:gd name="connsiteY1" fmla="*/ 1245345 h 1309272"/>
                <a:gd name="connsiteX2" fmla="*/ 2205983 w 3710867"/>
                <a:gd name="connsiteY2" fmla="*/ 1241374 h 1309272"/>
                <a:gd name="connsiteX3" fmla="*/ 1534180 w 3710867"/>
                <a:gd name="connsiteY3" fmla="*/ 1240801 h 1309272"/>
                <a:gd name="connsiteX4" fmla="*/ 1504884 w 3710867"/>
                <a:gd name="connsiteY4" fmla="*/ 1241374 h 1309272"/>
                <a:gd name="connsiteX5" fmla="*/ 1439784 w 3710867"/>
                <a:gd name="connsiteY5" fmla="*/ 1245345 h 1309272"/>
                <a:gd name="connsiteX6" fmla="*/ 1855433 w 3710867"/>
                <a:gd name="connsiteY6" fmla="*/ 0 h 1309272"/>
                <a:gd name="connsiteX7" fmla="*/ 3710866 w 3710867"/>
                <a:gd name="connsiteY7" fmla="*/ 217503 h 1309272"/>
                <a:gd name="connsiteX8" fmla="*/ 3709552 w 3710867"/>
                <a:gd name="connsiteY8" fmla="*/ 220554 h 1309272"/>
                <a:gd name="connsiteX9" fmla="*/ 3710867 w 3710867"/>
                <a:gd name="connsiteY9" fmla="*/ 220554 h 1309272"/>
                <a:gd name="connsiteX10" fmla="*/ 3471471 w 3710867"/>
                <a:gd name="connsiteY10" fmla="*/ 855877 h 1309272"/>
                <a:gd name="connsiteX11" fmla="*/ 3410900 w 3710867"/>
                <a:gd name="connsiteY11" fmla="*/ 1016624 h 1309272"/>
                <a:gd name="connsiteX12" fmla="*/ 3407009 w 3710867"/>
                <a:gd name="connsiteY12" fmla="*/ 1020453 h 1309272"/>
                <a:gd name="connsiteX13" fmla="*/ 2629822 w 3710867"/>
                <a:gd name="connsiteY13" fmla="*/ 1259660 h 1309272"/>
                <a:gd name="connsiteX14" fmla="*/ 2578532 w 3710867"/>
                <a:gd name="connsiteY14" fmla="*/ 1265911 h 1309272"/>
                <a:gd name="connsiteX15" fmla="*/ 2524030 w 3710867"/>
                <a:gd name="connsiteY15" fmla="*/ 1260777 h 1309272"/>
                <a:gd name="connsiteX16" fmla="*/ 2473863 w 3710867"/>
                <a:gd name="connsiteY16" fmla="*/ 1257717 h 1309272"/>
                <a:gd name="connsiteX17" fmla="*/ 2569433 w 3710867"/>
                <a:gd name="connsiteY17" fmla="*/ 1265760 h 1309272"/>
                <a:gd name="connsiteX18" fmla="*/ 2487808 w 3710867"/>
                <a:gd name="connsiteY18" fmla="*/ 1276969 h 1309272"/>
                <a:gd name="connsiteX19" fmla="*/ 1855434 w 3710867"/>
                <a:gd name="connsiteY19" fmla="*/ 1309272 h 1309272"/>
                <a:gd name="connsiteX20" fmla="*/ 1223061 w 3710867"/>
                <a:gd name="connsiteY20" fmla="*/ 1276969 h 1309272"/>
                <a:gd name="connsiteX21" fmla="*/ 1141435 w 3710867"/>
                <a:gd name="connsiteY21" fmla="*/ 1265760 h 1309272"/>
                <a:gd name="connsiteX22" fmla="*/ 1237007 w 3710867"/>
                <a:gd name="connsiteY22" fmla="*/ 1257716 h 1309272"/>
                <a:gd name="connsiteX23" fmla="*/ 1186836 w 3710867"/>
                <a:gd name="connsiteY23" fmla="*/ 1260777 h 1309272"/>
                <a:gd name="connsiteX24" fmla="*/ 1132336 w 3710867"/>
                <a:gd name="connsiteY24" fmla="*/ 1265911 h 1309272"/>
                <a:gd name="connsiteX25" fmla="*/ 1081046 w 3710867"/>
                <a:gd name="connsiteY25" fmla="*/ 1259660 h 1309272"/>
                <a:gd name="connsiteX26" fmla="*/ 303859 w 3710867"/>
                <a:gd name="connsiteY26" fmla="*/ 1020453 h 1309272"/>
                <a:gd name="connsiteX27" fmla="*/ 299968 w 3710867"/>
                <a:gd name="connsiteY27" fmla="*/ 1016624 h 1309272"/>
                <a:gd name="connsiteX28" fmla="*/ 239397 w 3710867"/>
                <a:gd name="connsiteY28" fmla="*/ 855877 h 1309272"/>
                <a:gd name="connsiteX29" fmla="*/ 1 w 3710867"/>
                <a:gd name="connsiteY29" fmla="*/ 220554 h 1309272"/>
                <a:gd name="connsiteX30" fmla="*/ 1314 w 3710867"/>
                <a:gd name="connsiteY30" fmla="*/ 220554 h 1309272"/>
                <a:gd name="connsiteX31" fmla="*/ 0 w 3710867"/>
                <a:gd name="connsiteY31" fmla="*/ 217503 h 1309272"/>
                <a:gd name="connsiteX32" fmla="*/ 1855433 w 3710867"/>
                <a:gd name="connsiteY32" fmla="*/ 0 h 1309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710867" h="1309272">
                  <a:moveTo>
                    <a:pt x="2176688" y="1240801"/>
                  </a:moveTo>
                  <a:lnTo>
                    <a:pt x="2271082" y="1245345"/>
                  </a:lnTo>
                  <a:lnTo>
                    <a:pt x="2205983" y="1241374"/>
                  </a:lnTo>
                  <a:close/>
                  <a:moveTo>
                    <a:pt x="1534180" y="1240801"/>
                  </a:moveTo>
                  <a:lnTo>
                    <a:pt x="1504884" y="1241374"/>
                  </a:lnTo>
                  <a:lnTo>
                    <a:pt x="1439784" y="1245345"/>
                  </a:lnTo>
                  <a:close/>
                  <a:moveTo>
                    <a:pt x="1855433" y="0"/>
                  </a:moveTo>
                  <a:cubicBezTo>
                    <a:pt x="2880160" y="0"/>
                    <a:pt x="3710866" y="97379"/>
                    <a:pt x="3710866" y="217503"/>
                  </a:cubicBezTo>
                  <a:lnTo>
                    <a:pt x="3709552" y="220554"/>
                  </a:lnTo>
                  <a:lnTo>
                    <a:pt x="3710867" y="220554"/>
                  </a:lnTo>
                  <a:lnTo>
                    <a:pt x="3471471" y="855877"/>
                  </a:lnTo>
                  <a:lnTo>
                    <a:pt x="3410900" y="1016624"/>
                  </a:lnTo>
                  <a:lnTo>
                    <a:pt x="3407009" y="1020453"/>
                  </a:lnTo>
                  <a:cubicBezTo>
                    <a:pt x="3280428" y="1123423"/>
                    <a:pt x="2998137" y="1209036"/>
                    <a:pt x="2629822" y="1259660"/>
                  </a:cubicBezTo>
                  <a:lnTo>
                    <a:pt x="2578532" y="1265911"/>
                  </a:lnTo>
                  <a:lnTo>
                    <a:pt x="2524030" y="1260777"/>
                  </a:lnTo>
                  <a:lnTo>
                    <a:pt x="2473863" y="1257717"/>
                  </a:lnTo>
                  <a:lnTo>
                    <a:pt x="2569433" y="1265760"/>
                  </a:lnTo>
                  <a:lnTo>
                    <a:pt x="2487808" y="1276969"/>
                  </a:lnTo>
                  <a:cubicBezTo>
                    <a:pt x="2293441" y="1297770"/>
                    <a:pt x="2079747" y="1309272"/>
                    <a:pt x="1855434" y="1309272"/>
                  </a:cubicBezTo>
                  <a:cubicBezTo>
                    <a:pt x="1631122" y="1309272"/>
                    <a:pt x="1417427" y="1297770"/>
                    <a:pt x="1223061" y="1276969"/>
                  </a:cubicBezTo>
                  <a:lnTo>
                    <a:pt x="1141435" y="1265760"/>
                  </a:lnTo>
                  <a:lnTo>
                    <a:pt x="1237007" y="1257716"/>
                  </a:lnTo>
                  <a:lnTo>
                    <a:pt x="1186836" y="1260777"/>
                  </a:lnTo>
                  <a:lnTo>
                    <a:pt x="1132336" y="1265911"/>
                  </a:lnTo>
                  <a:lnTo>
                    <a:pt x="1081046" y="1259660"/>
                  </a:lnTo>
                  <a:cubicBezTo>
                    <a:pt x="712731" y="1209036"/>
                    <a:pt x="430440" y="1123423"/>
                    <a:pt x="303859" y="1020453"/>
                  </a:cubicBezTo>
                  <a:lnTo>
                    <a:pt x="299968" y="1016624"/>
                  </a:lnTo>
                  <a:lnTo>
                    <a:pt x="239397" y="855877"/>
                  </a:lnTo>
                  <a:lnTo>
                    <a:pt x="1" y="220554"/>
                  </a:lnTo>
                  <a:lnTo>
                    <a:pt x="1314" y="220554"/>
                  </a:lnTo>
                  <a:lnTo>
                    <a:pt x="0" y="217503"/>
                  </a:lnTo>
                  <a:cubicBezTo>
                    <a:pt x="0" y="97379"/>
                    <a:pt x="830706" y="0"/>
                    <a:pt x="1855433" y="0"/>
                  </a:cubicBezTo>
                  <a:close/>
                </a:path>
              </a:pathLst>
            </a:custGeom>
            <a:gradFill flip="none" rotWithShape="1">
              <a:gsLst>
                <a:gs pos="46000">
                  <a:srgbClr val="FFCC4C"/>
                </a:gs>
                <a:gs pos="78000">
                  <a:srgbClr val="FFCC4C">
                    <a:lumMod val="75000"/>
                  </a:srgbClr>
                </a:gs>
              </a:gsLst>
              <a:path path="circle">
                <a:fillToRect r="100000" b="100000"/>
              </a:path>
              <a:tileRect l="-100000" t="-100000"/>
            </a:gradFill>
            <a:ln w="12700" cap="flat" cmpd="sng" algn="ctr">
              <a:noFill/>
              <a:prstDash val="solid"/>
              <a:miter lim="800000"/>
            </a:ln>
            <a:effectLst/>
          </p:spPr>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ysClr val="window" lastClr="FFFFFF"/>
                </a:solidFill>
                <a:effectLst/>
                <a:uLnTx/>
                <a:uFillTx/>
                <a:latin typeface="Helvetica"/>
                <a:ea typeface="+mn-ea"/>
                <a:cs typeface="+mn-cs"/>
              </a:endParaRPr>
            </a:p>
          </p:txBody>
        </p:sp>
        <p:grpSp>
          <p:nvGrpSpPr>
            <p:cNvPr id="21" name="Group 186">
              <a:extLst>
                <a:ext uri="{FF2B5EF4-FFF2-40B4-BE49-F238E27FC236}">
                  <a16:creationId xmlns:a16="http://schemas.microsoft.com/office/drawing/2014/main" id="{2966DB6B-087C-4FD0-9373-FFEC09BBEB41}"/>
                </a:ext>
              </a:extLst>
            </p:cNvPr>
            <p:cNvGrpSpPr/>
            <p:nvPr/>
          </p:nvGrpSpPr>
          <p:grpSpPr>
            <a:xfrm rot="10800000">
              <a:off x="3094076" y="4806146"/>
              <a:ext cx="4436031" cy="1482817"/>
              <a:chOff x="4234648" y="1065321"/>
              <a:chExt cx="3710867" cy="1309272"/>
            </a:xfrm>
          </p:grpSpPr>
          <p:sp>
            <p:nvSpPr>
              <p:cNvPr id="38" name="Freeform: Shape 187">
                <a:extLst>
                  <a:ext uri="{FF2B5EF4-FFF2-40B4-BE49-F238E27FC236}">
                    <a16:creationId xmlns:a16="http://schemas.microsoft.com/office/drawing/2014/main" id="{0D2C94A6-86EE-4131-862F-7FDAA71C2920}"/>
                  </a:ext>
                </a:extLst>
              </p:cNvPr>
              <p:cNvSpPr/>
              <p:nvPr/>
            </p:nvSpPr>
            <p:spPr>
              <a:xfrm>
                <a:off x="4234648" y="1065321"/>
                <a:ext cx="3710866" cy="435006"/>
              </a:xfrm>
              <a:custGeom>
                <a:avLst/>
                <a:gdLst>
                  <a:gd name="connsiteX0" fmla="*/ 1855433 w 3710866"/>
                  <a:gd name="connsiteY0" fmla="*/ 0 h 435006"/>
                  <a:gd name="connsiteX1" fmla="*/ 3710866 w 3710866"/>
                  <a:gd name="connsiteY1" fmla="*/ 217503 h 435006"/>
                  <a:gd name="connsiteX2" fmla="*/ 3709552 w 3710866"/>
                  <a:gd name="connsiteY2" fmla="*/ 220554 h 435006"/>
                  <a:gd name="connsiteX3" fmla="*/ 3701287 w 3710866"/>
                  <a:gd name="connsiteY3" fmla="*/ 239741 h 435006"/>
                  <a:gd name="connsiteX4" fmla="*/ 1855433 w 3710866"/>
                  <a:gd name="connsiteY4" fmla="*/ 435006 h 435006"/>
                  <a:gd name="connsiteX5" fmla="*/ 9579 w 3710866"/>
                  <a:gd name="connsiteY5" fmla="*/ 239741 h 435006"/>
                  <a:gd name="connsiteX6" fmla="*/ 1314 w 3710866"/>
                  <a:gd name="connsiteY6" fmla="*/ 220554 h 435006"/>
                  <a:gd name="connsiteX7" fmla="*/ 0 w 3710866"/>
                  <a:gd name="connsiteY7" fmla="*/ 217503 h 435006"/>
                  <a:gd name="connsiteX8" fmla="*/ 1855433 w 3710866"/>
                  <a:gd name="connsiteY8" fmla="*/ 0 h 4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866" h="435006">
                    <a:moveTo>
                      <a:pt x="1855433" y="0"/>
                    </a:moveTo>
                    <a:cubicBezTo>
                      <a:pt x="2880160" y="0"/>
                      <a:pt x="3710866" y="97379"/>
                      <a:pt x="3710866" y="217503"/>
                    </a:cubicBezTo>
                    <a:lnTo>
                      <a:pt x="3709552" y="220554"/>
                    </a:lnTo>
                    <a:lnTo>
                      <a:pt x="3701287" y="239741"/>
                    </a:lnTo>
                    <a:cubicBezTo>
                      <a:pt x="3606270" y="349419"/>
                      <a:pt x="2816115" y="435006"/>
                      <a:pt x="1855433" y="435006"/>
                    </a:cubicBezTo>
                    <a:cubicBezTo>
                      <a:pt x="894751" y="435006"/>
                      <a:pt x="104596" y="349419"/>
                      <a:pt x="9579" y="239741"/>
                    </a:cubicBezTo>
                    <a:lnTo>
                      <a:pt x="1314" y="220554"/>
                    </a:lnTo>
                    <a:lnTo>
                      <a:pt x="0" y="217503"/>
                    </a:lnTo>
                    <a:cubicBezTo>
                      <a:pt x="0" y="97379"/>
                      <a:pt x="830706" y="0"/>
                      <a:pt x="1855433" y="0"/>
                    </a:cubicBezTo>
                    <a:close/>
                  </a:path>
                </a:pathLst>
              </a:custGeom>
              <a:gradFill flip="none" rotWithShape="1">
                <a:gsLst>
                  <a:gs pos="0">
                    <a:srgbClr val="FFCC4C"/>
                  </a:gs>
                  <a:gs pos="78000">
                    <a:srgbClr val="FFCC4C">
                      <a:lumMod val="50000"/>
                    </a:srgbClr>
                  </a:gs>
                </a:gsLst>
                <a:path path="circle">
                  <a:fillToRect l="100000" t="100000"/>
                </a:path>
                <a:tileRect r="-100000" b="-100000"/>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ysClr val="window" lastClr="FFFFFF"/>
                  </a:solidFill>
                  <a:effectLst/>
                  <a:uLnTx/>
                  <a:uFillTx/>
                  <a:latin typeface="Helvetica"/>
                  <a:ea typeface="+mn-ea"/>
                  <a:cs typeface="+mn-cs"/>
                </a:endParaRPr>
              </a:p>
            </p:txBody>
          </p:sp>
          <p:sp>
            <p:nvSpPr>
              <p:cNvPr id="39" name="Freeform: Shape 188">
                <a:extLst>
                  <a:ext uri="{FF2B5EF4-FFF2-40B4-BE49-F238E27FC236}">
                    <a16:creationId xmlns:a16="http://schemas.microsoft.com/office/drawing/2014/main" id="{0B382ABC-04A5-4A87-BF07-442800B761A9}"/>
                  </a:ext>
                </a:extLst>
              </p:cNvPr>
              <p:cNvSpPr/>
              <p:nvPr/>
            </p:nvSpPr>
            <p:spPr>
              <a:xfrm>
                <a:off x="4234649" y="1285875"/>
                <a:ext cx="3710866" cy="1088718"/>
              </a:xfrm>
              <a:custGeom>
                <a:avLst/>
                <a:gdLst>
                  <a:gd name="connsiteX0" fmla="*/ 2176687 w 3710866"/>
                  <a:gd name="connsiteY0" fmla="*/ 1020247 h 1088718"/>
                  <a:gd name="connsiteX1" fmla="*/ 2271081 w 3710866"/>
                  <a:gd name="connsiteY1" fmla="*/ 1024791 h 1088718"/>
                  <a:gd name="connsiteX2" fmla="*/ 2205982 w 3710866"/>
                  <a:gd name="connsiteY2" fmla="*/ 1020820 h 1088718"/>
                  <a:gd name="connsiteX3" fmla="*/ 1534179 w 3710866"/>
                  <a:gd name="connsiteY3" fmla="*/ 1020247 h 1088718"/>
                  <a:gd name="connsiteX4" fmla="*/ 1504883 w 3710866"/>
                  <a:gd name="connsiteY4" fmla="*/ 1020820 h 1088718"/>
                  <a:gd name="connsiteX5" fmla="*/ 1439783 w 3710866"/>
                  <a:gd name="connsiteY5" fmla="*/ 1024791 h 1088718"/>
                  <a:gd name="connsiteX6" fmla="*/ 0 w 3710866"/>
                  <a:gd name="connsiteY6" fmla="*/ 0 h 1088718"/>
                  <a:gd name="connsiteX7" fmla="*/ 1313 w 3710866"/>
                  <a:gd name="connsiteY7" fmla="*/ 0 h 1088718"/>
                  <a:gd name="connsiteX8" fmla="*/ 9578 w 3710866"/>
                  <a:gd name="connsiteY8" fmla="*/ 19187 h 1088718"/>
                  <a:gd name="connsiteX9" fmla="*/ 1855432 w 3710866"/>
                  <a:gd name="connsiteY9" fmla="*/ 214452 h 1088718"/>
                  <a:gd name="connsiteX10" fmla="*/ 3701286 w 3710866"/>
                  <a:gd name="connsiteY10" fmla="*/ 19187 h 1088718"/>
                  <a:gd name="connsiteX11" fmla="*/ 3709551 w 3710866"/>
                  <a:gd name="connsiteY11" fmla="*/ 0 h 1088718"/>
                  <a:gd name="connsiteX12" fmla="*/ 3710866 w 3710866"/>
                  <a:gd name="connsiteY12" fmla="*/ 0 h 1088718"/>
                  <a:gd name="connsiteX13" fmla="*/ 3471470 w 3710866"/>
                  <a:gd name="connsiteY13" fmla="*/ 635323 h 1088718"/>
                  <a:gd name="connsiteX14" fmla="*/ 3410899 w 3710866"/>
                  <a:gd name="connsiteY14" fmla="*/ 796070 h 1088718"/>
                  <a:gd name="connsiteX15" fmla="*/ 3407008 w 3710866"/>
                  <a:gd name="connsiteY15" fmla="*/ 799899 h 1088718"/>
                  <a:gd name="connsiteX16" fmla="*/ 2629821 w 3710866"/>
                  <a:gd name="connsiteY16" fmla="*/ 1039106 h 1088718"/>
                  <a:gd name="connsiteX17" fmla="*/ 2578531 w 3710866"/>
                  <a:gd name="connsiteY17" fmla="*/ 1045357 h 1088718"/>
                  <a:gd name="connsiteX18" fmla="*/ 2524029 w 3710866"/>
                  <a:gd name="connsiteY18" fmla="*/ 1040223 h 1088718"/>
                  <a:gd name="connsiteX19" fmla="*/ 2473862 w 3710866"/>
                  <a:gd name="connsiteY19" fmla="*/ 1037163 h 1088718"/>
                  <a:gd name="connsiteX20" fmla="*/ 2569432 w 3710866"/>
                  <a:gd name="connsiteY20" fmla="*/ 1045206 h 1088718"/>
                  <a:gd name="connsiteX21" fmla="*/ 2487807 w 3710866"/>
                  <a:gd name="connsiteY21" fmla="*/ 1056415 h 1088718"/>
                  <a:gd name="connsiteX22" fmla="*/ 1855433 w 3710866"/>
                  <a:gd name="connsiteY22" fmla="*/ 1088718 h 1088718"/>
                  <a:gd name="connsiteX23" fmla="*/ 1223060 w 3710866"/>
                  <a:gd name="connsiteY23" fmla="*/ 1056415 h 1088718"/>
                  <a:gd name="connsiteX24" fmla="*/ 1141434 w 3710866"/>
                  <a:gd name="connsiteY24" fmla="*/ 1045206 h 1088718"/>
                  <a:gd name="connsiteX25" fmla="*/ 1237006 w 3710866"/>
                  <a:gd name="connsiteY25" fmla="*/ 1037162 h 1088718"/>
                  <a:gd name="connsiteX26" fmla="*/ 1186835 w 3710866"/>
                  <a:gd name="connsiteY26" fmla="*/ 1040223 h 1088718"/>
                  <a:gd name="connsiteX27" fmla="*/ 1132335 w 3710866"/>
                  <a:gd name="connsiteY27" fmla="*/ 1045357 h 1088718"/>
                  <a:gd name="connsiteX28" fmla="*/ 1081045 w 3710866"/>
                  <a:gd name="connsiteY28" fmla="*/ 1039106 h 1088718"/>
                  <a:gd name="connsiteX29" fmla="*/ 303858 w 3710866"/>
                  <a:gd name="connsiteY29" fmla="*/ 799899 h 1088718"/>
                  <a:gd name="connsiteX30" fmla="*/ 299967 w 3710866"/>
                  <a:gd name="connsiteY30" fmla="*/ 796070 h 1088718"/>
                  <a:gd name="connsiteX31" fmla="*/ 239396 w 3710866"/>
                  <a:gd name="connsiteY31" fmla="*/ 635323 h 1088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10866" h="1088718">
                    <a:moveTo>
                      <a:pt x="2176687" y="1020247"/>
                    </a:moveTo>
                    <a:lnTo>
                      <a:pt x="2271081" y="1024791"/>
                    </a:lnTo>
                    <a:lnTo>
                      <a:pt x="2205982" y="1020820"/>
                    </a:lnTo>
                    <a:close/>
                    <a:moveTo>
                      <a:pt x="1534179" y="1020247"/>
                    </a:moveTo>
                    <a:lnTo>
                      <a:pt x="1504883" y="1020820"/>
                    </a:lnTo>
                    <a:lnTo>
                      <a:pt x="1439783" y="1024791"/>
                    </a:lnTo>
                    <a:close/>
                    <a:moveTo>
                      <a:pt x="0" y="0"/>
                    </a:moveTo>
                    <a:lnTo>
                      <a:pt x="1313" y="0"/>
                    </a:lnTo>
                    <a:lnTo>
                      <a:pt x="9578" y="19187"/>
                    </a:lnTo>
                    <a:cubicBezTo>
                      <a:pt x="104595" y="128865"/>
                      <a:pt x="894750" y="214452"/>
                      <a:pt x="1855432" y="214452"/>
                    </a:cubicBezTo>
                    <a:cubicBezTo>
                      <a:pt x="2816114" y="214452"/>
                      <a:pt x="3606269" y="128865"/>
                      <a:pt x="3701286" y="19187"/>
                    </a:cubicBezTo>
                    <a:lnTo>
                      <a:pt x="3709551" y="0"/>
                    </a:lnTo>
                    <a:lnTo>
                      <a:pt x="3710866" y="0"/>
                    </a:lnTo>
                    <a:lnTo>
                      <a:pt x="3471470" y="635323"/>
                    </a:lnTo>
                    <a:lnTo>
                      <a:pt x="3410899" y="796070"/>
                    </a:lnTo>
                    <a:lnTo>
                      <a:pt x="3407008" y="799899"/>
                    </a:lnTo>
                    <a:cubicBezTo>
                      <a:pt x="3280427" y="902869"/>
                      <a:pt x="2998136" y="988482"/>
                      <a:pt x="2629821" y="1039106"/>
                    </a:cubicBezTo>
                    <a:lnTo>
                      <a:pt x="2578531" y="1045357"/>
                    </a:lnTo>
                    <a:lnTo>
                      <a:pt x="2524029" y="1040223"/>
                    </a:lnTo>
                    <a:lnTo>
                      <a:pt x="2473862" y="1037163"/>
                    </a:lnTo>
                    <a:lnTo>
                      <a:pt x="2569432" y="1045206"/>
                    </a:lnTo>
                    <a:lnTo>
                      <a:pt x="2487807" y="1056415"/>
                    </a:lnTo>
                    <a:cubicBezTo>
                      <a:pt x="2293440" y="1077216"/>
                      <a:pt x="2079746" y="1088718"/>
                      <a:pt x="1855433" y="1088718"/>
                    </a:cubicBezTo>
                    <a:cubicBezTo>
                      <a:pt x="1631121" y="1088718"/>
                      <a:pt x="1417426" y="1077216"/>
                      <a:pt x="1223060" y="1056415"/>
                    </a:cubicBezTo>
                    <a:lnTo>
                      <a:pt x="1141434" y="1045206"/>
                    </a:lnTo>
                    <a:lnTo>
                      <a:pt x="1237006" y="1037162"/>
                    </a:lnTo>
                    <a:lnTo>
                      <a:pt x="1186835" y="1040223"/>
                    </a:lnTo>
                    <a:lnTo>
                      <a:pt x="1132335" y="1045357"/>
                    </a:lnTo>
                    <a:lnTo>
                      <a:pt x="1081045" y="1039106"/>
                    </a:lnTo>
                    <a:cubicBezTo>
                      <a:pt x="712730" y="988482"/>
                      <a:pt x="430439" y="902869"/>
                      <a:pt x="303858" y="799899"/>
                    </a:cubicBezTo>
                    <a:lnTo>
                      <a:pt x="299967" y="796070"/>
                    </a:lnTo>
                    <a:lnTo>
                      <a:pt x="239396" y="635323"/>
                    </a:lnTo>
                    <a:close/>
                  </a:path>
                </a:pathLst>
              </a:custGeom>
              <a:gradFill flip="none" rotWithShape="1">
                <a:gsLst>
                  <a:gs pos="46000">
                    <a:srgbClr val="FFCC4C"/>
                  </a:gs>
                  <a:gs pos="78000">
                    <a:srgbClr val="FFCC4C">
                      <a:lumMod val="75000"/>
                    </a:srgbClr>
                  </a:gs>
                </a:gsLst>
                <a:path path="circle">
                  <a:fillToRect r="100000" b="100000"/>
                </a:path>
                <a:tileRect l="-100000" t="-100000"/>
              </a:gra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ysClr val="window" lastClr="FFFFFF"/>
                  </a:solidFill>
                  <a:effectLst/>
                  <a:uLnTx/>
                  <a:uFillTx/>
                  <a:latin typeface="Helvetica"/>
                  <a:ea typeface="+mn-ea"/>
                  <a:cs typeface="+mn-cs"/>
                </a:endParaRPr>
              </a:p>
            </p:txBody>
          </p:sp>
        </p:grpSp>
        <p:grpSp>
          <p:nvGrpSpPr>
            <p:cNvPr id="22" name="Group 195">
              <a:extLst>
                <a:ext uri="{FF2B5EF4-FFF2-40B4-BE49-F238E27FC236}">
                  <a16:creationId xmlns:a16="http://schemas.microsoft.com/office/drawing/2014/main" id="{69EAF84B-F54E-48C5-83B2-0E3923490FB7}"/>
                </a:ext>
              </a:extLst>
            </p:cNvPr>
            <p:cNvGrpSpPr/>
            <p:nvPr/>
          </p:nvGrpSpPr>
          <p:grpSpPr>
            <a:xfrm>
              <a:off x="1604183" y="2928100"/>
              <a:ext cx="4760446" cy="1093399"/>
              <a:chOff x="255548" y="2513031"/>
              <a:chExt cx="4227439" cy="1133530"/>
            </a:xfrm>
          </p:grpSpPr>
          <p:sp>
            <p:nvSpPr>
              <p:cNvPr id="36" name="TextBox 196">
                <a:extLst>
                  <a:ext uri="{FF2B5EF4-FFF2-40B4-BE49-F238E27FC236}">
                    <a16:creationId xmlns:a16="http://schemas.microsoft.com/office/drawing/2014/main" id="{15B1E573-0551-4017-854C-6A81001285B8}"/>
                  </a:ext>
                </a:extLst>
              </p:cNvPr>
              <p:cNvSpPr txBox="1"/>
              <p:nvPr/>
            </p:nvSpPr>
            <p:spPr>
              <a:xfrm>
                <a:off x="2758870" y="2513031"/>
                <a:ext cx="1724117" cy="515781"/>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1">
                    <a:ln>
                      <a:noFill/>
                    </a:ln>
                    <a:solidFill>
                      <a:srgbClr val="002060"/>
                    </a:solidFill>
                    <a:effectLst/>
                    <a:uLnTx/>
                    <a:uFillTx/>
                    <a:latin typeface="Helvetica"/>
                    <a:ea typeface="+mn-ea"/>
                    <a:cs typeface="+mn-cs"/>
                  </a:rPr>
                  <a:t>Política nacional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0" normalizeH="0" baseline="0" noProof="1">
                    <a:ln>
                      <a:noFill/>
                    </a:ln>
                    <a:solidFill>
                      <a:srgbClr val="002060"/>
                    </a:solidFill>
                    <a:effectLst/>
                    <a:uLnTx/>
                    <a:uFillTx/>
                    <a:latin typeface="Helvetica"/>
                    <a:ea typeface="+mn-ea"/>
                    <a:cs typeface="+mn-cs"/>
                  </a:rPr>
                  <a:t>de cambio climático</a:t>
                </a:r>
              </a:p>
            </p:txBody>
          </p:sp>
          <p:sp>
            <p:nvSpPr>
              <p:cNvPr id="37" name="TextBox 197">
                <a:extLst>
                  <a:ext uri="{FF2B5EF4-FFF2-40B4-BE49-F238E27FC236}">
                    <a16:creationId xmlns:a16="http://schemas.microsoft.com/office/drawing/2014/main" id="{CF3138B9-3C9C-4AAB-92F8-506B7D40B30D}"/>
                  </a:ext>
                </a:extLst>
              </p:cNvPr>
              <p:cNvSpPr txBox="1"/>
              <p:nvPr/>
            </p:nvSpPr>
            <p:spPr>
              <a:xfrm>
                <a:off x="255548" y="3388671"/>
                <a:ext cx="2196969" cy="257890"/>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1">
                    <a:ln>
                      <a:noFill/>
                    </a:ln>
                    <a:solidFill>
                      <a:sysClr val="windowText" lastClr="000000">
                        <a:lumMod val="65000"/>
                        <a:lumOff val="35000"/>
                      </a:sysClr>
                    </a:solidFill>
                    <a:effectLst/>
                    <a:uLnTx/>
                    <a:uFillTx/>
                    <a:latin typeface="Helvetica"/>
                    <a:ea typeface="+mn-ea"/>
                    <a:cs typeface="+mn-cs"/>
                  </a:rPr>
                  <a:t>. </a:t>
                </a:r>
              </a:p>
            </p:txBody>
          </p:sp>
        </p:grpSp>
        <p:sp>
          <p:nvSpPr>
            <p:cNvPr id="23" name="TextBox 199">
              <a:extLst>
                <a:ext uri="{FF2B5EF4-FFF2-40B4-BE49-F238E27FC236}">
                  <a16:creationId xmlns:a16="http://schemas.microsoft.com/office/drawing/2014/main" id="{03C4B623-783F-4111-890F-A94C1FB5B852}"/>
                </a:ext>
              </a:extLst>
            </p:cNvPr>
            <p:cNvSpPr txBox="1"/>
            <p:nvPr/>
          </p:nvSpPr>
          <p:spPr>
            <a:xfrm>
              <a:off x="3551913" y="5088592"/>
              <a:ext cx="3520354" cy="563857"/>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1">
                  <a:ln>
                    <a:noFill/>
                  </a:ln>
                  <a:solidFill>
                    <a:srgbClr val="002060"/>
                  </a:solidFill>
                  <a:effectLst/>
                  <a:uLnTx/>
                  <a:uFillTx/>
                  <a:latin typeface="Helvetica"/>
                  <a:ea typeface="+mn-ea"/>
                  <a:cs typeface="+mn-cs"/>
                </a:rPr>
                <a:t>Políticas de cambio climático en estados y municipios</a:t>
              </a:r>
            </a:p>
          </p:txBody>
        </p:sp>
        <p:grpSp>
          <p:nvGrpSpPr>
            <p:cNvPr id="24" name="Group 204">
              <a:extLst>
                <a:ext uri="{FF2B5EF4-FFF2-40B4-BE49-F238E27FC236}">
                  <a16:creationId xmlns:a16="http://schemas.microsoft.com/office/drawing/2014/main" id="{361FE915-E86F-47E3-8E4A-C5A527875CF6}"/>
                </a:ext>
              </a:extLst>
            </p:cNvPr>
            <p:cNvGrpSpPr/>
            <p:nvPr/>
          </p:nvGrpSpPr>
          <p:grpSpPr>
            <a:xfrm>
              <a:off x="1782470" y="1868278"/>
              <a:ext cx="4660253" cy="906628"/>
              <a:chOff x="261394" y="1636407"/>
              <a:chExt cx="4660253" cy="906628"/>
            </a:xfrm>
          </p:grpSpPr>
          <p:sp>
            <p:nvSpPr>
              <p:cNvPr id="34" name="TextBox 205">
                <a:extLst>
                  <a:ext uri="{FF2B5EF4-FFF2-40B4-BE49-F238E27FC236}">
                    <a16:creationId xmlns:a16="http://schemas.microsoft.com/office/drawing/2014/main" id="{99D389FD-00B6-4A5D-AE1A-0196DAAC2B4F}"/>
                  </a:ext>
                </a:extLst>
              </p:cNvPr>
              <p:cNvSpPr txBox="1"/>
              <p:nvPr/>
            </p:nvSpPr>
            <p:spPr>
              <a:xfrm>
                <a:off x="3114640" y="1636407"/>
                <a:ext cx="1807007" cy="530690"/>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00" b="1" i="0" u="none" strike="noStrike" kern="1200" cap="all" spc="0" normalizeH="0" baseline="0" noProof="1">
                    <a:ln>
                      <a:noFill/>
                    </a:ln>
                    <a:solidFill>
                      <a:srgbClr val="002060"/>
                    </a:solidFill>
                    <a:effectLst/>
                    <a:uLnTx/>
                    <a:uFillTx/>
                    <a:latin typeface="Helvetica"/>
                    <a:ea typeface="+mn-ea"/>
                    <a:cs typeface="+mn-cs"/>
                  </a:rPr>
                  <a:t>AGENDAS INTERNACIONALES</a:t>
                </a:r>
              </a:p>
            </p:txBody>
          </p:sp>
          <p:sp>
            <p:nvSpPr>
              <p:cNvPr id="35" name="TextBox 206">
                <a:extLst>
                  <a:ext uri="{FF2B5EF4-FFF2-40B4-BE49-F238E27FC236}">
                    <a16:creationId xmlns:a16="http://schemas.microsoft.com/office/drawing/2014/main" id="{AB8F5F3C-5BB2-4CA5-97A7-503D0075F002}"/>
                  </a:ext>
                </a:extLst>
              </p:cNvPr>
              <p:cNvSpPr txBox="1"/>
              <p:nvPr/>
            </p:nvSpPr>
            <p:spPr>
              <a:xfrm>
                <a:off x="261394" y="2294275"/>
                <a:ext cx="2196972" cy="248760"/>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37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1">
                  <a:ln>
                    <a:noFill/>
                  </a:ln>
                  <a:solidFill>
                    <a:sysClr val="windowText" lastClr="000000">
                      <a:lumMod val="65000"/>
                      <a:lumOff val="35000"/>
                    </a:sysClr>
                  </a:solidFill>
                  <a:effectLst/>
                  <a:uLnTx/>
                  <a:uFillTx/>
                  <a:latin typeface="Helvetica"/>
                  <a:ea typeface="+mn-ea"/>
                  <a:cs typeface="+mn-cs"/>
                </a:endParaRPr>
              </a:p>
            </p:txBody>
          </p:sp>
        </p:grpSp>
        <p:sp>
          <p:nvSpPr>
            <p:cNvPr id="25" name="TextBox 235">
              <a:extLst>
                <a:ext uri="{FF2B5EF4-FFF2-40B4-BE49-F238E27FC236}">
                  <a16:creationId xmlns:a16="http://schemas.microsoft.com/office/drawing/2014/main" id="{0064F587-11D5-4EF6-8460-A5E20CD8F3C6}"/>
                </a:ext>
              </a:extLst>
            </p:cNvPr>
            <p:cNvSpPr txBox="1"/>
            <p:nvPr/>
          </p:nvSpPr>
          <p:spPr>
            <a:xfrm>
              <a:off x="4270925" y="3858041"/>
              <a:ext cx="2330251" cy="563857"/>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1">
                  <a:ln>
                    <a:noFill/>
                  </a:ln>
                  <a:solidFill>
                    <a:srgbClr val="002060"/>
                  </a:solidFill>
                  <a:effectLst/>
                  <a:uLnTx/>
                  <a:uFillTx/>
                  <a:latin typeface="Helvetica"/>
                  <a:ea typeface="+mn-ea"/>
                  <a:cs typeface="+mn-cs"/>
                </a:rPr>
                <a:t>Acción climática en sectores productivos</a:t>
              </a:r>
            </a:p>
          </p:txBody>
        </p:sp>
        <p:grpSp>
          <p:nvGrpSpPr>
            <p:cNvPr id="26" name="Group 204">
              <a:extLst>
                <a:ext uri="{FF2B5EF4-FFF2-40B4-BE49-F238E27FC236}">
                  <a16:creationId xmlns:a16="http://schemas.microsoft.com/office/drawing/2014/main" id="{7D36EBF1-C5A1-4CBC-9DE4-99B3ABE37725}"/>
                </a:ext>
              </a:extLst>
            </p:cNvPr>
            <p:cNvGrpSpPr/>
            <p:nvPr/>
          </p:nvGrpSpPr>
          <p:grpSpPr>
            <a:xfrm>
              <a:off x="3399124" y="6083094"/>
              <a:ext cx="3903182" cy="720061"/>
              <a:chOff x="-493746" y="2294275"/>
              <a:chExt cx="3586814" cy="720061"/>
            </a:xfrm>
          </p:grpSpPr>
          <p:sp>
            <p:nvSpPr>
              <p:cNvPr id="32" name="TextBox 205">
                <a:extLst>
                  <a:ext uri="{FF2B5EF4-FFF2-40B4-BE49-F238E27FC236}">
                    <a16:creationId xmlns:a16="http://schemas.microsoft.com/office/drawing/2014/main" id="{B9A8A48A-07BA-46C3-8281-5FF4BA8CEA5D}"/>
                  </a:ext>
                </a:extLst>
              </p:cNvPr>
              <p:cNvSpPr txBox="1"/>
              <p:nvPr/>
            </p:nvSpPr>
            <p:spPr>
              <a:xfrm>
                <a:off x="-493746" y="2516815"/>
                <a:ext cx="3586814" cy="497521"/>
              </a:xfrm>
              <a:prstGeom prst="rect">
                <a:avLst/>
              </a:prstGeom>
              <a:noFill/>
            </p:spPr>
            <p:txBody>
              <a:bodyPr wrap="square" lIns="0" rIns="0" rtlCol="0" anchor="b">
                <a:spAutoFit/>
              </a:bodyPr>
              <a:lstStyle>
                <a:defPPr>
                  <a:defRPr lang="es-ES"/>
                </a:defPPr>
                <a:lvl1pPr marR="0" lvl="0" indent="0" algn="r" fontAlgn="auto">
                  <a:lnSpc>
                    <a:spcPct val="100000"/>
                  </a:lnSpc>
                  <a:spcBef>
                    <a:spcPts val="0"/>
                  </a:spcBef>
                  <a:spcAft>
                    <a:spcPts val="0"/>
                  </a:spcAft>
                  <a:buClrTx/>
                  <a:buSzTx/>
                  <a:buFontTx/>
                  <a:buNone/>
                  <a:tabLst/>
                  <a:defRPr sz="2400" b="1" cap="all">
                    <a:solidFill>
                      <a:srgbClr val="C94E4B"/>
                    </a:solidFill>
                    <a:latin typeface="Calibri" panose="020F050202020403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all" spc="0" normalizeH="0" baseline="0" noProof="1">
                    <a:ln>
                      <a:noFill/>
                    </a:ln>
                    <a:solidFill>
                      <a:srgbClr val="C94E4B"/>
                    </a:solidFill>
                    <a:effectLst/>
                    <a:uLnTx/>
                    <a:uFillTx/>
                    <a:latin typeface="Calibri" panose="020F0502020204030204"/>
                  </a:rPr>
                  <a:t>Alianzas estratégicas</a:t>
                </a:r>
              </a:p>
            </p:txBody>
          </p:sp>
          <p:sp>
            <p:nvSpPr>
              <p:cNvPr id="33" name="TextBox 206">
                <a:extLst>
                  <a:ext uri="{FF2B5EF4-FFF2-40B4-BE49-F238E27FC236}">
                    <a16:creationId xmlns:a16="http://schemas.microsoft.com/office/drawing/2014/main" id="{8F12FD45-A237-450C-8A98-1C889FC4120B}"/>
                  </a:ext>
                </a:extLst>
              </p:cNvPr>
              <p:cNvSpPr txBox="1"/>
              <p:nvPr/>
            </p:nvSpPr>
            <p:spPr>
              <a:xfrm>
                <a:off x="261394" y="2294275"/>
                <a:ext cx="2196971" cy="232177"/>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37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1">
                  <a:ln>
                    <a:noFill/>
                  </a:ln>
                  <a:solidFill>
                    <a:srgbClr val="002060"/>
                  </a:solidFill>
                  <a:effectLst/>
                  <a:uLnTx/>
                  <a:uFillTx/>
                  <a:latin typeface="Helvetica"/>
                  <a:ea typeface="+mn-ea"/>
                  <a:cs typeface="+mn-cs"/>
                </a:endParaRPr>
              </a:p>
            </p:txBody>
          </p:sp>
        </p:grpSp>
        <p:grpSp>
          <p:nvGrpSpPr>
            <p:cNvPr id="27" name="Group 204">
              <a:extLst>
                <a:ext uri="{FF2B5EF4-FFF2-40B4-BE49-F238E27FC236}">
                  <a16:creationId xmlns:a16="http://schemas.microsoft.com/office/drawing/2014/main" id="{BA38B334-FB51-460C-9B40-3DDBC2985DC6}"/>
                </a:ext>
              </a:extLst>
            </p:cNvPr>
            <p:cNvGrpSpPr/>
            <p:nvPr/>
          </p:nvGrpSpPr>
          <p:grpSpPr>
            <a:xfrm rot="15058651">
              <a:off x="5966679" y="3520471"/>
              <a:ext cx="1995030" cy="659134"/>
              <a:chOff x="261396" y="2278442"/>
              <a:chExt cx="2301680" cy="664747"/>
            </a:xfrm>
          </p:grpSpPr>
          <p:sp>
            <p:nvSpPr>
              <p:cNvPr id="30" name="TextBox 205">
                <a:extLst>
                  <a:ext uri="{FF2B5EF4-FFF2-40B4-BE49-F238E27FC236}">
                    <a16:creationId xmlns:a16="http://schemas.microsoft.com/office/drawing/2014/main" id="{456B90B7-12DB-43BF-ABFC-9DEBE53F6C55}"/>
                  </a:ext>
                </a:extLst>
              </p:cNvPr>
              <p:cNvSpPr txBox="1"/>
              <p:nvPr/>
            </p:nvSpPr>
            <p:spPr>
              <a:xfrm rot="10383947">
                <a:off x="360261" y="2413674"/>
                <a:ext cx="2202815" cy="529515"/>
              </a:xfrm>
              <a:prstGeom prst="rect">
                <a:avLst/>
              </a:prstGeom>
              <a:noFill/>
            </p:spPr>
            <p:txBody>
              <a:bodyPr wrap="square" lIns="0" rIns="0" rtlCol="0" anchor="b">
                <a:spAutoFit/>
              </a:bodyPr>
              <a:lstStyle>
                <a:defPPr>
                  <a:defRPr lang="es-ES"/>
                </a:defPPr>
                <a:lvl1pPr marR="0" lvl="0" indent="0" algn="r" fontAlgn="auto">
                  <a:lnSpc>
                    <a:spcPct val="100000"/>
                  </a:lnSpc>
                  <a:spcBef>
                    <a:spcPts val="0"/>
                  </a:spcBef>
                  <a:spcAft>
                    <a:spcPts val="0"/>
                  </a:spcAft>
                  <a:buClrTx/>
                  <a:buSzTx/>
                  <a:buFontTx/>
                  <a:buNone/>
                  <a:tabLst/>
                  <a:defRPr sz="2400" b="1" cap="all">
                    <a:solidFill>
                      <a:srgbClr val="C94E4B"/>
                    </a:solidFill>
                    <a:latin typeface="Calibri" panose="020F0502020204030204"/>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all" spc="0" normalizeH="0" baseline="0" noProof="1">
                    <a:ln>
                      <a:noFill/>
                    </a:ln>
                    <a:solidFill>
                      <a:srgbClr val="C94E4B"/>
                    </a:solidFill>
                    <a:effectLst/>
                    <a:uLnTx/>
                    <a:uFillTx/>
                    <a:latin typeface="Calibri" panose="020F0502020204030204"/>
                  </a:rPr>
                  <a:t>MITIGACIÓN</a:t>
                </a:r>
              </a:p>
            </p:txBody>
          </p:sp>
          <p:sp>
            <p:nvSpPr>
              <p:cNvPr id="31" name="TextBox 206">
                <a:extLst>
                  <a:ext uri="{FF2B5EF4-FFF2-40B4-BE49-F238E27FC236}">
                    <a16:creationId xmlns:a16="http://schemas.microsoft.com/office/drawing/2014/main" id="{ABAFE159-2348-45ED-9722-0636E305CAF8}"/>
                  </a:ext>
                </a:extLst>
              </p:cNvPr>
              <p:cNvSpPr txBox="1"/>
              <p:nvPr/>
            </p:nvSpPr>
            <p:spPr>
              <a:xfrm>
                <a:off x="261396" y="2278442"/>
                <a:ext cx="2196968" cy="247108"/>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377"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1">
                  <a:ln>
                    <a:noFill/>
                  </a:ln>
                  <a:solidFill>
                    <a:srgbClr val="002060"/>
                  </a:solidFill>
                  <a:effectLst/>
                  <a:uLnTx/>
                  <a:uFillTx/>
                  <a:latin typeface="Helvetica"/>
                  <a:ea typeface="+mn-ea"/>
                  <a:cs typeface="+mn-cs"/>
                </a:endParaRPr>
              </a:p>
            </p:txBody>
          </p:sp>
        </p:grpSp>
        <p:sp>
          <p:nvSpPr>
            <p:cNvPr id="28" name="TextBox 205">
              <a:extLst>
                <a:ext uri="{FF2B5EF4-FFF2-40B4-BE49-F238E27FC236}">
                  <a16:creationId xmlns:a16="http://schemas.microsoft.com/office/drawing/2014/main" id="{C2E6FA85-C58D-4ACF-9031-6634885F9353}"/>
                </a:ext>
              </a:extLst>
            </p:cNvPr>
            <p:cNvSpPr txBox="1"/>
            <p:nvPr/>
          </p:nvSpPr>
          <p:spPr>
            <a:xfrm rot="17712000">
              <a:off x="2205778" y="3910290"/>
              <a:ext cx="2397110" cy="52504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2400" b="1" i="0" u="none" strike="noStrike" kern="1200" cap="all" spc="0" normalizeH="0" baseline="0" noProof="1">
                  <a:ln>
                    <a:noFill/>
                  </a:ln>
                  <a:solidFill>
                    <a:srgbClr val="C94E4B"/>
                  </a:solidFill>
                  <a:effectLst/>
                  <a:uLnTx/>
                  <a:uFillTx/>
                  <a:latin typeface="Helvetica"/>
                  <a:ea typeface="+mn-ea"/>
                  <a:cs typeface="+mn-cs"/>
                </a:rPr>
                <a:t>ADAPTACIÓN</a:t>
              </a:r>
            </a:p>
          </p:txBody>
        </p:sp>
        <p:cxnSp>
          <p:nvCxnSpPr>
            <p:cNvPr id="29" name="Conector recto de flecha 28">
              <a:extLst>
                <a:ext uri="{FF2B5EF4-FFF2-40B4-BE49-F238E27FC236}">
                  <a16:creationId xmlns:a16="http://schemas.microsoft.com/office/drawing/2014/main" id="{79B88426-E0C1-4F16-8AA2-5DACE88587FE}"/>
                </a:ext>
              </a:extLst>
            </p:cNvPr>
            <p:cNvCxnSpPr>
              <a:cxnSpLocks/>
            </p:cNvCxnSpPr>
            <p:nvPr/>
          </p:nvCxnSpPr>
          <p:spPr>
            <a:xfrm>
              <a:off x="8054078" y="2275797"/>
              <a:ext cx="100862" cy="3670827"/>
            </a:xfrm>
            <a:prstGeom prst="straightConnector1">
              <a:avLst/>
            </a:prstGeom>
            <a:noFill/>
            <a:ln w="76200" cap="flat" cmpd="sng" algn="ctr">
              <a:solidFill>
                <a:srgbClr val="FFC000"/>
              </a:solidFill>
              <a:prstDash val="dash"/>
              <a:miter lim="800000"/>
              <a:headEnd type="triangle"/>
              <a:tailEnd type="triangle"/>
            </a:ln>
            <a:effectLst/>
          </p:spPr>
        </p:cxnSp>
      </p:grpSp>
    </p:spTree>
    <p:extLst>
      <p:ext uri="{BB962C8B-B14F-4D97-AF65-F5344CB8AC3E}">
        <p14:creationId xmlns:p14="http://schemas.microsoft.com/office/powerpoint/2010/main" val="41847987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umsplatzhalter 7">
            <a:extLst>
              <a:ext uri="{FF2B5EF4-FFF2-40B4-BE49-F238E27FC236}">
                <a16:creationId xmlns:a16="http://schemas.microsoft.com/office/drawing/2014/main" id="{1BDEAAC8-7AF1-4B59-B6C6-7968DEAC9702}"/>
              </a:ext>
            </a:extLst>
          </p:cNvPr>
          <p:cNvSpPr>
            <a:spLocks noGrp="1"/>
          </p:cNvSpPr>
          <p:nvPr>
            <p:ph type="dt" sz="half" idx="10"/>
          </p:nvPr>
        </p:nvSpPr>
        <p:spPr>
          <a:xfrm>
            <a:off x="1379738" y="6475058"/>
            <a:ext cx="2743200" cy="365125"/>
          </a:xfrm>
        </p:spPr>
        <p:txBody>
          <a:bodyPr/>
          <a:lstStyle/>
          <a:p>
            <a:r>
              <a:rPr lang="es-ES" dirty="0"/>
              <a:t>14.02.2019</a:t>
            </a:r>
          </a:p>
        </p:txBody>
      </p:sp>
      <p:sp>
        <p:nvSpPr>
          <p:cNvPr id="9" name="Fußzeilenplatzhalter 8">
            <a:extLst>
              <a:ext uri="{FF2B5EF4-FFF2-40B4-BE49-F238E27FC236}">
                <a16:creationId xmlns:a16="http://schemas.microsoft.com/office/drawing/2014/main" id="{1BEF9E05-563A-4A39-9005-D02CBC237040}"/>
              </a:ext>
            </a:extLst>
          </p:cNvPr>
          <p:cNvSpPr>
            <a:spLocks noGrp="1"/>
          </p:cNvSpPr>
          <p:nvPr>
            <p:ph type="ftr" sz="quarter" idx="11"/>
          </p:nvPr>
        </p:nvSpPr>
        <p:spPr/>
        <p:txBody>
          <a:bodyPr/>
          <a:lstStyle/>
          <a:p>
            <a:r>
              <a:rPr lang="es-ES" dirty="0"/>
              <a:t>Clúster de Cambio Climático | GIZ MX </a:t>
            </a:r>
          </a:p>
        </p:txBody>
      </p:sp>
      <p:sp>
        <p:nvSpPr>
          <p:cNvPr id="10" name="Foliennummernplatzhalter 9">
            <a:extLst>
              <a:ext uri="{FF2B5EF4-FFF2-40B4-BE49-F238E27FC236}">
                <a16:creationId xmlns:a16="http://schemas.microsoft.com/office/drawing/2014/main" id="{DFFDD7F2-C7BA-455F-91D2-374A8599BA6F}"/>
              </a:ext>
            </a:extLst>
          </p:cNvPr>
          <p:cNvSpPr>
            <a:spLocks noGrp="1"/>
          </p:cNvSpPr>
          <p:nvPr>
            <p:ph type="sldNum" sz="quarter" idx="12"/>
          </p:nvPr>
        </p:nvSpPr>
        <p:spPr/>
        <p:txBody>
          <a:bodyPr/>
          <a:lstStyle/>
          <a:p>
            <a:r>
              <a:rPr lang="es-ES"/>
              <a:t>Página </a:t>
            </a:r>
            <a:fld id="{3A8B5DB7-81A8-4ED4-916B-6B23CD603687}" type="slidenum">
              <a:rPr lang="es-ES" smtClean="0"/>
              <a:pPr/>
              <a:t>4</a:t>
            </a:fld>
            <a:endParaRPr lang="es-ES" dirty="0"/>
          </a:p>
        </p:txBody>
      </p:sp>
      <p:sp>
        <p:nvSpPr>
          <p:cNvPr id="2" name="Rectángulo 1">
            <a:extLst>
              <a:ext uri="{FF2B5EF4-FFF2-40B4-BE49-F238E27FC236}">
                <a16:creationId xmlns:a16="http://schemas.microsoft.com/office/drawing/2014/main" id="{ECFC2AC6-E4CA-461B-95F2-268AC0867427}"/>
              </a:ext>
            </a:extLst>
          </p:cNvPr>
          <p:cNvSpPr/>
          <p:nvPr/>
        </p:nvSpPr>
        <p:spPr>
          <a:xfrm>
            <a:off x="10884138" y="6125592"/>
            <a:ext cx="1260000" cy="71021"/>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 name="Rectángulo 2">
            <a:extLst>
              <a:ext uri="{FF2B5EF4-FFF2-40B4-BE49-F238E27FC236}">
                <a16:creationId xmlns:a16="http://schemas.microsoft.com/office/drawing/2014/main" id="{B964C7BA-654A-4EBC-A52E-FEDBEB5A1380}"/>
              </a:ext>
            </a:extLst>
          </p:cNvPr>
          <p:cNvSpPr/>
          <p:nvPr/>
        </p:nvSpPr>
        <p:spPr>
          <a:xfrm>
            <a:off x="647700" y="6533302"/>
            <a:ext cx="2743200" cy="2486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46" name="Título 1">
            <a:extLst>
              <a:ext uri="{FF2B5EF4-FFF2-40B4-BE49-F238E27FC236}">
                <a16:creationId xmlns:a16="http://schemas.microsoft.com/office/drawing/2014/main" id="{E9A13941-B3F4-409B-9D93-BE9A12398064}"/>
              </a:ext>
            </a:extLst>
          </p:cNvPr>
          <p:cNvSpPr txBox="1">
            <a:spLocks/>
          </p:cNvSpPr>
          <p:nvPr/>
        </p:nvSpPr>
        <p:spPr>
          <a:xfrm>
            <a:off x="487681" y="233899"/>
            <a:ext cx="8953500" cy="1205057"/>
          </a:xfrm>
          <a:prstGeom prst="rect">
            <a:avLst/>
          </a:prstGeom>
        </p:spPr>
        <p:txBody>
          <a:bodyPr vert="horz" lIns="91440" tIns="45720" rIns="91440" bIns="45720" rtlCol="0" anchor="ctr">
            <a:noAutofit/>
          </a:bodyPr>
          <a:lstStyle>
            <a:lvl1pPr algn="l" defTabSz="914377" rtl="0" eaLnBrk="1" latinLnBrk="0" hangingPunct="1">
              <a:lnSpc>
                <a:spcPct val="90000"/>
              </a:lnSpc>
              <a:spcBef>
                <a:spcPct val="0"/>
              </a:spcBef>
              <a:buNone/>
              <a:defRPr sz="3400" b="1" kern="1200">
                <a:solidFill>
                  <a:schemeClr val="tx1">
                    <a:lumMod val="50000"/>
                    <a:lumOff val="50000"/>
                  </a:schemeClr>
                </a:solidFill>
                <a:latin typeface="GIZ Gravur TT Cond" panose="02010506010101020102" pitchFamily="2" charset="0"/>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s-ES" sz="3400" b="1" i="0" u="none" strike="noStrike" kern="1200" cap="none" spc="0" normalizeH="0" baseline="0" noProof="0" dirty="0">
                <a:ln>
                  <a:noFill/>
                </a:ln>
                <a:solidFill>
                  <a:sysClr val="windowText" lastClr="000000">
                    <a:lumMod val="50000"/>
                    <a:lumOff val="50000"/>
                  </a:sysClr>
                </a:solidFill>
                <a:effectLst/>
                <a:uLnTx/>
                <a:uFillTx/>
                <a:latin typeface="GIZ Gravur TT Cond" panose="02010506010101020102" pitchFamily="2" charset="0"/>
                <a:ea typeface="+mj-ea"/>
                <a:cs typeface="+mj-cs"/>
              </a:rPr>
              <a:t>Nuestro abordaje </a:t>
            </a:r>
          </a:p>
        </p:txBody>
      </p:sp>
      <p:sp>
        <p:nvSpPr>
          <p:cNvPr id="11" name="Marcador de contenido 4">
            <a:extLst>
              <a:ext uri="{FF2B5EF4-FFF2-40B4-BE49-F238E27FC236}">
                <a16:creationId xmlns:a16="http://schemas.microsoft.com/office/drawing/2014/main" id="{22B2F870-5255-4498-9EBD-F3B25BAD1172}"/>
              </a:ext>
            </a:extLst>
          </p:cNvPr>
          <p:cNvSpPr txBox="1">
            <a:spLocks/>
          </p:cNvSpPr>
          <p:nvPr/>
        </p:nvSpPr>
        <p:spPr>
          <a:xfrm>
            <a:off x="582173" y="1572768"/>
            <a:ext cx="9600918" cy="42392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s-MX" sz="2200" dirty="0">
                <a:solidFill>
                  <a:schemeClr val="tx1">
                    <a:lumMod val="65000"/>
                    <a:lumOff val="35000"/>
                  </a:schemeClr>
                </a:solidFill>
                <a:latin typeface="GIZ Gravur TT Cond" panose="02010506010101020102"/>
              </a:rPr>
              <a:t>Basado en la planeación conjunta SEMARNAT-GIZ, es posible:</a:t>
            </a:r>
          </a:p>
          <a:p>
            <a:pPr marL="0" indent="0">
              <a:buFont typeface="Arial" panose="020B0604020202020204" pitchFamily="34" charset="0"/>
              <a:buNone/>
            </a:pPr>
            <a:endParaRPr lang="es-MX" sz="2200" dirty="0">
              <a:solidFill>
                <a:schemeClr val="tx1">
                  <a:lumMod val="65000"/>
                  <a:lumOff val="35000"/>
                </a:schemeClr>
              </a:solidFill>
              <a:latin typeface="GIZ Gravur TT Cond" panose="02010506010101020102"/>
            </a:endParaRPr>
          </a:p>
          <a:p>
            <a:r>
              <a:rPr lang="es-MX" sz="2200" b="1" dirty="0">
                <a:solidFill>
                  <a:schemeClr val="tx1">
                    <a:lumMod val="65000"/>
                    <a:lumOff val="35000"/>
                  </a:schemeClr>
                </a:solidFill>
                <a:latin typeface="GIZ Gravur TT Cond" panose="02010506010101020102"/>
              </a:rPr>
              <a:t>Movilizar conocimiento especializado </a:t>
            </a:r>
            <a:r>
              <a:rPr lang="es-MX" sz="2200" dirty="0">
                <a:solidFill>
                  <a:schemeClr val="tx1">
                    <a:lumMod val="65000"/>
                    <a:lumOff val="35000"/>
                  </a:schemeClr>
                </a:solidFill>
                <a:latin typeface="GIZ Gravur TT Cond" panose="02010506010101020102"/>
              </a:rPr>
              <a:t>mediante la contratación de expertos/as nacionales e internacionales </a:t>
            </a:r>
          </a:p>
          <a:p>
            <a:r>
              <a:rPr lang="es-MX" sz="2200" dirty="0">
                <a:solidFill>
                  <a:schemeClr val="tx1">
                    <a:lumMod val="65000"/>
                    <a:lumOff val="35000"/>
                  </a:schemeClr>
                </a:solidFill>
                <a:latin typeface="GIZ Gravur TT Cond" panose="02010506010101020102"/>
              </a:rPr>
              <a:t>Organizar capacitaciones y coordinar </a:t>
            </a:r>
            <a:r>
              <a:rPr lang="es-MX" sz="2200" b="1" dirty="0">
                <a:solidFill>
                  <a:schemeClr val="tx1">
                    <a:lumMod val="65000"/>
                    <a:lumOff val="35000"/>
                  </a:schemeClr>
                </a:solidFill>
                <a:latin typeface="GIZ Gravur TT Cond" panose="02010506010101020102"/>
              </a:rPr>
              <a:t>procesos de aprendizaje sobre temas estratégicos</a:t>
            </a:r>
            <a:endParaRPr lang="es-MX" sz="2200" dirty="0">
              <a:solidFill>
                <a:schemeClr val="tx1">
                  <a:lumMod val="65000"/>
                  <a:lumOff val="35000"/>
                </a:schemeClr>
              </a:solidFill>
              <a:latin typeface="GIZ Gravur TT Cond" panose="02010506010101020102"/>
            </a:endParaRPr>
          </a:p>
          <a:p>
            <a:r>
              <a:rPr lang="es-MX" sz="2200" dirty="0">
                <a:solidFill>
                  <a:schemeClr val="tx1">
                    <a:lumMod val="65000"/>
                    <a:lumOff val="35000"/>
                  </a:schemeClr>
                </a:solidFill>
                <a:latin typeface="GIZ Gravur TT Cond" panose="02010506010101020102"/>
              </a:rPr>
              <a:t>Facilitar </a:t>
            </a:r>
            <a:r>
              <a:rPr lang="es-MX" sz="2200" b="1" dirty="0">
                <a:solidFill>
                  <a:schemeClr val="tx1">
                    <a:lumMod val="65000"/>
                    <a:lumOff val="35000"/>
                  </a:schemeClr>
                </a:solidFill>
                <a:latin typeface="GIZ Gravur TT Cond" panose="02010506010101020102"/>
              </a:rPr>
              <a:t>diálogos entre actores e instituciones </a:t>
            </a:r>
            <a:r>
              <a:rPr lang="es-MX" sz="2200" dirty="0">
                <a:solidFill>
                  <a:schemeClr val="tx1">
                    <a:lumMod val="65000"/>
                    <a:lumOff val="35000"/>
                  </a:schemeClr>
                </a:solidFill>
                <a:latin typeface="GIZ Gravur TT Cond" panose="02010506010101020102"/>
              </a:rPr>
              <a:t>(talleres, viajes internacionales de intercambio)</a:t>
            </a:r>
            <a:endParaRPr lang="es-ES" sz="2200" dirty="0">
              <a:solidFill>
                <a:schemeClr val="tx1">
                  <a:lumMod val="65000"/>
                  <a:lumOff val="35000"/>
                </a:schemeClr>
              </a:solidFill>
              <a:latin typeface="GIZ Gravur TT Cond" panose="02010506010101020102"/>
            </a:endParaRPr>
          </a:p>
          <a:p>
            <a:r>
              <a:rPr lang="es-ES" sz="2200" dirty="0">
                <a:solidFill>
                  <a:schemeClr val="tx1">
                    <a:lumMod val="65000"/>
                    <a:lumOff val="35000"/>
                  </a:schemeClr>
                </a:solidFill>
                <a:latin typeface="GIZ Gravur TT Cond" panose="02010506010101020102"/>
              </a:rPr>
              <a:t>Impulsar </a:t>
            </a:r>
            <a:r>
              <a:rPr lang="es-ES" sz="2200" b="1" dirty="0">
                <a:solidFill>
                  <a:schemeClr val="tx1">
                    <a:lumMod val="65000"/>
                    <a:lumOff val="35000"/>
                  </a:schemeClr>
                </a:solidFill>
                <a:latin typeface="GIZ Gravur TT Cond" panose="02010506010101020102"/>
              </a:rPr>
              <a:t>estudios especializados </a:t>
            </a:r>
            <a:r>
              <a:rPr lang="es-ES" sz="2200" dirty="0">
                <a:solidFill>
                  <a:schemeClr val="tx1">
                    <a:lumMod val="65000"/>
                    <a:lumOff val="35000"/>
                  </a:schemeClr>
                </a:solidFill>
                <a:latin typeface="GIZ Gravur TT Cond" panose="02010506010101020102"/>
              </a:rPr>
              <a:t>para generar información clave sobre los procesos a implementar</a:t>
            </a:r>
          </a:p>
          <a:p>
            <a:r>
              <a:rPr lang="es-ES" sz="2200" dirty="0">
                <a:solidFill>
                  <a:schemeClr val="tx1">
                    <a:lumMod val="65000"/>
                    <a:lumOff val="35000"/>
                  </a:schemeClr>
                </a:solidFill>
                <a:latin typeface="GIZ Gravur TT Cond" panose="02010506010101020102"/>
              </a:rPr>
              <a:t>Coordinación de esfuerzos con otros proyectos dentro de la GIZ (</a:t>
            </a:r>
            <a:r>
              <a:rPr lang="es-ES" sz="2200" b="1" dirty="0">
                <a:solidFill>
                  <a:schemeClr val="tx1">
                    <a:lumMod val="65000"/>
                    <a:lumOff val="35000"/>
                  </a:schemeClr>
                </a:solidFill>
                <a:latin typeface="GIZ Gravur TT Cond" panose="02010506010101020102"/>
              </a:rPr>
              <a:t>globales y regionales</a:t>
            </a:r>
            <a:r>
              <a:rPr lang="es-ES" sz="2200" dirty="0">
                <a:solidFill>
                  <a:schemeClr val="tx1">
                    <a:lumMod val="65000"/>
                    <a:lumOff val="35000"/>
                  </a:schemeClr>
                </a:solidFill>
                <a:latin typeface="GIZ Gravur TT Cond" panose="02010506010101020102"/>
              </a:rPr>
              <a:t>), especialmente</a:t>
            </a:r>
            <a:r>
              <a:rPr lang="es-ES" sz="2200" b="1" dirty="0">
                <a:solidFill>
                  <a:schemeClr val="tx1">
                    <a:lumMod val="65000"/>
                    <a:lumOff val="35000"/>
                  </a:schemeClr>
                </a:solidFill>
                <a:latin typeface="GIZ Gravur TT Cond" panose="02010506010101020102"/>
              </a:rPr>
              <a:t> ADAPTUR, </a:t>
            </a:r>
            <a:r>
              <a:rPr lang="es-ES" sz="2200" b="1" dirty="0" err="1">
                <a:solidFill>
                  <a:schemeClr val="tx1">
                    <a:lumMod val="65000"/>
                    <a:lumOff val="35000"/>
                  </a:schemeClr>
                </a:solidFill>
                <a:latin typeface="GIZ Gravur TT Cond" panose="02010506010101020102"/>
              </a:rPr>
              <a:t>SiCEM</a:t>
            </a:r>
            <a:r>
              <a:rPr lang="es-ES" sz="2200" b="1" dirty="0">
                <a:solidFill>
                  <a:schemeClr val="tx1">
                    <a:lumMod val="65000"/>
                    <a:lumOff val="35000"/>
                  </a:schemeClr>
                </a:solidFill>
                <a:latin typeface="GIZ Gravur TT Cond" panose="02010506010101020102"/>
              </a:rPr>
              <a:t>, SPIPA, NACAG, WACLIM</a:t>
            </a:r>
            <a:endParaRPr lang="es-MX" sz="2200" dirty="0">
              <a:solidFill>
                <a:schemeClr val="tx1">
                  <a:lumMod val="65000"/>
                  <a:lumOff val="35000"/>
                </a:schemeClr>
              </a:solidFill>
              <a:latin typeface="GIZ Gravur TT Cond" panose="02010506010101020102"/>
            </a:endParaRPr>
          </a:p>
        </p:txBody>
      </p:sp>
    </p:spTree>
    <p:extLst>
      <p:ext uri="{BB962C8B-B14F-4D97-AF65-F5344CB8AC3E}">
        <p14:creationId xmlns:p14="http://schemas.microsoft.com/office/powerpoint/2010/main" val="254805775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umsplatzhalter 7">
            <a:extLst>
              <a:ext uri="{FF2B5EF4-FFF2-40B4-BE49-F238E27FC236}">
                <a16:creationId xmlns:a16="http://schemas.microsoft.com/office/drawing/2014/main" id="{1BDEAAC8-7AF1-4B59-B6C6-7968DEAC9702}"/>
              </a:ext>
            </a:extLst>
          </p:cNvPr>
          <p:cNvSpPr>
            <a:spLocks noGrp="1"/>
          </p:cNvSpPr>
          <p:nvPr>
            <p:ph type="dt" sz="half" idx="10"/>
          </p:nvPr>
        </p:nvSpPr>
        <p:spPr>
          <a:xfrm>
            <a:off x="1379738" y="6475058"/>
            <a:ext cx="2743200" cy="365125"/>
          </a:xfrm>
        </p:spPr>
        <p:txBody>
          <a:bodyPr/>
          <a:lstStyle/>
          <a:p>
            <a:r>
              <a:rPr lang="es-ES" dirty="0"/>
              <a:t>14.02.2019</a:t>
            </a:r>
          </a:p>
        </p:txBody>
      </p:sp>
      <p:sp>
        <p:nvSpPr>
          <p:cNvPr id="9" name="Fußzeilenplatzhalter 8">
            <a:extLst>
              <a:ext uri="{FF2B5EF4-FFF2-40B4-BE49-F238E27FC236}">
                <a16:creationId xmlns:a16="http://schemas.microsoft.com/office/drawing/2014/main" id="{1BEF9E05-563A-4A39-9005-D02CBC237040}"/>
              </a:ext>
            </a:extLst>
          </p:cNvPr>
          <p:cNvSpPr>
            <a:spLocks noGrp="1"/>
          </p:cNvSpPr>
          <p:nvPr>
            <p:ph type="ftr" sz="quarter" idx="11"/>
          </p:nvPr>
        </p:nvSpPr>
        <p:spPr/>
        <p:txBody>
          <a:bodyPr/>
          <a:lstStyle/>
          <a:p>
            <a:r>
              <a:rPr lang="es-ES" dirty="0"/>
              <a:t>Clúster de Cambio Climático | GIZ MX </a:t>
            </a:r>
          </a:p>
        </p:txBody>
      </p:sp>
      <p:sp>
        <p:nvSpPr>
          <p:cNvPr id="10" name="Foliennummernplatzhalter 9">
            <a:extLst>
              <a:ext uri="{FF2B5EF4-FFF2-40B4-BE49-F238E27FC236}">
                <a16:creationId xmlns:a16="http://schemas.microsoft.com/office/drawing/2014/main" id="{DFFDD7F2-C7BA-455F-91D2-374A8599BA6F}"/>
              </a:ext>
            </a:extLst>
          </p:cNvPr>
          <p:cNvSpPr>
            <a:spLocks noGrp="1"/>
          </p:cNvSpPr>
          <p:nvPr>
            <p:ph type="sldNum" sz="quarter" idx="12"/>
          </p:nvPr>
        </p:nvSpPr>
        <p:spPr/>
        <p:txBody>
          <a:bodyPr/>
          <a:lstStyle/>
          <a:p>
            <a:r>
              <a:rPr lang="es-ES"/>
              <a:t>Página </a:t>
            </a:r>
            <a:fld id="{3A8B5DB7-81A8-4ED4-916B-6B23CD603687}" type="slidenum">
              <a:rPr lang="es-ES" smtClean="0"/>
              <a:pPr/>
              <a:t>5</a:t>
            </a:fld>
            <a:endParaRPr lang="es-ES" dirty="0"/>
          </a:p>
        </p:txBody>
      </p:sp>
      <p:sp>
        <p:nvSpPr>
          <p:cNvPr id="2" name="Rectángulo 1">
            <a:extLst>
              <a:ext uri="{FF2B5EF4-FFF2-40B4-BE49-F238E27FC236}">
                <a16:creationId xmlns:a16="http://schemas.microsoft.com/office/drawing/2014/main" id="{ECFC2AC6-E4CA-461B-95F2-268AC0867427}"/>
              </a:ext>
            </a:extLst>
          </p:cNvPr>
          <p:cNvSpPr/>
          <p:nvPr/>
        </p:nvSpPr>
        <p:spPr>
          <a:xfrm>
            <a:off x="10884138" y="6125592"/>
            <a:ext cx="1260000" cy="71021"/>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 name="Rectángulo 2">
            <a:extLst>
              <a:ext uri="{FF2B5EF4-FFF2-40B4-BE49-F238E27FC236}">
                <a16:creationId xmlns:a16="http://schemas.microsoft.com/office/drawing/2014/main" id="{B964C7BA-654A-4EBC-A52E-FEDBEB5A1380}"/>
              </a:ext>
            </a:extLst>
          </p:cNvPr>
          <p:cNvSpPr/>
          <p:nvPr/>
        </p:nvSpPr>
        <p:spPr>
          <a:xfrm>
            <a:off x="647700" y="6533302"/>
            <a:ext cx="2743200" cy="2486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pic>
        <p:nvPicPr>
          <p:cNvPr id="11" name="Imagen 10">
            <a:extLst>
              <a:ext uri="{FF2B5EF4-FFF2-40B4-BE49-F238E27FC236}">
                <a16:creationId xmlns:a16="http://schemas.microsoft.com/office/drawing/2014/main" id="{ED56E831-28E5-488A-83C6-BBA5BDBE3F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8514" y="5857048"/>
            <a:ext cx="8100975" cy="256032"/>
          </a:xfrm>
          <a:prstGeom prst="rect">
            <a:avLst/>
          </a:prstGeom>
        </p:spPr>
      </p:pic>
      <p:grpSp>
        <p:nvGrpSpPr>
          <p:cNvPr id="12" name="Grupo 11">
            <a:extLst>
              <a:ext uri="{FF2B5EF4-FFF2-40B4-BE49-F238E27FC236}">
                <a16:creationId xmlns:a16="http://schemas.microsoft.com/office/drawing/2014/main" id="{D6D8A6BA-60DD-4DCF-A3BB-20825B75FF91}"/>
              </a:ext>
            </a:extLst>
          </p:cNvPr>
          <p:cNvGrpSpPr/>
          <p:nvPr/>
        </p:nvGrpSpPr>
        <p:grpSpPr>
          <a:xfrm>
            <a:off x="3864181" y="1409455"/>
            <a:ext cx="4406363" cy="4378649"/>
            <a:chOff x="3864182" y="1875065"/>
            <a:chExt cx="4406362" cy="4378649"/>
          </a:xfrm>
        </p:grpSpPr>
        <p:pic>
          <p:nvPicPr>
            <p:cNvPr id="13" name="Imagen 12">
              <a:extLst>
                <a:ext uri="{FF2B5EF4-FFF2-40B4-BE49-F238E27FC236}">
                  <a16:creationId xmlns:a16="http://schemas.microsoft.com/office/drawing/2014/main" id="{C09B90D4-5770-4630-99F0-C8BA04F48A0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64182" y="1875065"/>
              <a:ext cx="4406362" cy="4378649"/>
            </a:xfrm>
            <a:prstGeom prst="rect">
              <a:avLst/>
            </a:prstGeom>
          </p:spPr>
        </p:pic>
        <p:grpSp>
          <p:nvGrpSpPr>
            <p:cNvPr id="14" name="Grupo 13">
              <a:extLst>
                <a:ext uri="{FF2B5EF4-FFF2-40B4-BE49-F238E27FC236}">
                  <a16:creationId xmlns:a16="http://schemas.microsoft.com/office/drawing/2014/main" id="{217E0333-314F-4583-90B8-7E2C96865384}"/>
                </a:ext>
              </a:extLst>
            </p:cNvPr>
            <p:cNvGrpSpPr/>
            <p:nvPr/>
          </p:nvGrpSpPr>
          <p:grpSpPr>
            <a:xfrm>
              <a:off x="4138613" y="2613025"/>
              <a:ext cx="3884612" cy="2955926"/>
              <a:chOff x="4138613" y="2613025"/>
              <a:chExt cx="3884612" cy="2955926"/>
            </a:xfrm>
          </p:grpSpPr>
          <p:sp>
            <p:nvSpPr>
              <p:cNvPr id="15" name="AutoShape 3">
                <a:extLst>
                  <a:ext uri="{FF2B5EF4-FFF2-40B4-BE49-F238E27FC236}">
                    <a16:creationId xmlns:a16="http://schemas.microsoft.com/office/drawing/2014/main" id="{53CA9A95-98C2-4237-A0A6-A2553C7241B6}"/>
                  </a:ext>
                </a:extLst>
              </p:cNvPr>
              <p:cNvSpPr>
                <a:spLocks noChangeAspect="1" noChangeArrowheads="1" noTextEdit="1"/>
              </p:cNvSpPr>
              <p:nvPr/>
            </p:nvSpPr>
            <p:spPr bwMode="auto">
              <a:xfrm>
                <a:off x="4138613" y="2613025"/>
                <a:ext cx="3884612" cy="295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s-ES">
                  <a:solidFill>
                    <a:prstClr val="black"/>
                  </a:solidFill>
                  <a:latin typeface="Helvetica"/>
                </a:endParaRPr>
              </a:p>
            </p:txBody>
          </p:sp>
          <p:sp>
            <p:nvSpPr>
              <p:cNvPr id="16" name="Freeform 5">
                <a:extLst>
                  <a:ext uri="{FF2B5EF4-FFF2-40B4-BE49-F238E27FC236}">
                    <a16:creationId xmlns:a16="http://schemas.microsoft.com/office/drawing/2014/main" id="{1EC60515-C322-4DFB-9656-E57DF4C9B5EC}"/>
                  </a:ext>
                </a:extLst>
              </p:cNvPr>
              <p:cNvSpPr>
                <a:spLocks/>
              </p:cNvSpPr>
              <p:nvPr/>
            </p:nvSpPr>
            <p:spPr bwMode="auto">
              <a:xfrm>
                <a:off x="5183188" y="3192463"/>
                <a:ext cx="1795462" cy="1797050"/>
              </a:xfrm>
              <a:custGeom>
                <a:avLst/>
                <a:gdLst>
                  <a:gd name="T0" fmla="*/ 3556 w 7921"/>
                  <a:gd name="T1" fmla="*/ 20 h 7924"/>
                  <a:gd name="T2" fmla="*/ 2971 w 7921"/>
                  <a:gd name="T3" fmla="*/ 125 h 7924"/>
                  <a:gd name="T4" fmla="*/ 2419 w 7921"/>
                  <a:gd name="T5" fmla="*/ 311 h 7924"/>
                  <a:gd name="T6" fmla="*/ 1907 w 7921"/>
                  <a:gd name="T7" fmla="*/ 574 h 7924"/>
                  <a:gd name="T8" fmla="*/ 1441 w 7921"/>
                  <a:gd name="T9" fmla="*/ 905 h 7924"/>
                  <a:gd name="T10" fmla="*/ 1029 w 7921"/>
                  <a:gd name="T11" fmla="*/ 1298 h 7924"/>
                  <a:gd name="T12" fmla="*/ 677 w 7921"/>
                  <a:gd name="T13" fmla="*/ 1747 h 7924"/>
                  <a:gd name="T14" fmla="*/ 391 w 7921"/>
                  <a:gd name="T15" fmla="*/ 2244 h 7924"/>
                  <a:gd name="T16" fmla="*/ 179 w 7921"/>
                  <a:gd name="T17" fmla="*/ 2784 h 7924"/>
                  <a:gd name="T18" fmla="*/ 47 w 7921"/>
                  <a:gd name="T19" fmla="*/ 3359 h 7924"/>
                  <a:gd name="T20" fmla="*/ 0 w 7921"/>
                  <a:gd name="T21" fmla="*/ 3962 h 7924"/>
                  <a:gd name="T22" fmla="*/ 47 w 7921"/>
                  <a:gd name="T23" fmla="*/ 4565 h 7924"/>
                  <a:gd name="T24" fmla="*/ 179 w 7921"/>
                  <a:gd name="T25" fmla="*/ 5140 h 7924"/>
                  <a:gd name="T26" fmla="*/ 391 w 7921"/>
                  <a:gd name="T27" fmla="*/ 5680 h 7924"/>
                  <a:gd name="T28" fmla="*/ 677 w 7921"/>
                  <a:gd name="T29" fmla="*/ 6177 h 7924"/>
                  <a:gd name="T30" fmla="*/ 1029 w 7921"/>
                  <a:gd name="T31" fmla="*/ 6626 h 7924"/>
                  <a:gd name="T32" fmla="*/ 1441 w 7921"/>
                  <a:gd name="T33" fmla="*/ 7019 h 7924"/>
                  <a:gd name="T34" fmla="*/ 1907 w 7921"/>
                  <a:gd name="T35" fmla="*/ 7350 h 7924"/>
                  <a:gd name="T36" fmla="*/ 2419 w 7921"/>
                  <a:gd name="T37" fmla="*/ 7613 h 7924"/>
                  <a:gd name="T38" fmla="*/ 2971 w 7921"/>
                  <a:gd name="T39" fmla="*/ 7799 h 7924"/>
                  <a:gd name="T40" fmla="*/ 3556 w 7921"/>
                  <a:gd name="T41" fmla="*/ 7904 h 7924"/>
                  <a:gd name="T42" fmla="*/ 4164 w 7921"/>
                  <a:gd name="T43" fmla="*/ 7919 h 7924"/>
                  <a:gd name="T44" fmla="*/ 4758 w 7921"/>
                  <a:gd name="T45" fmla="*/ 7844 h 7924"/>
                  <a:gd name="T46" fmla="*/ 5322 w 7921"/>
                  <a:gd name="T47" fmla="*/ 7683 h 7924"/>
                  <a:gd name="T48" fmla="*/ 5848 w 7921"/>
                  <a:gd name="T49" fmla="*/ 7445 h 7924"/>
                  <a:gd name="T50" fmla="*/ 6330 w 7921"/>
                  <a:gd name="T51" fmla="*/ 7137 h 7924"/>
                  <a:gd name="T52" fmla="*/ 6760 w 7921"/>
                  <a:gd name="T53" fmla="*/ 6763 h 7924"/>
                  <a:gd name="T54" fmla="*/ 7134 w 7921"/>
                  <a:gd name="T55" fmla="*/ 6332 h 7924"/>
                  <a:gd name="T56" fmla="*/ 7442 w 7921"/>
                  <a:gd name="T57" fmla="*/ 5850 h 7924"/>
                  <a:gd name="T58" fmla="*/ 7680 w 7921"/>
                  <a:gd name="T59" fmla="*/ 5325 h 7924"/>
                  <a:gd name="T60" fmla="*/ 7839 w 7921"/>
                  <a:gd name="T61" fmla="*/ 4760 h 7924"/>
                  <a:gd name="T62" fmla="*/ 7915 w 7921"/>
                  <a:gd name="T63" fmla="*/ 4166 h 7924"/>
                  <a:gd name="T64" fmla="*/ 7899 w 7921"/>
                  <a:gd name="T65" fmla="*/ 3557 h 7924"/>
                  <a:gd name="T66" fmla="*/ 7795 w 7921"/>
                  <a:gd name="T67" fmla="*/ 2972 h 7924"/>
                  <a:gd name="T68" fmla="*/ 7609 w 7921"/>
                  <a:gd name="T69" fmla="*/ 2420 h 7924"/>
                  <a:gd name="T70" fmla="*/ 7347 w 7921"/>
                  <a:gd name="T71" fmla="*/ 1907 h 7924"/>
                  <a:gd name="T72" fmla="*/ 7016 w 7921"/>
                  <a:gd name="T73" fmla="*/ 1442 h 7924"/>
                  <a:gd name="T74" fmla="*/ 6623 w 7921"/>
                  <a:gd name="T75" fmla="*/ 1029 h 7924"/>
                  <a:gd name="T76" fmla="*/ 6174 w 7921"/>
                  <a:gd name="T77" fmla="*/ 677 h 7924"/>
                  <a:gd name="T78" fmla="*/ 5677 w 7921"/>
                  <a:gd name="T79" fmla="*/ 391 h 7924"/>
                  <a:gd name="T80" fmla="*/ 5138 w 7921"/>
                  <a:gd name="T81" fmla="*/ 179 h 7924"/>
                  <a:gd name="T82" fmla="*/ 4563 w 7921"/>
                  <a:gd name="T83" fmla="*/ 46 h 7924"/>
                  <a:gd name="T84" fmla="*/ 3961 w 7921"/>
                  <a:gd name="T85" fmla="*/ 0 h 7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921" h="7924">
                    <a:moveTo>
                      <a:pt x="3961" y="0"/>
                    </a:moveTo>
                    <a:lnTo>
                      <a:pt x="3757" y="5"/>
                    </a:lnTo>
                    <a:lnTo>
                      <a:pt x="3556" y="20"/>
                    </a:lnTo>
                    <a:lnTo>
                      <a:pt x="3358" y="46"/>
                    </a:lnTo>
                    <a:lnTo>
                      <a:pt x="3163" y="80"/>
                    </a:lnTo>
                    <a:lnTo>
                      <a:pt x="2971" y="125"/>
                    </a:lnTo>
                    <a:lnTo>
                      <a:pt x="2783" y="179"/>
                    </a:lnTo>
                    <a:lnTo>
                      <a:pt x="2599" y="241"/>
                    </a:lnTo>
                    <a:lnTo>
                      <a:pt x="2419" y="311"/>
                    </a:lnTo>
                    <a:lnTo>
                      <a:pt x="2244" y="391"/>
                    </a:lnTo>
                    <a:lnTo>
                      <a:pt x="2073" y="479"/>
                    </a:lnTo>
                    <a:lnTo>
                      <a:pt x="1907" y="574"/>
                    </a:lnTo>
                    <a:lnTo>
                      <a:pt x="1747" y="677"/>
                    </a:lnTo>
                    <a:lnTo>
                      <a:pt x="1591" y="787"/>
                    </a:lnTo>
                    <a:lnTo>
                      <a:pt x="1441" y="905"/>
                    </a:lnTo>
                    <a:lnTo>
                      <a:pt x="1298" y="1029"/>
                    </a:lnTo>
                    <a:lnTo>
                      <a:pt x="1161" y="1161"/>
                    </a:lnTo>
                    <a:lnTo>
                      <a:pt x="1029" y="1298"/>
                    </a:lnTo>
                    <a:lnTo>
                      <a:pt x="905" y="1442"/>
                    </a:lnTo>
                    <a:lnTo>
                      <a:pt x="787" y="1592"/>
                    </a:lnTo>
                    <a:lnTo>
                      <a:pt x="677" y="1747"/>
                    </a:lnTo>
                    <a:lnTo>
                      <a:pt x="574" y="1907"/>
                    </a:lnTo>
                    <a:lnTo>
                      <a:pt x="479" y="2074"/>
                    </a:lnTo>
                    <a:lnTo>
                      <a:pt x="391" y="2244"/>
                    </a:lnTo>
                    <a:lnTo>
                      <a:pt x="312" y="2420"/>
                    </a:lnTo>
                    <a:lnTo>
                      <a:pt x="241" y="2599"/>
                    </a:lnTo>
                    <a:lnTo>
                      <a:pt x="179" y="2784"/>
                    </a:lnTo>
                    <a:lnTo>
                      <a:pt x="126" y="2972"/>
                    </a:lnTo>
                    <a:lnTo>
                      <a:pt x="82" y="3164"/>
                    </a:lnTo>
                    <a:lnTo>
                      <a:pt x="47" y="3359"/>
                    </a:lnTo>
                    <a:lnTo>
                      <a:pt x="22" y="3557"/>
                    </a:lnTo>
                    <a:lnTo>
                      <a:pt x="6" y="3758"/>
                    </a:lnTo>
                    <a:lnTo>
                      <a:pt x="0" y="3962"/>
                    </a:lnTo>
                    <a:lnTo>
                      <a:pt x="6" y="4166"/>
                    </a:lnTo>
                    <a:lnTo>
                      <a:pt x="22" y="4367"/>
                    </a:lnTo>
                    <a:lnTo>
                      <a:pt x="47" y="4565"/>
                    </a:lnTo>
                    <a:lnTo>
                      <a:pt x="82" y="4760"/>
                    </a:lnTo>
                    <a:lnTo>
                      <a:pt x="126" y="4952"/>
                    </a:lnTo>
                    <a:lnTo>
                      <a:pt x="179" y="5140"/>
                    </a:lnTo>
                    <a:lnTo>
                      <a:pt x="241" y="5325"/>
                    </a:lnTo>
                    <a:lnTo>
                      <a:pt x="312" y="5504"/>
                    </a:lnTo>
                    <a:lnTo>
                      <a:pt x="391" y="5680"/>
                    </a:lnTo>
                    <a:lnTo>
                      <a:pt x="479" y="5850"/>
                    </a:lnTo>
                    <a:lnTo>
                      <a:pt x="574" y="6017"/>
                    </a:lnTo>
                    <a:lnTo>
                      <a:pt x="677" y="6177"/>
                    </a:lnTo>
                    <a:lnTo>
                      <a:pt x="787" y="6332"/>
                    </a:lnTo>
                    <a:lnTo>
                      <a:pt x="905" y="6482"/>
                    </a:lnTo>
                    <a:lnTo>
                      <a:pt x="1029" y="6626"/>
                    </a:lnTo>
                    <a:lnTo>
                      <a:pt x="1161" y="6763"/>
                    </a:lnTo>
                    <a:lnTo>
                      <a:pt x="1298" y="6895"/>
                    </a:lnTo>
                    <a:lnTo>
                      <a:pt x="1441" y="7019"/>
                    </a:lnTo>
                    <a:lnTo>
                      <a:pt x="1591" y="7137"/>
                    </a:lnTo>
                    <a:lnTo>
                      <a:pt x="1747" y="7247"/>
                    </a:lnTo>
                    <a:lnTo>
                      <a:pt x="1907" y="7350"/>
                    </a:lnTo>
                    <a:lnTo>
                      <a:pt x="2073" y="7445"/>
                    </a:lnTo>
                    <a:lnTo>
                      <a:pt x="2244" y="7533"/>
                    </a:lnTo>
                    <a:lnTo>
                      <a:pt x="2419" y="7613"/>
                    </a:lnTo>
                    <a:lnTo>
                      <a:pt x="2599" y="7683"/>
                    </a:lnTo>
                    <a:lnTo>
                      <a:pt x="2783" y="7745"/>
                    </a:lnTo>
                    <a:lnTo>
                      <a:pt x="2971" y="7799"/>
                    </a:lnTo>
                    <a:lnTo>
                      <a:pt x="3163" y="7844"/>
                    </a:lnTo>
                    <a:lnTo>
                      <a:pt x="3358" y="7878"/>
                    </a:lnTo>
                    <a:lnTo>
                      <a:pt x="3556" y="7904"/>
                    </a:lnTo>
                    <a:lnTo>
                      <a:pt x="3757" y="7919"/>
                    </a:lnTo>
                    <a:lnTo>
                      <a:pt x="3961" y="7924"/>
                    </a:lnTo>
                    <a:lnTo>
                      <a:pt x="4164" y="7919"/>
                    </a:lnTo>
                    <a:lnTo>
                      <a:pt x="4365" y="7904"/>
                    </a:lnTo>
                    <a:lnTo>
                      <a:pt x="4563" y="7878"/>
                    </a:lnTo>
                    <a:lnTo>
                      <a:pt x="4758" y="7844"/>
                    </a:lnTo>
                    <a:lnTo>
                      <a:pt x="4950" y="7799"/>
                    </a:lnTo>
                    <a:lnTo>
                      <a:pt x="5138" y="7745"/>
                    </a:lnTo>
                    <a:lnTo>
                      <a:pt x="5322" y="7683"/>
                    </a:lnTo>
                    <a:lnTo>
                      <a:pt x="5502" y="7613"/>
                    </a:lnTo>
                    <a:lnTo>
                      <a:pt x="5677" y="7533"/>
                    </a:lnTo>
                    <a:lnTo>
                      <a:pt x="5848" y="7445"/>
                    </a:lnTo>
                    <a:lnTo>
                      <a:pt x="6014" y="7350"/>
                    </a:lnTo>
                    <a:lnTo>
                      <a:pt x="6174" y="7247"/>
                    </a:lnTo>
                    <a:lnTo>
                      <a:pt x="6330" y="7137"/>
                    </a:lnTo>
                    <a:lnTo>
                      <a:pt x="6480" y="7019"/>
                    </a:lnTo>
                    <a:lnTo>
                      <a:pt x="6623" y="6895"/>
                    </a:lnTo>
                    <a:lnTo>
                      <a:pt x="6760" y="6763"/>
                    </a:lnTo>
                    <a:lnTo>
                      <a:pt x="6892" y="6626"/>
                    </a:lnTo>
                    <a:lnTo>
                      <a:pt x="7016" y="6482"/>
                    </a:lnTo>
                    <a:lnTo>
                      <a:pt x="7134" y="6332"/>
                    </a:lnTo>
                    <a:lnTo>
                      <a:pt x="7244" y="6177"/>
                    </a:lnTo>
                    <a:lnTo>
                      <a:pt x="7347" y="6017"/>
                    </a:lnTo>
                    <a:lnTo>
                      <a:pt x="7442" y="5850"/>
                    </a:lnTo>
                    <a:lnTo>
                      <a:pt x="7530" y="5680"/>
                    </a:lnTo>
                    <a:lnTo>
                      <a:pt x="7609" y="5504"/>
                    </a:lnTo>
                    <a:lnTo>
                      <a:pt x="7680" y="5325"/>
                    </a:lnTo>
                    <a:lnTo>
                      <a:pt x="7742" y="5140"/>
                    </a:lnTo>
                    <a:lnTo>
                      <a:pt x="7795" y="4952"/>
                    </a:lnTo>
                    <a:lnTo>
                      <a:pt x="7839" y="4760"/>
                    </a:lnTo>
                    <a:lnTo>
                      <a:pt x="7874" y="4565"/>
                    </a:lnTo>
                    <a:lnTo>
                      <a:pt x="7899" y="4367"/>
                    </a:lnTo>
                    <a:lnTo>
                      <a:pt x="7915" y="4166"/>
                    </a:lnTo>
                    <a:lnTo>
                      <a:pt x="7921" y="3962"/>
                    </a:lnTo>
                    <a:lnTo>
                      <a:pt x="7915" y="3758"/>
                    </a:lnTo>
                    <a:lnTo>
                      <a:pt x="7899" y="3557"/>
                    </a:lnTo>
                    <a:lnTo>
                      <a:pt x="7874" y="3359"/>
                    </a:lnTo>
                    <a:lnTo>
                      <a:pt x="7839" y="3164"/>
                    </a:lnTo>
                    <a:lnTo>
                      <a:pt x="7795" y="2972"/>
                    </a:lnTo>
                    <a:lnTo>
                      <a:pt x="7742" y="2784"/>
                    </a:lnTo>
                    <a:lnTo>
                      <a:pt x="7680" y="2599"/>
                    </a:lnTo>
                    <a:lnTo>
                      <a:pt x="7609" y="2420"/>
                    </a:lnTo>
                    <a:lnTo>
                      <a:pt x="7530" y="2244"/>
                    </a:lnTo>
                    <a:lnTo>
                      <a:pt x="7442" y="2074"/>
                    </a:lnTo>
                    <a:lnTo>
                      <a:pt x="7347" y="1907"/>
                    </a:lnTo>
                    <a:lnTo>
                      <a:pt x="7244" y="1747"/>
                    </a:lnTo>
                    <a:lnTo>
                      <a:pt x="7134" y="1592"/>
                    </a:lnTo>
                    <a:lnTo>
                      <a:pt x="7016" y="1442"/>
                    </a:lnTo>
                    <a:lnTo>
                      <a:pt x="6892" y="1298"/>
                    </a:lnTo>
                    <a:lnTo>
                      <a:pt x="6760" y="1161"/>
                    </a:lnTo>
                    <a:lnTo>
                      <a:pt x="6623" y="1029"/>
                    </a:lnTo>
                    <a:lnTo>
                      <a:pt x="6480" y="905"/>
                    </a:lnTo>
                    <a:lnTo>
                      <a:pt x="6330" y="787"/>
                    </a:lnTo>
                    <a:lnTo>
                      <a:pt x="6174" y="677"/>
                    </a:lnTo>
                    <a:lnTo>
                      <a:pt x="6014" y="574"/>
                    </a:lnTo>
                    <a:lnTo>
                      <a:pt x="5848" y="479"/>
                    </a:lnTo>
                    <a:lnTo>
                      <a:pt x="5677" y="391"/>
                    </a:lnTo>
                    <a:lnTo>
                      <a:pt x="5502" y="311"/>
                    </a:lnTo>
                    <a:lnTo>
                      <a:pt x="5322" y="241"/>
                    </a:lnTo>
                    <a:lnTo>
                      <a:pt x="5138" y="179"/>
                    </a:lnTo>
                    <a:lnTo>
                      <a:pt x="4950" y="125"/>
                    </a:lnTo>
                    <a:lnTo>
                      <a:pt x="4758" y="80"/>
                    </a:lnTo>
                    <a:lnTo>
                      <a:pt x="4563" y="46"/>
                    </a:lnTo>
                    <a:lnTo>
                      <a:pt x="4365" y="20"/>
                    </a:lnTo>
                    <a:lnTo>
                      <a:pt x="4164" y="5"/>
                    </a:lnTo>
                    <a:lnTo>
                      <a:pt x="3961" y="0"/>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s-ES">
                  <a:solidFill>
                    <a:prstClr val="black"/>
                  </a:solidFill>
                  <a:latin typeface="Helvetica"/>
                </a:endParaRPr>
              </a:p>
            </p:txBody>
          </p:sp>
          <p:sp>
            <p:nvSpPr>
              <p:cNvPr id="17" name="Freeform 6">
                <a:extLst>
                  <a:ext uri="{FF2B5EF4-FFF2-40B4-BE49-F238E27FC236}">
                    <a16:creationId xmlns:a16="http://schemas.microsoft.com/office/drawing/2014/main" id="{991BBE8D-DE62-4011-8366-0819E0461619}"/>
                  </a:ext>
                </a:extLst>
              </p:cNvPr>
              <p:cNvSpPr>
                <a:spLocks noEditPoints="1"/>
              </p:cNvSpPr>
              <p:nvPr/>
            </p:nvSpPr>
            <p:spPr bwMode="auto">
              <a:xfrm>
                <a:off x="5029200" y="3038475"/>
                <a:ext cx="2103437" cy="2105025"/>
              </a:xfrm>
              <a:custGeom>
                <a:avLst/>
                <a:gdLst>
                  <a:gd name="T0" fmla="*/ 3760 w 9277"/>
                  <a:gd name="T1" fmla="*/ 368 h 9282"/>
                  <a:gd name="T2" fmla="*/ 2844 w 9277"/>
                  <a:gd name="T3" fmla="*/ 665 h 9282"/>
                  <a:gd name="T4" fmla="*/ 2031 w 9277"/>
                  <a:gd name="T5" fmla="*/ 1146 h 9282"/>
                  <a:gd name="T6" fmla="*/ 1342 w 9277"/>
                  <a:gd name="T7" fmla="*/ 1786 h 9282"/>
                  <a:gd name="T8" fmla="*/ 805 w 9277"/>
                  <a:gd name="T9" fmla="*/ 2562 h 9282"/>
                  <a:gd name="T10" fmla="*/ 444 w 9277"/>
                  <a:gd name="T11" fmla="*/ 3447 h 9282"/>
                  <a:gd name="T12" fmla="*/ 285 w 9277"/>
                  <a:gd name="T13" fmla="*/ 4416 h 9282"/>
                  <a:gd name="T14" fmla="*/ 347 w 9277"/>
                  <a:gd name="T15" fmla="*/ 5413 h 9282"/>
                  <a:gd name="T16" fmla="*/ 622 w 9277"/>
                  <a:gd name="T17" fmla="*/ 6339 h 9282"/>
                  <a:gd name="T18" fmla="*/ 1083 w 9277"/>
                  <a:gd name="T19" fmla="*/ 7166 h 9282"/>
                  <a:gd name="T20" fmla="*/ 1707 w 9277"/>
                  <a:gd name="T21" fmla="*/ 7870 h 9282"/>
                  <a:gd name="T22" fmla="*/ 2468 w 9277"/>
                  <a:gd name="T23" fmla="*/ 8425 h 9282"/>
                  <a:gd name="T24" fmla="*/ 3342 w 9277"/>
                  <a:gd name="T25" fmla="*/ 8807 h 9282"/>
                  <a:gd name="T26" fmla="*/ 4303 w 9277"/>
                  <a:gd name="T27" fmla="*/ 8990 h 9282"/>
                  <a:gd name="T28" fmla="*/ 5302 w 9277"/>
                  <a:gd name="T29" fmla="*/ 8952 h 9282"/>
                  <a:gd name="T30" fmla="*/ 6237 w 9277"/>
                  <a:gd name="T31" fmla="*/ 8701 h 9282"/>
                  <a:gd name="T32" fmla="*/ 7076 w 9277"/>
                  <a:gd name="T33" fmla="*/ 8258 h 9282"/>
                  <a:gd name="T34" fmla="*/ 7795 w 9277"/>
                  <a:gd name="T35" fmla="*/ 7651 h 9282"/>
                  <a:gd name="T36" fmla="*/ 8367 w 9277"/>
                  <a:gd name="T37" fmla="*/ 6903 h 9282"/>
                  <a:gd name="T38" fmla="*/ 8769 w 9277"/>
                  <a:gd name="T39" fmla="*/ 6040 h 9282"/>
                  <a:gd name="T40" fmla="*/ 8975 w 9277"/>
                  <a:gd name="T41" fmla="*/ 5087 h 9282"/>
                  <a:gd name="T42" fmla="*/ 8963 w 9277"/>
                  <a:gd name="T43" fmla="*/ 4085 h 9282"/>
                  <a:gd name="T44" fmla="*/ 8733 w 9277"/>
                  <a:gd name="T45" fmla="*/ 3141 h 9282"/>
                  <a:gd name="T46" fmla="*/ 8312 w 9277"/>
                  <a:gd name="T47" fmla="*/ 2290 h 9282"/>
                  <a:gd name="T48" fmla="*/ 7721 w 9277"/>
                  <a:gd name="T49" fmla="*/ 1556 h 9282"/>
                  <a:gd name="T50" fmla="*/ 6988 w 9277"/>
                  <a:gd name="T51" fmla="*/ 966 h 9282"/>
                  <a:gd name="T52" fmla="*/ 6137 w 9277"/>
                  <a:gd name="T53" fmla="*/ 544 h 9282"/>
                  <a:gd name="T54" fmla="*/ 5194 w 9277"/>
                  <a:gd name="T55" fmla="*/ 315 h 9282"/>
                  <a:gd name="T56" fmla="*/ 1602 w 9277"/>
                  <a:gd name="T57" fmla="*/ 1132 h 9282"/>
                  <a:gd name="T58" fmla="*/ 2428 w 9277"/>
                  <a:gd name="T59" fmla="*/ 560 h 9282"/>
                  <a:gd name="T60" fmla="*/ 3369 w 9277"/>
                  <a:gd name="T61" fmla="*/ 175 h 9282"/>
                  <a:gd name="T62" fmla="*/ 4400 w 9277"/>
                  <a:gd name="T63" fmla="*/ 5 h 9282"/>
                  <a:gd name="T64" fmla="*/ 5460 w 9277"/>
                  <a:gd name="T65" fmla="*/ 72 h 9282"/>
                  <a:gd name="T66" fmla="*/ 6445 w 9277"/>
                  <a:gd name="T67" fmla="*/ 364 h 9282"/>
                  <a:gd name="T68" fmla="*/ 7323 w 9277"/>
                  <a:gd name="T69" fmla="*/ 855 h 9282"/>
                  <a:gd name="T70" fmla="*/ 8072 w 9277"/>
                  <a:gd name="T71" fmla="*/ 1520 h 9282"/>
                  <a:gd name="T72" fmla="*/ 8663 w 9277"/>
                  <a:gd name="T73" fmla="*/ 2330 h 9282"/>
                  <a:gd name="T74" fmla="*/ 9068 w 9277"/>
                  <a:gd name="T75" fmla="*/ 3260 h 9282"/>
                  <a:gd name="T76" fmla="*/ 9263 w 9277"/>
                  <a:gd name="T77" fmla="*/ 4284 h 9282"/>
                  <a:gd name="T78" fmla="*/ 9224 w 9277"/>
                  <a:gd name="T79" fmla="*/ 5348 h 9282"/>
                  <a:gd name="T80" fmla="*/ 8956 w 9277"/>
                  <a:gd name="T81" fmla="*/ 6343 h 9282"/>
                  <a:gd name="T82" fmla="*/ 8485 w 9277"/>
                  <a:gd name="T83" fmla="*/ 7236 h 9282"/>
                  <a:gd name="T84" fmla="*/ 7839 w 9277"/>
                  <a:gd name="T85" fmla="*/ 8001 h 9282"/>
                  <a:gd name="T86" fmla="*/ 7044 w 9277"/>
                  <a:gd name="T87" fmla="*/ 8611 h 9282"/>
                  <a:gd name="T88" fmla="*/ 6127 w 9277"/>
                  <a:gd name="T89" fmla="*/ 9038 h 9282"/>
                  <a:gd name="T90" fmla="*/ 5113 w 9277"/>
                  <a:gd name="T91" fmla="*/ 9259 h 9282"/>
                  <a:gd name="T92" fmla="*/ 4048 w 9277"/>
                  <a:gd name="T93" fmla="*/ 9245 h 9282"/>
                  <a:gd name="T94" fmla="*/ 3043 w 9277"/>
                  <a:gd name="T95" fmla="*/ 9001 h 9282"/>
                  <a:gd name="T96" fmla="*/ 2139 w 9277"/>
                  <a:gd name="T97" fmla="*/ 8551 h 9282"/>
                  <a:gd name="T98" fmla="*/ 1358 w 9277"/>
                  <a:gd name="T99" fmla="*/ 7923 h 9282"/>
                  <a:gd name="T100" fmla="*/ 731 w 9277"/>
                  <a:gd name="T101" fmla="*/ 7143 h 9282"/>
                  <a:gd name="T102" fmla="*/ 281 w 9277"/>
                  <a:gd name="T103" fmla="*/ 6237 h 9282"/>
                  <a:gd name="T104" fmla="*/ 37 w 9277"/>
                  <a:gd name="T105" fmla="*/ 5232 h 9282"/>
                  <a:gd name="T106" fmla="*/ 23 w 9277"/>
                  <a:gd name="T107" fmla="*/ 4166 h 9282"/>
                  <a:gd name="T108" fmla="*/ 244 w 9277"/>
                  <a:gd name="T109" fmla="*/ 3152 h 9282"/>
                  <a:gd name="T110" fmla="*/ 671 w 9277"/>
                  <a:gd name="T111" fmla="*/ 2234 h 9282"/>
                  <a:gd name="T112" fmla="*/ 1280 w 9277"/>
                  <a:gd name="T113" fmla="*/ 1438 h 9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77" h="9282">
                    <a:moveTo>
                      <a:pt x="4639" y="279"/>
                    </a:moveTo>
                    <a:lnTo>
                      <a:pt x="4526" y="280"/>
                    </a:lnTo>
                    <a:lnTo>
                      <a:pt x="4414" y="285"/>
                    </a:lnTo>
                    <a:lnTo>
                      <a:pt x="4303" y="292"/>
                    </a:lnTo>
                    <a:lnTo>
                      <a:pt x="4193" y="302"/>
                    </a:lnTo>
                    <a:lnTo>
                      <a:pt x="4083" y="315"/>
                    </a:lnTo>
                    <a:lnTo>
                      <a:pt x="3975" y="330"/>
                    </a:lnTo>
                    <a:lnTo>
                      <a:pt x="3867" y="347"/>
                    </a:lnTo>
                    <a:lnTo>
                      <a:pt x="3760" y="368"/>
                    </a:lnTo>
                    <a:lnTo>
                      <a:pt x="3654" y="391"/>
                    </a:lnTo>
                    <a:lnTo>
                      <a:pt x="3549" y="416"/>
                    </a:lnTo>
                    <a:lnTo>
                      <a:pt x="3445" y="444"/>
                    </a:lnTo>
                    <a:lnTo>
                      <a:pt x="3342" y="475"/>
                    </a:lnTo>
                    <a:lnTo>
                      <a:pt x="3240" y="508"/>
                    </a:lnTo>
                    <a:lnTo>
                      <a:pt x="3140" y="544"/>
                    </a:lnTo>
                    <a:lnTo>
                      <a:pt x="3040" y="581"/>
                    </a:lnTo>
                    <a:lnTo>
                      <a:pt x="2942" y="622"/>
                    </a:lnTo>
                    <a:lnTo>
                      <a:pt x="2844" y="665"/>
                    </a:lnTo>
                    <a:lnTo>
                      <a:pt x="2749" y="709"/>
                    </a:lnTo>
                    <a:lnTo>
                      <a:pt x="2654" y="756"/>
                    </a:lnTo>
                    <a:lnTo>
                      <a:pt x="2561" y="805"/>
                    </a:lnTo>
                    <a:lnTo>
                      <a:pt x="2468" y="857"/>
                    </a:lnTo>
                    <a:lnTo>
                      <a:pt x="2377" y="910"/>
                    </a:lnTo>
                    <a:lnTo>
                      <a:pt x="2289" y="966"/>
                    </a:lnTo>
                    <a:lnTo>
                      <a:pt x="2201" y="1024"/>
                    </a:lnTo>
                    <a:lnTo>
                      <a:pt x="2115" y="1084"/>
                    </a:lnTo>
                    <a:lnTo>
                      <a:pt x="2031" y="1146"/>
                    </a:lnTo>
                    <a:lnTo>
                      <a:pt x="1947" y="1209"/>
                    </a:lnTo>
                    <a:lnTo>
                      <a:pt x="1866" y="1275"/>
                    </a:lnTo>
                    <a:lnTo>
                      <a:pt x="1785" y="1343"/>
                    </a:lnTo>
                    <a:lnTo>
                      <a:pt x="1707" y="1412"/>
                    </a:lnTo>
                    <a:lnTo>
                      <a:pt x="1630" y="1483"/>
                    </a:lnTo>
                    <a:lnTo>
                      <a:pt x="1556" y="1556"/>
                    </a:lnTo>
                    <a:lnTo>
                      <a:pt x="1482" y="1631"/>
                    </a:lnTo>
                    <a:lnTo>
                      <a:pt x="1412" y="1708"/>
                    </a:lnTo>
                    <a:lnTo>
                      <a:pt x="1342" y="1786"/>
                    </a:lnTo>
                    <a:lnTo>
                      <a:pt x="1275" y="1867"/>
                    </a:lnTo>
                    <a:lnTo>
                      <a:pt x="1208" y="1948"/>
                    </a:lnTo>
                    <a:lnTo>
                      <a:pt x="1145" y="2031"/>
                    </a:lnTo>
                    <a:lnTo>
                      <a:pt x="1083" y="2116"/>
                    </a:lnTo>
                    <a:lnTo>
                      <a:pt x="1023" y="2202"/>
                    </a:lnTo>
                    <a:lnTo>
                      <a:pt x="965" y="2290"/>
                    </a:lnTo>
                    <a:lnTo>
                      <a:pt x="910" y="2379"/>
                    </a:lnTo>
                    <a:lnTo>
                      <a:pt x="856" y="2470"/>
                    </a:lnTo>
                    <a:lnTo>
                      <a:pt x="805" y="2562"/>
                    </a:lnTo>
                    <a:lnTo>
                      <a:pt x="756" y="2655"/>
                    </a:lnTo>
                    <a:lnTo>
                      <a:pt x="708" y="2750"/>
                    </a:lnTo>
                    <a:lnTo>
                      <a:pt x="665" y="2846"/>
                    </a:lnTo>
                    <a:lnTo>
                      <a:pt x="622" y="2943"/>
                    </a:lnTo>
                    <a:lnTo>
                      <a:pt x="581" y="3042"/>
                    </a:lnTo>
                    <a:lnTo>
                      <a:pt x="544" y="3141"/>
                    </a:lnTo>
                    <a:lnTo>
                      <a:pt x="508" y="3242"/>
                    </a:lnTo>
                    <a:lnTo>
                      <a:pt x="475" y="3344"/>
                    </a:lnTo>
                    <a:lnTo>
                      <a:pt x="444" y="3447"/>
                    </a:lnTo>
                    <a:lnTo>
                      <a:pt x="416" y="3551"/>
                    </a:lnTo>
                    <a:lnTo>
                      <a:pt x="391" y="3656"/>
                    </a:lnTo>
                    <a:lnTo>
                      <a:pt x="368" y="3762"/>
                    </a:lnTo>
                    <a:lnTo>
                      <a:pt x="347" y="3869"/>
                    </a:lnTo>
                    <a:lnTo>
                      <a:pt x="329" y="3977"/>
                    </a:lnTo>
                    <a:lnTo>
                      <a:pt x="314" y="4085"/>
                    </a:lnTo>
                    <a:lnTo>
                      <a:pt x="302" y="4195"/>
                    </a:lnTo>
                    <a:lnTo>
                      <a:pt x="292" y="4306"/>
                    </a:lnTo>
                    <a:lnTo>
                      <a:pt x="285" y="4416"/>
                    </a:lnTo>
                    <a:lnTo>
                      <a:pt x="280" y="4529"/>
                    </a:lnTo>
                    <a:lnTo>
                      <a:pt x="279" y="4641"/>
                    </a:lnTo>
                    <a:lnTo>
                      <a:pt x="280" y="4753"/>
                    </a:lnTo>
                    <a:lnTo>
                      <a:pt x="285" y="4866"/>
                    </a:lnTo>
                    <a:lnTo>
                      <a:pt x="292" y="4976"/>
                    </a:lnTo>
                    <a:lnTo>
                      <a:pt x="302" y="5087"/>
                    </a:lnTo>
                    <a:lnTo>
                      <a:pt x="314" y="5197"/>
                    </a:lnTo>
                    <a:lnTo>
                      <a:pt x="329" y="5305"/>
                    </a:lnTo>
                    <a:lnTo>
                      <a:pt x="347" y="5413"/>
                    </a:lnTo>
                    <a:lnTo>
                      <a:pt x="368" y="5520"/>
                    </a:lnTo>
                    <a:lnTo>
                      <a:pt x="391" y="5626"/>
                    </a:lnTo>
                    <a:lnTo>
                      <a:pt x="416" y="5731"/>
                    </a:lnTo>
                    <a:lnTo>
                      <a:pt x="444" y="5835"/>
                    </a:lnTo>
                    <a:lnTo>
                      <a:pt x="475" y="5938"/>
                    </a:lnTo>
                    <a:lnTo>
                      <a:pt x="508" y="6040"/>
                    </a:lnTo>
                    <a:lnTo>
                      <a:pt x="544" y="6141"/>
                    </a:lnTo>
                    <a:lnTo>
                      <a:pt x="581" y="6240"/>
                    </a:lnTo>
                    <a:lnTo>
                      <a:pt x="622" y="6339"/>
                    </a:lnTo>
                    <a:lnTo>
                      <a:pt x="665" y="6436"/>
                    </a:lnTo>
                    <a:lnTo>
                      <a:pt x="708" y="6532"/>
                    </a:lnTo>
                    <a:lnTo>
                      <a:pt x="756" y="6627"/>
                    </a:lnTo>
                    <a:lnTo>
                      <a:pt x="805" y="6720"/>
                    </a:lnTo>
                    <a:lnTo>
                      <a:pt x="856" y="6812"/>
                    </a:lnTo>
                    <a:lnTo>
                      <a:pt x="910" y="6903"/>
                    </a:lnTo>
                    <a:lnTo>
                      <a:pt x="965" y="6992"/>
                    </a:lnTo>
                    <a:lnTo>
                      <a:pt x="1023" y="7080"/>
                    </a:lnTo>
                    <a:lnTo>
                      <a:pt x="1083" y="7166"/>
                    </a:lnTo>
                    <a:lnTo>
                      <a:pt x="1145" y="7250"/>
                    </a:lnTo>
                    <a:lnTo>
                      <a:pt x="1208" y="7334"/>
                    </a:lnTo>
                    <a:lnTo>
                      <a:pt x="1275" y="7415"/>
                    </a:lnTo>
                    <a:lnTo>
                      <a:pt x="1342" y="7496"/>
                    </a:lnTo>
                    <a:lnTo>
                      <a:pt x="1412" y="7574"/>
                    </a:lnTo>
                    <a:lnTo>
                      <a:pt x="1482" y="7651"/>
                    </a:lnTo>
                    <a:lnTo>
                      <a:pt x="1556" y="7725"/>
                    </a:lnTo>
                    <a:lnTo>
                      <a:pt x="1630" y="7799"/>
                    </a:lnTo>
                    <a:lnTo>
                      <a:pt x="1707" y="7870"/>
                    </a:lnTo>
                    <a:lnTo>
                      <a:pt x="1785" y="7939"/>
                    </a:lnTo>
                    <a:lnTo>
                      <a:pt x="1866" y="8007"/>
                    </a:lnTo>
                    <a:lnTo>
                      <a:pt x="1947" y="8073"/>
                    </a:lnTo>
                    <a:lnTo>
                      <a:pt x="2031" y="8136"/>
                    </a:lnTo>
                    <a:lnTo>
                      <a:pt x="2115" y="8198"/>
                    </a:lnTo>
                    <a:lnTo>
                      <a:pt x="2201" y="8258"/>
                    </a:lnTo>
                    <a:lnTo>
                      <a:pt x="2289" y="8316"/>
                    </a:lnTo>
                    <a:lnTo>
                      <a:pt x="2377" y="8372"/>
                    </a:lnTo>
                    <a:lnTo>
                      <a:pt x="2468" y="8425"/>
                    </a:lnTo>
                    <a:lnTo>
                      <a:pt x="2561" y="8477"/>
                    </a:lnTo>
                    <a:lnTo>
                      <a:pt x="2654" y="8526"/>
                    </a:lnTo>
                    <a:lnTo>
                      <a:pt x="2749" y="8573"/>
                    </a:lnTo>
                    <a:lnTo>
                      <a:pt x="2844" y="8617"/>
                    </a:lnTo>
                    <a:lnTo>
                      <a:pt x="2942" y="8660"/>
                    </a:lnTo>
                    <a:lnTo>
                      <a:pt x="3040" y="8701"/>
                    </a:lnTo>
                    <a:lnTo>
                      <a:pt x="3140" y="8738"/>
                    </a:lnTo>
                    <a:lnTo>
                      <a:pt x="3240" y="8774"/>
                    </a:lnTo>
                    <a:lnTo>
                      <a:pt x="3342" y="8807"/>
                    </a:lnTo>
                    <a:lnTo>
                      <a:pt x="3445" y="8838"/>
                    </a:lnTo>
                    <a:lnTo>
                      <a:pt x="3549" y="8866"/>
                    </a:lnTo>
                    <a:lnTo>
                      <a:pt x="3654" y="8891"/>
                    </a:lnTo>
                    <a:lnTo>
                      <a:pt x="3760" y="8914"/>
                    </a:lnTo>
                    <a:lnTo>
                      <a:pt x="3867" y="8935"/>
                    </a:lnTo>
                    <a:lnTo>
                      <a:pt x="3975" y="8952"/>
                    </a:lnTo>
                    <a:lnTo>
                      <a:pt x="4083" y="8969"/>
                    </a:lnTo>
                    <a:lnTo>
                      <a:pt x="4193" y="8980"/>
                    </a:lnTo>
                    <a:lnTo>
                      <a:pt x="4303" y="8990"/>
                    </a:lnTo>
                    <a:lnTo>
                      <a:pt x="4414" y="8997"/>
                    </a:lnTo>
                    <a:lnTo>
                      <a:pt x="4526" y="9002"/>
                    </a:lnTo>
                    <a:lnTo>
                      <a:pt x="4639" y="9003"/>
                    </a:lnTo>
                    <a:lnTo>
                      <a:pt x="4751" y="9002"/>
                    </a:lnTo>
                    <a:lnTo>
                      <a:pt x="4863" y="8997"/>
                    </a:lnTo>
                    <a:lnTo>
                      <a:pt x="4974" y="8990"/>
                    </a:lnTo>
                    <a:lnTo>
                      <a:pt x="5084" y="8980"/>
                    </a:lnTo>
                    <a:lnTo>
                      <a:pt x="5194" y="8969"/>
                    </a:lnTo>
                    <a:lnTo>
                      <a:pt x="5302" y="8952"/>
                    </a:lnTo>
                    <a:lnTo>
                      <a:pt x="5410" y="8935"/>
                    </a:lnTo>
                    <a:lnTo>
                      <a:pt x="5517" y="8914"/>
                    </a:lnTo>
                    <a:lnTo>
                      <a:pt x="5623" y="8891"/>
                    </a:lnTo>
                    <a:lnTo>
                      <a:pt x="5728" y="8866"/>
                    </a:lnTo>
                    <a:lnTo>
                      <a:pt x="5832" y="8838"/>
                    </a:lnTo>
                    <a:lnTo>
                      <a:pt x="5935" y="8807"/>
                    </a:lnTo>
                    <a:lnTo>
                      <a:pt x="6037" y="8774"/>
                    </a:lnTo>
                    <a:lnTo>
                      <a:pt x="6137" y="8738"/>
                    </a:lnTo>
                    <a:lnTo>
                      <a:pt x="6237" y="8701"/>
                    </a:lnTo>
                    <a:lnTo>
                      <a:pt x="6335" y="8660"/>
                    </a:lnTo>
                    <a:lnTo>
                      <a:pt x="6433" y="8617"/>
                    </a:lnTo>
                    <a:lnTo>
                      <a:pt x="6528" y="8573"/>
                    </a:lnTo>
                    <a:lnTo>
                      <a:pt x="6623" y="8526"/>
                    </a:lnTo>
                    <a:lnTo>
                      <a:pt x="6716" y="8477"/>
                    </a:lnTo>
                    <a:lnTo>
                      <a:pt x="6809" y="8425"/>
                    </a:lnTo>
                    <a:lnTo>
                      <a:pt x="6900" y="8372"/>
                    </a:lnTo>
                    <a:lnTo>
                      <a:pt x="6988" y="8316"/>
                    </a:lnTo>
                    <a:lnTo>
                      <a:pt x="7076" y="8258"/>
                    </a:lnTo>
                    <a:lnTo>
                      <a:pt x="7162" y="8198"/>
                    </a:lnTo>
                    <a:lnTo>
                      <a:pt x="7246" y="8136"/>
                    </a:lnTo>
                    <a:lnTo>
                      <a:pt x="7330" y="8073"/>
                    </a:lnTo>
                    <a:lnTo>
                      <a:pt x="7411" y="8007"/>
                    </a:lnTo>
                    <a:lnTo>
                      <a:pt x="7492" y="7939"/>
                    </a:lnTo>
                    <a:lnTo>
                      <a:pt x="7570" y="7870"/>
                    </a:lnTo>
                    <a:lnTo>
                      <a:pt x="7647" y="7799"/>
                    </a:lnTo>
                    <a:lnTo>
                      <a:pt x="7721" y="7725"/>
                    </a:lnTo>
                    <a:lnTo>
                      <a:pt x="7795" y="7651"/>
                    </a:lnTo>
                    <a:lnTo>
                      <a:pt x="7865" y="7574"/>
                    </a:lnTo>
                    <a:lnTo>
                      <a:pt x="7935" y="7496"/>
                    </a:lnTo>
                    <a:lnTo>
                      <a:pt x="8002" y="7415"/>
                    </a:lnTo>
                    <a:lnTo>
                      <a:pt x="8069" y="7334"/>
                    </a:lnTo>
                    <a:lnTo>
                      <a:pt x="8132" y="7250"/>
                    </a:lnTo>
                    <a:lnTo>
                      <a:pt x="8194" y="7166"/>
                    </a:lnTo>
                    <a:lnTo>
                      <a:pt x="8254" y="7080"/>
                    </a:lnTo>
                    <a:lnTo>
                      <a:pt x="8312" y="6992"/>
                    </a:lnTo>
                    <a:lnTo>
                      <a:pt x="8367" y="6903"/>
                    </a:lnTo>
                    <a:lnTo>
                      <a:pt x="8421" y="6812"/>
                    </a:lnTo>
                    <a:lnTo>
                      <a:pt x="8472" y="6720"/>
                    </a:lnTo>
                    <a:lnTo>
                      <a:pt x="8521" y="6627"/>
                    </a:lnTo>
                    <a:lnTo>
                      <a:pt x="8569" y="6532"/>
                    </a:lnTo>
                    <a:lnTo>
                      <a:pt x="8612" y="6436"/>
                    </a:lnTo>
                    <a:lnTo>
                      <a:pt x="8655" y="6339"/>
                    </a:lnTo>
                    <a:lnTo>
                      <a:pt x="8696" y="6240"/>
                    </a:lnTo>
                    <a:lnTo>
                      <a:pt x="8733" y="6141"/>
                    </a:lnTo>
                    <a:lnTo>
                      <a:pt x="8769" y="6040"/>
                    </a:lnTo>
                    <a:lnTo>
                      <a:pt x="8802" y="5938"/>
                    </a:lnTo>
                    <a:lnTo>
                      <a:pt x="8833" y="5835"/>
                    </a:lnTo>
                    <a:lnTo>
                      <a:pt x="8861" y="5731"/>
                    </a:lnTo>
                    <a:lnTo>
                      <a:pt x="8886" y="5626"/>
                    </a:lnTo>
                    <a:lnTo>
                      <a:pt x="8909" y="5520"/>
                    </a:lnTo>
                    <a:lnTo>
                      <a:pt x="8930" y="5413"/>
                    </a:lnTo>
                    <a:lnTo>
                      <a:pt x="8948" y="5305"/>
                    </a:lnTo>
                    <a:lnTo>
                      <a:pt x="8963" y="5197"/>
                    </a:lnTo>
                    <a:lnTo>
                      <a:pt x="8975" y="5087"/>
                    </a:lnTo>
                    <a:lnTo>
                      <a:pt x="8985" y="4976"/>
                    </a:lnTo>
                    <a:lnTo>
                      <a:pt x="8992" y="4866"/>
                    </a:lnTo>
                    <a:lnTo>
                      <a:pt x="8997" y="4753"/>
                    </a:lnTo>
                    <a:lnTo>
                      <a:pt x="8998" y="4641"/>
                    </a:lnTo>
                    <a:lnTo>
                      <a:pt x="8997" y="4529"/>
                    </a:lnTo>
                    <a:lnTo>
                      <a:pt x="8992" y="4416"/>
                    </a:lnTo>
                    <a:lnTo>
                      <a:pt x="8985" y="4306"/>
                    </a:lnTo>
                    <a:lnTo>
                      <a:pt x="8975" y="4195"/>
                    </a:lnTo>
                    <a:lnTo>
                      <a:pt x="8963" y="4085"/>
                    </a:lnTo>
                    <a:lnTo>
                      <a:pt x="8948" y="3977"/>
                    </a:lnTo>
                    <a:lnTo>
                      <a:pt x="8930" y="3869"/>
                    </a:lnTo>
                    <a:lnTo>
                      <a:pt x="8909" y="3762"/>
                    </a:lnTo>
                    <a:lnTo>
                      <a:pt x="8886" y="3656"/>
                    </a:lnTo>
                    <a:lnTo>
                      <a:pt x="8861" y="3551"/>
                    </a:lnTo>
                    <a:lnTo>
                      <a:pt x="8833" y="3447"/>
                    </a:lnTo>
                    <a:lnTo>
                      <a:pt x="8802" y="3344"/>
                    </a:lnTo>
                    <a:lnTo>
                      <a:pt x="8769" y="3242"/>
                    </a:lnTo>
                    <a:lnTo>
                      <a:pt x="8733" y="3141"/>
                    </a:lnTo>
                    <a:lnTo>
                      <a:pt x="8696" y="3042"/>
                    </a:lnTo>
                    <a:lnTo>
                      <a:pt x="8655" y="2943"/>
                    </a:lnTo>
                    <a:lnTo>
                      <a:pt x="8612" y="2846"/>
                    </a:lnTo>
                    <a:lnTo>
                      <a:pt x="8569" y="2750"/>
                    </a:lnTo>
                    <a:lnTo>
                      <a:pt x="8521" y="2655"/>
                    </a:lnTo>
                    <a:lnTo>
                      <a:pt x="8472" y="2562"/>
                    </a:lnTo>
                    <a:lnTo>
                      <a:pt x="8421" y="2470"/>
                    </a:lnTo>
                    <a:lnTo>
                      <a:pt x="8367" y="2379"/>
                    </a:lnTo>
                    <a:lnTo>
                      <a:pt x="8312" y="2290"/>
                    </a:lnTo>
                    <a:lnTo>
                      <a:pt x="8254" y="2202"/>
                    </a:lnTo>
                    <a:lnTo>
                      <a:pt x="8194" y="2116"/>
                    </a:lnTo>
                    <a:lnTo>
                      <a:pt x="8132" y="2031"/>
                    </a:lnTo>
                    <a:lnTo>
                      <a:pt x="8069" y="1948"/>
                    </a:lnTo>
                    <a:lnTo>
                      <a:pt x="8002" y="1867"/>
                    </a:lnTo>
                    <a:lnTo>
                      <a:pt x="7935" y="1786"/>
                    </a:lnTo>
                    <a:lnTo>
                      <a:pt x="7865" y="1708"/>
                    </a:lnTo>
                    <a:lnTo>
                      <a:pt x="7795" y="1631"/>
                    </a:lnTo>
                    <a:lnTo>
                      <a:pt x="7721" y="1556"/>
                    </a:lnTo>
                    <a:lnTo>
                      <a:pt x="7647" y="1483"/>
                    </a:lnTo>
                    <a:lnTo>
                      <a:pt x="7570" y="1412"/>
                    </a:lnTo>
                    <a:lnTo>
                      <a:pt x="7492" y="1343"/>
                    </a:lnTo>
                    <a:lnTo>
                      <a:pt x="7411" y="1275"/>
                    </a:lnTo>
                    <a:lnTo>
                      <a:pt x="7330" y="1209"/>
                    </a:lnTo>
                    <a:lnTo>
                      <a:pt x="7246" y="1146"/>
                    </a:lnTo>
                    <a:lnTo>
                      <a:pt x="7162" y="1084"/>
                    </a:lnTo>
                    <a:lnTo>
                      <a:pt x="7076" y="1024"/>
                    </a:lnTo>
                    <a:lnTo>
                      <a:pt x="6988" y="966"/>
                    </a:lnTo>
                    <a:lnTo>
                      <a:pt x="6900" y="910"/>
                    </a:lnTo>
                    <a:lnTo>
                      <a:pt x="6809" y="857"/>
                    </a:lnTo>
                    <a:lnTo>
                      <a:pt x="6716" y="805"/>
                    </a:lnTo>
                    <a:lnTo>
                      <a:pt x="6623" y="756"/>
                    </a:lnTo>
                    <a:lnTo>
                      <a:pt x="6528" y="709"/>
                    </a:lnTo>
                    <a:lnTo>
                      <a:pt x="6433" y="665"/>
                    </a:lnTo>
                    <a:lnTo>
                      <a:pt x="6335" y="622"/>
                    </a:lnTo>
                    <a:lnTo>
                      <a:pt x="6237" y="581"/>
                    </a:lnTo>
                    <a:lnTo>
                      <a:pt x="6137" y="544"/>
                    </a:lnTo>
                    <a:lnTo>
                      <a:pt x="6037" y="508"/>
                    </a:lnTo>
                    <a:lnTo>
                      <a:pt x="5935" y="475"/>
                    </a:lnTo>
                    <a:lnTo>
                      <a:pt x="5832" y="444"/>
                    </a:lnTo>
                    <a:lnTo>
                      <a:pt x="5728" y="416"/>
                    </a:lnTo>
                    <a:lnTo>
                      <a:pt x="5623" y="391"/>
                    </a:lnTo>
                    <a:lnTo>
                      <a:pt x="5517" y="368"/>
                    </a:lnTo>
                    <a:lnTo>
                      <a:pt x="5410" y="347"/>
                    </a:lnTo>
                    <a:lnTo>
                      <a:pt x="5302" y="330"/>
                    </a:lnTo>
                    <a:lnTo>
                      <a:pt x="5194" y="315"/>
                    </a:lnTo>
                    <a:lnTo>
                      <a:pt x="5084" y="302"/>
                    </a:lnTo>
                    <a:lnTo>
                      <a:pt x="4974" y="292"/>
                    </a:lnTo>
                    <a:lnTo>
                      <a:pt x="4863" y="285"/>
                    </a:lnTo>
                    <a:lnTo>
                      <a:pt x="4751" y="280"/>
                    </a:lnTo>
                    <a:lnTo>
                      <a:pt x="4639" y="279"/>
                    </a:lnTo>
                    <a:close/>
                    <a:moveTo>
                      <a:pt x="1358" y="1359"/>
                    </a:moveTo>
                    <a:lnTo>
                      <a:pt x="1438" y="1281"/>
                    </a:lnTo>
                    <a:lnTo>
                      <a:pt x="1520" y="1206"/>
                    </a:lnTo>
                    <a:lnTo>
                      <a:pt x="1602" y="1132"/>
                    </a:lnTo>
                    <a:lnTo>
                      <a:pt x="1688" y="1059"/>
                    </a:lnTo>
                    <a:lnTo>
                      <a:pt x="1775" y="989"/>
                    </a:lnTo>
                    <a:lnTo>
                      <a:pt x="1863" y="922"/>
                    </a:lnTo>
                    <a:lnTo>
                      <a:pt x="1954" y="855"/>
                    </a:lnTo>
                    <a:lnTo>
                      <a:pt x="2045" y="792"/>
                    </a:lnTo>
                    <a:lnTo>
                      <a:pt x="2139" y="730"/>
                    </a:lnTo>
                    <a:lnTo>
                      <a:pt x="2233" y="671"/>
                    </a:lnTo>
                    <a:lnTo>
                      <a:pt x="2329" y="614"/>
                    </a:lnTo>
                    <a:lnTo>
                      <a:pt x="2428" y="560"/>
                    </a:lnTo>
                    <a:lnTo>
                      <a:pt x="2526" y="507"/>
                    </a:lnTo>
                    <a:lnTo>
                      <a:pt x="2627" y="457"/>
                    </a:lnTo>
                    <a:lnTo>
                      <a:pt x="2730" y="410"/>
                    </a:lnTo>
                    <a:lnTo>
                      <a:pt x="2832" y="364"/>
                    </a:lnTo>
                    <a:lnTo>
                      <a:pt x="2937" y="321"/>
                    </a:lnTo>
                    <a:lnTo>
                      <a:pt x="3043" y="281"/>
                    </a:lnTo>
                    <a:lnTo>
                      <a:pt x="3150" y="243"/>
                    </a:lnTo>
                    <a:lnTo>
                      <a:pt x="3259" y="208"/>
                    </a:lnTo>
                    <a:lnTo>
                      <a:pt x="3369" y="175"/>
                    </a:lnTo>
                    <a:lnTo>
                      <a:pt x="3479" y="145"/>
                    </a:lnTo>
                    <a:lnTo>
                      <a:pt x="3590" y="119"/>
                    </a:lnTo>
                    <a:lnTo>
                      <a:pt x="3704" y="94"/>
                    </a:lnTo>
                    <a:lnTo>
                      <a:pt x="3817" y="72"/>
                    </a:lnTo>
                    <a:lnTo>
                      <a:pt x="3932" y="53"/>
                    </a:lnTo>
                    <a:lnTo>
                      <a:pt x="4048" y="37"/>
                    </a:lnTo>
                    <a:lnTo>
                      <a:pt x="4164" y="23"/>
                    </a:lnTo>
                    <a:lnTo>
                      <a:pt x="4282" y="12"/>
                    </a:lnTo>
                    <a:lnTo>
                      <a:pt x="4400" y="5"/>
                    </a:lnTo>
                    <a:lnTo>
                      <a:pt x="4519" y="1"/>
                    </a:lnTo>
                    <a:lnTo>
                      <a:pt x="4639" y="0"/>
                    </a:lnTo>
                    <a:lnTo>
                      <a:pt x="4758" y="1"/>
                    </a:lnTo>
                    <a:lnTo>
                      <a:pt x="4877" y="5"/>
                    </a:lnTo>
                    <a:lnTo>
                      <a:pt x="4995" y="12"/>
                    </a:lnTo>
                    <a:lnTo>
                      <a:pt x="5113" y="23"/>
                    </a:lnTo>
                    <a:lnTo>
                      <a:pt x="5229" y="37"/>
                    </a:lnTo>
                    <a:lnTo>
                      <a:pt x="5345" y="53"/>
                    </a:lnTo>
                    <a:lnTo>
                      <a:pt x="5460" y="72"/>
                    </a:lnTo>
                    <a:lnTo>
                      <a:pt x="5573" y="94"/>
                    </a:lnTo>
                    <a:lnTo>
                      <a:pt x="5687" y="119"/>
                    </a:lnTo>
                    <a:lnTo>
                      <a:pt x="5798" y="145"/>
                    </a:lnTo>
                    <a:lnTo>
                      <a:pt x="5908" y="175"/>
                    </a:lnTo>
                    <a:lnTo>
                      <a:pt x="6018" y="208"/>
                    </a:lnTo>
                    <a:lnTo>
                      <a:pt x="6127" y="243"/>
                    </a:lnTo>
                    <a:lnTo>
                      <a:pt x="6234" y="281"/>
                    </a:lnTo>
                    <a:lnTo>
                      <a:pt x="6340" y="321"/>
                    </a:lnTo>
                    <a:lnTo>
                      <a:pt x="6445" y="364"/>
                    </a:lnTo>
                    <a:lnTo>
                      <a:pt x="6547" y="410"/>
                    </a:lnTo>
                    <a:lnTo>
                      <a:pt x="6650" y="457"/>
                    </a:lnTo>
                    <a:lnTo>
                      <a:pt x="6751" y="507"/>
                    </a:lnTo>
                    <a:lnTo>
                      <a:pt x="6849" y="560"/>
                    </a:lnTo>
                    <a:lnTo>
                      <a:pt x="6948" y="614"/>
                    </a:lnTo>
                    <a:lnTo>
                      <a:pt x="7044" y="671"/>
                    </a:lnTo>
                    <a:lnTo>
                      <a:pt x="7138" y="730"/>
                    </a:lnTo>
                    <a:lnTo>
                      <a:pt x="7232" y="792"/>
                    </a:lnTo>
                    <a:lnTo>
                      <a:pt x="7323" y="855"/>
                    </a:lnTo>
                    <a:lnTo>
                      <a:pt x="7414" y="922"/>
                    </a:lnTo>
                    <a:lnTo>
                      <a:pt x="7502" y="989"/>
                    </a:lnTo>
                    <a:lnTo>
                      <a:pt x="7589" y="1059"/>
                    </a:lnTo>
                    <a:lnTo>
                      <a:pt x="7675" y="1132"/>
                    </a:lnTo>
                    <a:lnTo>
                      <a:pt x="7757" y="1206"/>
                    </a:lnTo>
                    <a:lnTo>
                      <a:pt x="7839" y="1281"/>
                    </a:lnTo>
                    <a:lnTo>
                      <a:pt x="7919" y="1359"/>
                    </a:lnTo>
                    <a:lnTo>
                      <a:pt x="7997" y="1438"/>
                    </a:lnTo>
                    <a:lnTo>
                      <a:pt x="8072" y="1520"/>
                    </a:lnTo>
                    <a:lnTo>
                      <a:pt x="8146" y="1603"/>
                    </a:lnTo>
                    <a:lnTo>
                      <a:pt x="8218" y="1689"/>
                    </a:lnTo>
                    <a:lnTo>
                      <a:pt x="8288" y="1776"/>
                    </a:lnTo>
                    <a:lnTo>
                      <a:pt x="8355" y="1863"/>
                    </a:lnTo>
                    <a:lnTo>
                      <a:pt x="8422" y="1955"/>
                    </a:lnTo>
                    <a:lnTo>
                      <a:pt x="8485" y="2046"/>
                    </a:lnTo>
                    <a:lnTo>
                      <a:pt x="8546" y="2139"/>
                    </a:lnTo>
                    <a:lnTo>
                      <a:pt x="8606" y="2234"/>
                    </a:lnTo>
                    <a:lnTo>
                      <a:pt x="8663" y="2330"/>
                    </a:lnTo>
                    <a:lnTo>
                      <a:pt x="8717" y="2429"/>
                    </a:lnTo>
                    <a:lnTo>
                      <a:pt x="8770" y="2528"/>
                    </a:lnTo>
                    <a:lnTo>
                      <a:pt x="8820" y="2628"/>
                    </a:lnTo>
                    <a:lnTo>
                      <a:pt x="8867" y="2731"/>
                    </a:lnTo>
                    <a:lnTo>
                      <a:pt x="8913" y="2834"/>
                    </a:lnTo>
                    <a:lnTo>
                      <a:pt x="8956" y="2939"/>
                    </a:lnTo>
                    <a:lnTo>
                      <a:pt x="8996" y="3045"/>
                    </a:lnTo>
                    <a:lnTo>
                      <a:pt x="9033" y="3152"/>
                    </a:lnTo>
                    <a:lnTo>
                      <a:pt x="9068" y="3260"/>
                    </a:lnTo>
                    <a:lnTo>
                      <a:pt x="9102" y="3371"/>
                    </a:lnTo>
                    <a:lnTo>
                      <a:pt x="9132" y="3481"/>
                    </a:lnTo>
                    <a:lnTo>
                      <a:pt x="9158" y="3592"/>
                    </a:lnTo>
                    <a:lnTo>
                      <a:pt x="9183" y="3706"/>
                    </a:lnTo>
                    <a:lnTo>
                      <a:pt x="9204" y="3819"/>
                    </a:lnTo>
                    <a:lnTo>
                      <a:pt x="9224" y="3934"/>
                    </a:lnTo>
                    <a:lnTo>
                      <a:pt x="9240" y="4050"/>
                    </a:lnTo>
                    <a:lnTo>
                      <a:pt x="9254" y="4166"/>
                    </a:lnTo>
                    <a:lnTo>
                      <a:pt x="9263" y="4284"/>
                    </a:lnTo>
                    <a:lnTo>
                      <a:pt x="9271" y="4402"/>
                    </a:lnTo>
                    <a:lnTo>
                      <a:pt x="9276" y="4521"/>
                    </a:lnTo>
                    <a:lnTo>
                      <a:pt x="9277" y="4641"/>
                    </a:lnTo>
                    <a:lnTo>
                      <a:pt x="9276" y="4761"/>
                    </a:lnTo>
                    <a:lnTo>
                      <a:pt x="9271" y="4880"/>
                    </a:lnTo>
                    <a:lnTo>
                      <a:pt x="9263" y="4998"/>
                    </a:lnTo>
                    <a:lnTo>
                      <a:pt x="9254" y="5116"/>
                    </a:lnTo>
                    <a:lnTo>
                      <a:pt x="9240" y="5232"/>
                    </a:lnTo>
                    <a:lnTo>
                      <a:pt x="9224" y="5348"/>
                    </a:lnTo>
                    <a:lnTo>
                      <a:pt x="9204" y="5463"/>
                    </a:lnTo>
                    <a:lnTo>
                      <a:pt x="9183" y="5576"/>
                    </a:lnTo>
                    <a:lnTo>
                      <a:pt x="9158" y="5690"/>
                    </a:lnTo>
                    <a:lnTo>
                      <a:pt x="9132" y="5801"/>
                    </a:lnTo>
                    <a:lnTo>
                      <a:pt x="9102" y="5911"/>
                    </a:lnTo>
                    <a:lnTo>
                      <a:pt x="9068" y="6022"/>
                    </a:lnTo>
                    <a:lnTo>
                      <a:pt x="9033" y="6130"/>
                    </a:lnTo>
                    <a:lnTo>
                      <a:pt x="8996" y="6237"/>
                    </a:lnTo>
                    <a:lnTo>
                      <a:pt x="8956" y="6343"/>
                    </a:lnTo>
                    <a:lnTo>
                      <a:pt x="8913" y="6448"/>
                    </a:lnTo>
                    <a:lnTo>
                      <a:pt x="8867" y="6551"/>
                    </a:lnTo>
                    <a:lnTo>
                      <a:pt x="8820" y="6654"/>
                    </a:lnTo>
                    <a:lnTo>
                      <a:pt x="8770" y="6754"/>
                    </a:lnTo>
                    <a:lnTo>
                      <a:pt x="8717" y="6853"/>
                    </a:lnTo>
                    <a:lnTo>
                      <a:pt x="8663" y="6952"/>
                    </a:lnTo>
                    <a:lnTo>
                      <a:pt x="8606" y="7048"/>
                    </a:lnTo>
                    <a:lnTo>
                      <a:pt x="8546" y="7143"/>
                    </a:lnTo>
                    <a:lnTo>
                      <a:pt x="8485" y="7236"/>
                    </a:lnTo>
                    <a:lnTo>
                      <a:pt x="8422" y="7327"/>
                    </a:lnTo>
                    <a:lnTo>
                      <a:pt x="8355" y="7419"/>
                    </a:lnTo>
                    <a:lnTo>
                      <a:pt x="8288" y="7506"/>
                    </a:lnTo>
                    <a:lnTo>
                      <a:pt x="8218" y="7593"/>
                    </a:lnTo>
                    <a:lnTo>
                      <a:pt x="8146" y="7679"/>
                    </a:lnTo>
                    <a:lnTo>
                      <a:pt x="8072" y="7762"/>
                    </a:lnTo>
                    <a:lnTo>
                      <a:pt x="7997" y="7844"/>
                    </a:lnTo>
                    <a:lnTo>
                      <a:pt x="7919" y="7923"/>
                    </a:lnTo>
                    <a:lnTo>
                      <a:pt x="7839" y="8001"/>
                    </a:lnTo>
                    <a:lnTo>
                      <a:pt x="7757" y="8076"/>
                    </a:lnTo>
                    <a:lnTo>
                      <a:pt x="7675" y="8150"/>
                    </a:lnTo>
                    <a:lnTo>
                      <a:pt x="7589" y="8223"/>
                    </a:lnTo>
                    <a:lnTo>
                      <a:pt x="7502" y="8293"/>
                    </a:lnTo>
                    <a:lnTo>
                      <a:pt x="7414" y="8360"/>
                    </a:lnTo>
                    <a:lnTo>
                      <a:pt x="7323" y="8427"/>
                    </a:lnTo>
                    <a:lnTo>
                      <a:pt x="7232" y="8490"/>
                    </a:lnTo>
                    <a:lnTo>
                      <a:pt x="7138" y="8551"/>
                    </a:lnTo>
                    <a:lnTo>
                      <a:pt x="7044" y="8611"/>
                    </a:lnTo>
                    <a:lnTo>
                      <a:pt x="6948" y="8668"/>
                    </a:lnTo>
                    <a:lnTo>
                      <a:pt x="6849" y="8722"/>
                    </a:lnTo>
                    <a:lnTo>
                      <a:pt x="6751" y="8775"/>
                    </a:lnTo>
                    <a:lnTo>
                      <a:pt x="6650" y="8825"/>
                    </a:lnTo>
                    <a:lnTo>
                      <a:pt x="6547" y="8872"/>
                    </a:lnTo>
                    <a:lnTo>
                      <a:pt x="6445" y="8918"/>
                    </a:lnTo>
                    <a:lnTo>
                      <a:pt x="6340" y="8961"/>
                    </a:lnTo>
                    <a:lnTo>
                      <a:pt x="6234" y="9001"/>
                    </a:lnTo>
                    <a:lnTo>
                      <a:pt x="6127" y="9038"/>
                    </a:lnTo>
                    <a:lnTo>
                      <a:pt x="6018" y="9074"/>
                    </a:lnTo>
                    <a:lnTo>
                      <a:pt x="5908" y="9107"/>
                    </a:lnTo>
                    <a:lnTo>
                      <a:pt x="5798" y="9137"/>
                    </a:lnTo>
                    <a:lnTo>
                      <a:pt x="5687" y="9163"/>
                    </a:lnTo>
                    <a:lnTo>
                      <a:pt x="5573" y="9188"/>
                    </a:lnTo>
                    <a:lnTo>
                      <a:pt x="5460" y="9210"/>
                    </a:lnTo>
                    <a:lnTo>
                      <a:pt x="5345" y="9229"/>
                    </a:lnTo>
                    <a:lnTo>
                      <a:pt x="5229" y="9245"/>
                    </a:lnTo>
                    <a:lnTo>
                      <a:pt x="5113" y="9259"/>
                    </a:lnTo>
                    <a:lnTo>
                      <a:pt x="4995" y="9270"/>
                    </a:lnTo>
                    <a:lnTo>
                      <a:pt x="4877" y="9277"/>
                    </a:lnTo>
                    <a:lnTo>
                      <a:pt x="4758" y="9281"/>
                    </a:lnTo>
                    <a:lnTo>
                      <a:pt x="4639" y="9282"/>
                    </a:lnTo>
                    <a:lnTo>
                      <a:pt x="4519" y="9281"/>
                    </a:lnTo>
                    <a:lnTo>
                      <a:pt x="4400" y="9277"/>
                    </a:lnTo>
                    <a:lnTo>
                      <a:pt x="4282" y="9270"/>
                    </a:lnTo>
                    <a:lnTo>
                      <a:pt x="4164" y="9259"/>
                    </a:lnTo>
                    <a:lnTo>
                      <a:pt x="4048" y="9245"/>
                    </a:lnTo>
                    <a:lnTo>
                      <a:pt x="3932" y="9229"/>
                    </a:lnTo>
                    <a:lnTo>
                      <a:pt x="3817" y="9210"/>
                    </a:lnTo>
                    <a:lnTo>
                      <a:pt x="3704" y="9188"/>
                    </a:lnTo>
                    <a:lnTo>
                      <a:pt x="3590" y="9163"/>
                    </a:lnTo>
                    <a:lnTo>
                      <a:pt x="3479" y="9137"/>
                    </a:lnTo>
                    <a:lnTo>
                      <a:pt x="3369" y="9107"/>
                    </a:lnTo>
                    <a:lnTo>
                      <a:pt x="3259" y="9074"/>
                    </a:lnTo>
                    <a:lnTo>
                      <a:pt x="3150" y="9038"/>
                    </a:lnTo>
                    <a:lnTo>
                      <a:pt x="3043" y="9001"/>
                    </a:lnTo>
                    <a:lnTo>
                      <a:pt x="2937" y="8961"/>
                    </a:lnTo>
                    <a:lnTo>
                      <a:pt x="2832" y="8918"/>
                    </a:lnTo>
                    <a:lnTo>
                      <a:pt x="2730" y="8872"/>
                    </a:lnTo>
                    <a:lnTo>
                      <a:pt x="2627" y="8825"/>
                    </a:lnTo>
                    <a:lnTo>
                      <a:pt x="2526" y="8775"/>
                    </a:lnTo>
                    <a:lnTo>
                      <a:pt x="2428" y="8722"/>
                    </a:lnTo>
                    <a:lnTo>
                      <a:pt x="2329" y="8668"/>
                    </a:lnTo>
                    <a:lnTo>
                      <a:pt x="2233" y="8611"/>
                    </a:lnTo>
                    <a:lnTo>
                      <a:pt x="2139" y="8551"/>
                    </a:lnTo>
                    <a:lnTo>
                      <a:pt x="2045" y="8490"/>
                    </a:lnTo>
                    <a:lnTo>
                      <a:pt x="1954" y="8427"/>
                    </a:lnTo>
                    <a:lnTo>
                      <a:pt x="1863" y="8360"/>
                    </a:lnTo>
                    <a:lnTo>
                      <a:pt x="1775" y="8293"/>
                    </a:lnTo>
                    <a:lnTo>
                      <a:pt x="1688" y="8223"/>
                    </a:lnTo>
                    <a:lnTo>
                      <a:pt x="1602" y="8150"/>
                    </a:lnTo>
                    <a:lnTo>
                      <a:pt x="1520" y="8076"/>
                    </a:lnTo>
                    <a:lnTo>
                      <a:pt x="1438" y="8001"/>
                    </a:lnTo>
                    <a:lnTo>
                      <a:pt x="1358" y="7923"/>
                    </a:lnTo>
                    <a:lnTo>
                      <a:pt x="1280" y="7844"/>
                    </a:lnTo>
                    <a:lnTo>
                      <a:pt x="1205" y="7762"/>
                    </a:lnTo>
                    <a:lnTo>
                      <a:pt x="1131" y="7679"/>
                    </a:lnTo>
                    <a:lnTo>
                      <a:pt x="1059" y="7593"/>
                    </a:lnTo>
                    <a:lnTo>
                      <a:pt x="989" y="7506"/>
                    </a:lnTo>
                    <a:lnTo>
                      <a:pt x="922" y="7419"/>
                    </a:lnTo>
                    <a:lnTo>
                      <a:pt x="855" y="7327"/>
                    </a:lnTo>
                    <a:lnTo>
                      <a:pt x="792" y="7236"/>
                    </a:lnTo>
                    <a:lnTo>
                      <a:pt x="731" y="7143"/>
                    </a:lnTo>
                    <a:lnTo>
                      <a:pt x="671" y="7048"/>
                    </a:lnTo>
                    <a:lnTo>
                      <a:pt x="614" y="6952"/>
                    </a:lnTo>
                    <a:lnTo>
                      <a:pt x="560" y="6853"/>
                    </a:lnTo>
                    <a:lnTo>
                      <a:pt x="507" y="6754"/>
                    </a:lnTo>
                    <a:lnTo>
                      <a:pt x="457" y="6654"/>
                    </a:lnTo>
                    <a:lnTo>
                      <a:pt x="410" y="6551"/>
                    </a:lnTo>
                    <a:lnTo>
                      <a:pt x="364" y="6448"/>
                    </a:lnTo>
                    <a:lnTo>
                      <a:pt x="321" y="6343"/>
                    </a:lnTo>
                    <a:lnTo>
                      <a:pt x="281" y="6237"/>
                    </a:lnTo>
                    <a:lnTo>
                      <a:pt x="244" y="6130"/>
                    </a:lnTo>
                    <a:lnTo>
                      <a:pt x="209" y="6022"/>
                    </a:lnTo>
                    <a:lnTo>
                      <a:pt x="175" y="5911"/>
                    </a:lnTo>
                    <a:lnTo>
                      <a:pt x="145" y="5801"/>
                    </a:lnTo>
                    <a:lnTo>
                      <a:pt x="119" y="5690"/>
                    </a:lnTo>
                    <a:lnTo>
                      <a:pt x="94" y="5576"/>
                    </a:lnTo>
                    <a:lnTo>
                      <a:pt x="73" y="5463"/>
                    </a:lnTo>
                    <a:lnTo>
                      <a:pt x="53" y="5348"/>
                    </a:lnTo>
                    <a:lnTo>
                      <a:pt x="37" y="5232"/>
                    </a:lnTo>
                    <a:lnTo>
                      <a:pt x="23" y="5116"/>
                    </a:lnTo>
                    <a:lnTo>
                      <a:pt x="14" y="4998"/>
                    </a:lnTo>
                    <a:lnTo>
                      <a:pt x="6" y="4880"/>
                    </a:lnTo>
                    <a:lnTo>
                      <a:pt x="1" y="4761"/>
                    </a:lnTo>
                    <a:lnTo>
                      <a:pt x="0" y="4641"/>
                    </a:lnTo>
                    <a:lnTo>
                      <a:pt x="1" y="4521"/>
                    </a:lnTo>
                    <a:lnTo>
                      <a:pt x="6" y="4402"/>
                    </a:lnTo>
                    <a:lnTo>
                      <a:pt x="14" y="4284"/>
                    </a:lnTo>
                    <a:lnTo>
                      <a:pt x="23" y="4166"/>
                    </a:lnTo>
                    <a:lnTo>
                      <a:pt x="37" y="4050"/>
                    </a:lnTo>
                    <a:lnTo>
                      <a:pt x="53" y="3934"/>
                    </a:lnTo>
                    <a:lnTo>
                      <a:pt x="73" y="3819"/>
                    </a:lnTo>
                    <a:lnTo>
                      <a:pt x="94" y="3706"/>
                    </a:lnTo>
                    <a:lnTo>
                      <a:pt x="119" y="3592"/>
                    </a:lnTo>
                    <a:lnTo>
                      <a:pt x="145" y="3481"/>
                    </a:lnTo>
                    <a:lnTo>
                      <a:pt x="175" y="3371"/>
                    </a:lnTo>
                    <a:lnTo>
                      <a:pt x="209" y="3260"/>
                    </a:lnTo>
                    <a:lnTo>
                      <a:pt x="244" y="3152"/>
                    </a:lnTo>
                    <a:lnTo>
                      <a:pt x="281" y="3045"/>
                    </a:lnTo>
                    <a:lnTo>
                      <a:pt x="321" y="2939"/>
                    </a:lnTo>
                    <a:lnTo>
                      <a:pt x="364" y="2834"/>
                    </a:lnTo>
                    <a:lnTo>
                      <a:pt x="410" y="2731"/>
                    </a:lnTo>
                    <a:lnTo>
                      <a:pt x="457" y="2628"/>
                    </a:lnTo>
                    <a:lnTo>
                      <a:pt x="507" y="2528"/>
                    </a:lnTo>
                    <a:lnTo>
                      <a:pt x="560" y="2429"/>
                    </a:lnTo>
                    <a:lnTo>
                      <a:pt x="614" y="2330"/>
                    </a:lnTo>
                    <a:lnTo>
                      <a:pt x="671" y="2234"/>
                    </a:lnTo>
                    <a:lnTo>
                      <a:pt x="731" y="2139"/>
                    </a:lnTo>
                    <a:lnTo>
                      <a:pt x="792" y="2046"/>
                    </a:lnTo>
                    <a:lnTo>
                      <a:pt x="855" y="1955"/>
                    </a:lnTo>
                    <a:lnTo>
                      <a:pt x="922" y="1863"/>
                    </a:lnTo>
                    <a:lnTo>
                      <a:pt x="989" y="1776"/>
                    </a:lnTo>
                    <a:lnTo>
                      <a:pt x="1059" y="1689"/>
                    </a:lnTo>
                    <a:lnTo>
                      <a:pt x="1131" y="1603"/>
                    </a:lnTo>
                    <a:lnTo>
                      <a:pt x="1205" y="1520"/>
                    </a:lnTo>
                    <a:lnTo>
                      <a:pt x="1280" y="1438"/>
                    </a:lnTo>
                    <a:lnTo>
                      <a:pt x="1358" y="1359"/>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s-ES">
                  <a:solidFill>
                    <a:prstClr val="black"/>
                  </a:solidFill>
                  <a:latin typeface="Helvetica"/>
                </a:endParaRPr>
              </a:p>
            </p:txBody>
          </p:sp>
          <p:sp>
            <p:nvSpPr>
              <p:cNvPr id="18" name="Freeform 7">
                <a:extLst>
                  <a:ext uri="{FF2B5EF4-FFF2-40B4-BE49-F238E27FC236}">
                    <a16:creationId xmlns:a16="http://schemas.microsoft.com/office/drawing/2014/main" id="{DA2DA59E-71A6-40D1-9373-E6417E259644}"/>
                  </a:ext>
                </a:extLst>
              </p:cNvPr>
              <p:cNvSpPr>
                <a:spLocks/>
              </p:cNvSpPr>
              <p:nvPr/>
            </p:nvSpPr>
            <p:spPr bwMode="auto">
              <a:xfrm>
                <a:off x="4724400" y="3398838"/>
                <a:ext cx="401637" cy="1362075"/>
              </a:xfrm>
              <a:custGeom>
                <a:avLst/>
                <a:gdLst>
                  <a:gd name="T0" fmla="*/ 8 w 1765"/>
                  <a:gd name="T1" fmla="*/ 3354 h 6008"/>
                  <a:gd name="T2" fmla="*/ 40 w 1765"/>
                  <a:gd name="T3" fmla="*/ 3748 h 6008"/>
                  <a:gd name="T4" fmla="*/ 98 w 1765"/>
                  <a:gd name="T5" fmla="*/ 4135 h 6008"/>
                  <a:gd name="T6" fmla="*/ 180 w 1765"/>
                  <a:gd name="T7" fmla="*/ 4514 h 6008"/>
                  <a:gd name="T8" fmla="*/ 285 w 1765"/>
                  <a:gd name="T9" fmla="*/ 4883 h 6008"/>
                  <a:gd name="T10" fmla="*/ 414 w 1765"/>
                  <a:gd name="T11" fmla="*/ 5242 h 6008"/>
                  <a:gd name="T12" fmla="*/ 564 w 1765"/>
                  <a:gd name="T13" fmla="*/ 5591 h 6008"/>
                  <a:gd name="T14" fmla="*/ 734 w 1765"/>
                  <a:gd name="T15" fmla="*/ 5926 h 6008"/>
                  <a:gd name="T16" fmla="*/ 786 w 1765"/>
                  <a:gd name="T17" fmla="*/ 5955 h 6008"/>
                  <a:gd name="T18" fmla="*/ 813 w 1765"/>
                  <a:gd name="T19" fmla="*/ 5844 h 6008"/>
                  <a:gd name="T20" fmla="*/ 864 w 1765"/>
                  <a:gd name="T21" fmla="*/ 5728 h 6008"/>
                  <a:gd name="T22" fmla="*/ 939 w 1765"/>
                  <a:gd name="T23" fmla="*/ 5623 h 6008"/>
                  <a:gd name="T24" fmla="*/ 1036 w 1765"/>
                  <a:gd name="T25" fmla="*/ 5531 h 6008"/>
                  <a:gd name="T26" fmla="*/ 1151 w 1765"/>
                  <a:gd name="T27" fmla="*/ 5460 h 6008"/>
                  <a:gd name="T28" fmla="*/ 1273 w 1765"/>
                  <a:gd name="T29" fmla="*/ 5415 h 6008"/>
                  <a:gd name="T30" fmla="*/ 1401 w 1765"/>
                  <a:gd name="T31" fmla="*/ 5395 h 6008"/>
                  <a:gd name="T32" fmla="*/ 1527 w 1765"/>
                  <a:gd name="T33" fmla="*/ 5399 h 6008"/>
                  <a:gd name="T34" fmla="*/ 1638 w 1765"/>
                  <a:gd name="T35" fmla="*/ 5423 h 6008"/>
                  <a:gd name="T36" fmla="*/ 1740 w 1765"/>
                  <a:gd name="T37" fmla="*/ 5465 h 6008"/>
                  <a:gd name="T38" fmla="*/ 1653 w 1765"/>
                  <a:gd name="T39" fmla="*/ 5275 h 6008"/>
                  <a:gd name="T40" fmla="*/ 1521 w 1765"/>
                  <a:gd name="T41" fmla="*/ 4994 h 6008"/>
                  <a:gd name="T42" fmla="*/ 1405 w 1765"/>
                  <a:gd name="T43" fmla="*/ 4704 h 6008"/>
                  <a:gd name="T44" fmla="*/ 1308 w 1765"/>
                  <a:gd name="T45" fmla="*/ 4405 h 6008"/>
                  <a:gd name="T46" fmla="*/ 1231 w 1765"/>
                  <a:gd name="T47" fmla="*/ 4098 h 6008"/>
                  <a:gd name="T48" fmla="*/ 1173 w 1765"/>
                  <a:gd name="T49" fmla="*/ 3784 h 6008"/>
                  <a:gd name="T50" fmla="*/ 1135 w 1765"/>
                  <a:gd name="T51" fmla="*/ 3462 h 6008"/>
                  <a:gd name="T52" fmla="*/ 1118 w 1765"/>
                  <a:gd name="T53" fmla="*/ 3135 h 6008"/>
                  <a:gd name="T54" fmla="*/ 1123 w 1765"/>
                  <a:gd name="T55" fmla="*/ 2815 h 6008"/>
                  <a:gd name="T56" fmla="*/ 1148 w 1765"/>
                  <a:gd name="T57" fmla="*/ 2503 h 6008"/>
                  <a:gd name="T58" fmla="*/ 1193 w 1765"/>
                  <a:gd name="T59" fmla="*/ 2198 h 6008"/>
                  <a:gd name="T60" fmla="*/ 1255 w 1765"/>
                  <a:gd name="T61" fmla="*/ 1898 h 6008"/>
                  <a:gd name="T62" fmla="*/ 1337 w 1765"/>
                  <a:gd name="T63" fmla="*/ 1606 h 6008"/>
                  <a:gd name="T64" fmla="*/ 1435 w 1765"/>
                  <a:gd name="T65" fmla="*/ 1321 h 6008"/>
                  <a:gd name="T66" fmla="*/ 1551 w 1765"/>
                  <a:gd name="T67" fmla="*/ 1045 h 6008"/>
                  <a:gd name="T68" fmla="*/ 1681 w 1765"/>
                  <a:gd name="T69" fmla="*/ 778 h 6008"/>
                  <a:gd name="T70" fmla="*/ 1723 w 1765"/>
                  <a:gd name="T71" fmla="*/ 657 h 6008"/>
                  <a:gd name="T72" fmla="*/ 1723 w 1765"/>
                  <a:gd name="T73" fmla="*/ 583 h 6008"/>
                  <a:gd name="T74" fmla="*/ 1702 w 1765"/>
                  <a:gd name="T75" fmla="*/ 456 h 6008"/>
                  <a:gd name="T76" fmla="*/ 1657 w 1765"/>
                  <a:gd name="T77" fmla="*/ 340 h 6008"/>
                  <a:gd name="T78" fmla="*/ 1593 w 1765"/>
                  <a:gd name="T79" fmla="*/ 239 h 6008"/>
                  <a:gd name="T80" fmla="*/ 1510 w 1765"/>
                  <a:gd name="T81" fmla="*/ 151 h 6008"/>
                  <a:gd name="T82" fmla="*/ 1408 w 1765"/>
                  <a:gd name="T83" fmla="*/ 79 h 6008"/>
                  <a:gd name="T84" fmla="*/ 1293 w 1765"/>
                  <a:gd name="T85" fmla="*/ 29 h 6008"/>
                  <a:gd name="T86" fmla="*/ 1173 w 1765"/>
                  <a:gd name="T87" fmla="*/ 3 h 6008"/>
                  <a:gd name="T88" fmla="*/ 1053 w 1765"/>
                  <a:gd name="T89" fmla="*/ 2 h 6008"/>
                  <a:gd name="T90" fmla="*/ 936 w 1765"/>
                  <a:gd name="T91" fmla="*/ 24 h 6008"/>
                  <a:gd name="T92" fmla="*/ 814 w 1765"/>
                  <a:gd name="T93" fmla="*/ 72 h 6008"/>
                  <a:gd name="T94" fmla="*/ 650 w 1765"/>
                  <a:gd name="T95" fmla="*/ 339 h 6008"/>
                  <a:gd name="T96" fmla="*/ 489 w 1765"/>
                  <a:gd name="T97" fmla="*/ 681 h 6008"/>
                  <a:gd name="T98" fmla="*/ 348 w 1765"/>
                  <a:gd name="T99" fmla="*/ 1036 h 6008"/>
                  <a:gd name="T100" fmla="*/ 232 w 1765"/>
                  <a:gd name="T101" fmla="*/ 1401 h 6008"/>
                  <a:gd name="T102" fmla="*/ 136 w 1765"/>
                  <a:gd name="T103" fmla="*/ 1776 h 6008"/>
                  <a:gd name="T104" fmla="*/ 67 w 1765"/>
                  <a:gd name="T105" fmla="*/ 2161 h 6008"/>
                  <a:gd name="T106" fmla="*/ 21 w 1765"/>
                  <a:gd name="T107" fmla="*/ 2553 h 6008"/>
                  <a:gd name="T108" fmla="*/ 2 w 1765"/>
                  <a:gd name="T109" fmla="*/ 2952 h 6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65" h="6008">
                    <a:moveTo>
                      <a:pt x="0" y="3053"/>
                    </a:moveTo>
                    <a:lnTo>
                      <a:pt x="2" y="3154"/>
                    </a:lnTo>
                    <a:lnTo>
                      <a:pt x="4" y="3253"/>
                    </a:lnTo>
                    <a:lnTo>
                      <a:pt x="8" y="3354"/>
                    </a:lnTo>
                    <a:lnTo>
                      <a:pt x="13" y="3453"/>
                    </a:lnTo>
                    <a:lnTo>
                      <a:pt x="21" y="3552"/>
                    </a:lnTo>
                    <a:lnTo>
                      <a:pt x="29" y="3651"/>
                    </a:lnTo>
                    <a:lnTo>
                      <a:pt x="40" y="3748"/>
                    </a:lnTo>
                    <a:lnTo>
                      <a:pt x="53" y="3846"/>
                    </a:lnTo>
                    <a:lnTo>
                      <a:pt x="66" y="3943"/>
                    </a:lnTo>
                    <a:lnTo>
                      <a:pt x="81" y="4040"/>
                    </a:lnTo>
                    <a:lnTo>
                      <a:pt x="98" y="4135"/>
                    </a:lnTo>
                    <a:lnTo>
                      <a:pt x="116" y="4230"/>
                    </a:lnTo>
                    <a:lnTo>
                      <a:pt x="136" y="4326"/>
                    </a:lnTo>
                    <a:lnTo>
                      <a:pt x="157" y="4420"/>
                    </a:lnTo>
                    <a:lnTo>
                      <a:pt x="180" y="4514"/>
                    </a:lnTo>
                    <a:lnTo>
                      <a:pt x="204" y="4607"/>
                    </a:lnTo>
                    <a:lnTo>
                      <a:pt x="230" y="4699"/>
                    </a:lnTo>
                    <a:lnTo>
                      <a:pt x="257" y="4792"/>
                    </a:lnTo>
                    <a:lnTo>
                      <a:pt x="285" y="4883"/>
                    </a:lnTo>
                    <a:lnTo>
                      <a:pt x="315" y="4974"/>
                    </a:lnTo>
                    <a:lnTo>
                      <a:pt x="346" y="5064"/>
                    </a:lnTo>
                    <a:lnTo>
                      <a:pt x="379" y="5154"/>
                    </a:lnTo>
                    <a:lnTo>
                      <a:pt x="414" y="5242"/>
                    </a:lnTo>
                    <a:lnTo>
                      <a:pt x="449" y="5330"/>
                    </a:lnTo>
                    <a:lnTo>
                      <a:pt x="485" y="5417"/>
                    </a:lnTo>
                    <a:lnTo>
                      <a:pt x="524" y="5504"/>
                    </a:lnTo>
                    <a:lnTo>
                      <a:pt x="564" y="5591"/>
                    </a:lnTo>
                    <a:lnTo>
                      <a:pt x="604" y="5675"/>
                    </a:lnTo>
                    <a:lnTo>
                      <a:pt x="646" y="5760"/>
                    </a:lnTo>
                    <a:lnTo>
                      <a:pt x="690" y="5843"/>
                    </a:lnTo>
                    <a:lnTo>
                      <a:pt x="734" y="5926"/>
                    </a:lnTo>
                    <a:lnTo>
                      <a:pt x="780" y="6008"/>
                    </a:lnTo>
                    <a:lnTo>
                      <a:pt x="782" y="5990"/>
                    </a:lnTo>
                    <a:lnTo>
                      <a:pt x="784" y="5973"/>
                    </a:lnTo>
                    <a:lnTo>
                      <a:pt x="786" y="5955"/>
                    </a:lnTo>
                    <a:lnTo>
                      <a:pt x="789" y="5937"/>
                    </a:lnTo>
                    <a:lnTo>
                      <a:pt x="796" y="5906"/>
                    </a:lnTo>
                    <a:lnTo>
                      <a:pt x="803" y="5876"/>
                    </a:lnTo>
                    <a:lnTo>
                      <a:pt x="813" y="5844"/>
                    </a:lnTo>
                    <a:lnTo>
                      <a:pt x="824" y="5814"/>
                    </a:lnTo>
                    <a:lnTo>
                      <a:pt x="836" y="5786"/>
                    </a:lnTo>
                    <a:lnTo>
                      <a:pt x="849" y="5757"/>
                    </a:lnTo>
                    <a:lnTo>
                      <a:pt x="864" y="5728"/>
                    </a:lnTo>
                    <a:lnTo>
                      <a:pt x="882" y="5701"/>
                    </a:lnTo>
                    <a:lnTo>
                      <a:pt x="900" y="5674"/>
                    </a:lnTo>
                    <a:lnTo>
                      <a:pt x="919" y="5647"/>
                    </a:lnTo>
                    <a:lnTo>
                      <a:pt x="939" y="5623"/>
                    </a:lnTo>
                    <a:lnTo>
                      <a:pt x="962" y="5598"/>
                    </a:lnTo>
                    <a:lnTo>
                      <a:pt x="985" y="5575"/>
                    </a:lnTo>
                    <a:lnTo>
                      <a:pt x="1010" y="5552"/>
                    </a:lnTo>
                    <a:lnTo>
                      <a:pt x="1036" y="5531"/>
                    </a:lnTo>
                    <a:lnTo>
                      <a:pt x="1064" y="5511"/>
                    </a:lnTo>
                    <a:lnTo>
                      <a:pt x="1092" y="5492"/>
                    </a:lnTo>
                    <a:lnTo>
                      <a:pt x="1121" y="5475"/>
                    </a:lnTo>
                    <a:lnTo>
                      <a:pt x="1151" y="5460"/>
                    </a:lnTo>
                    <a:lnTo>
                      <a:pt x="1181" y="5446"/>
                    </a:lnTo>
                    <a:lnTo>
                      <a:pt x="1211" y="5434"/>
                    </a:lnTo>
                    <a:lnTo>
                      <a:pt x="1242" y="5423"/>
                    </a:lnTo>
                    <a:lnTo>
                      <a:pt x="1273" y="5415"/>
                    </a:lnTo>
                    <a:lnTo>
                      <a:pt x="1305" y="5407"/>
                    </a:lnTo>
                    <a:lnTo>
                      <a:pt x="1337" y="5401"/>
                    </a:lnTo>
                    <a:lnTo>
                      <a:pt x="1369" y="5397"/>
                    </a:lnTo>
                    <a:lnTo>
                      <a:pt x="1401" y="5395"/>
                    </a:lnTo>
                    <a:lnTo>
                      <a:pt x="1432" y="5394"/>
                    </a:lnTo>
                    <a:lnTo>
                      <a:pt x="1464" y="5394"/>
                    </a:lnTo>
                    <a:lnTo>
                      <a:pt x="1496" y="5396"/>
                    </a:lnTo>
                    <a:lnTo>
                      <a:pt x="1527" y="5399"/>
                    </a:lnTo>
                    <a:lnTo>
                      <a:pt x="1559" y="5404"/>
                    </a:lnTo>
                    <a:lnTo>
                      <a:pt x="1586" y="5410"/>
                    </a:lnTo>
                    <a:lnTo>
                      <a:pt x="1612" y="5416"/>
                    </a:lnTo>
                    <a:lnTo>
                      <a:pt x="1638" y="5423"/>
                    </a:lnTo>
                    <a:lnTo>
                      <a:pt x="1664" y="5432"/>
                    </a:lnTo>
                    <a:lnTo>
                      <a:pt x="1690" y="5442"/>
                    </a:lnTo>
                    <a:lnTo>
                      <a:pt x="1716" y="5453"/>
                    </a:lnTo>
                    <a:lnTo>
                      <a:pt x="1740" y="5465"/>
                    </a:lnTo>
                    <a:lnTo>
                      <a:pt x="1765" y="5478"/>
                    </a:lnTo>
                    <a:lnTo>
                      <a:pt x="1726" y="5411"/>
                    </a:lnTo>
                    <a:lnTo>
                      <a:pt x="1689" y="5343"/>
                    </a:lnTo>
                    <a:lnTo>
                      <a:pt x="1653" y="5275"/>
                    </a:lnTo>
                    <a:lnTo>
                      <a:pt x="1618" y="5205"/>
                    </a:lnTo>
                    <a:lnTo>
                      <a:pt x="1585" y="5135"/>
                    </a:lnTo>
                    <a:lnTo>
                      <a:pt x="1552" y="5065"/>
                    </a:lnTo>
                    <a:lnTo>
                      <a:pt x="1521" y="4994"/>
                    </a:lnTo>
                    <a:lnTo>
                      <a:pt x="1490" y="4922"/>
                    </a:lnTo>
                    <a:lnTo>
                      <a:pt x="1461" y="4850"/>
                    </a:lnTo>
                    <a:lnTo>
                      <a:pt x="1432" y="4778"/>
                    </a:lnTo>
                    <a:lnTo>
                      <a:pt x="1405" y="4704"/>
                    </a:lnTo>
                    <a:lnTo>
                      <a:pt x="1379" y="4630"/>
                    </a:lnTo>
                    <a:lnTo>
                      <a:pt x="1355" y="4556"/>
                    </a:lnTo>
                    <a:lnTo>
                      <a:pt x="1330" y="4481"/>
                    </a:lnTo>
                    <a:lnTo>
                      <a:pt x="1308" y="4405"/>
                    </a:lnTo>
                    <a:lnTo>
                      <a:pt x="1287" y="4329"/>
                    </a:lnTo>
                    <a:lnTo>
                      <a:pt x="1267" y="4253"/>
                    </a:lnTo>
                    <a:lnTo>
                      <a:pt x="1248" y="4176"/>
                    </a:lnTo>
                    <a:lnTo>
                      <a:pt x="1231" y="4098"/>
                    </a:lnTo>
                    <a:lnTo>
                      <a:pt x="1214" y="4020"/>
                    </a:lnTo>
                    <a:lnTo>
                      <a:pt x="1198" y="3942"/>
                    </a:lnTo>
                    <a:lnTo>
                      <a:pt x="1185" y="3863"/>
                    </a:lnTo>
                    <a:lnTo>
                      <a:pt x="1173" y="3784"/>
                    </a:lnTo>
                    <a:lnTo>
                      <a:pt x="1161" y="3704"/>
                    </a:lnTo>
                    <a:lnTo>
                      <a:pt x="1151" y="3624"/>
                    </a:lnTo>
                    <a:lnTo>
                      <a:pt x="1143" y="3544"/>
                    </a:lnTo>
                    <a:lnTo>
                      <a:pt x="1135" y="3462"/>
                    </a:lnTo>
                    <a:lnTo>
                      <a:pt x="1129" y="3382"/>
                    </a:lnTo>
                    <a:lnTo>
                      <a:pt x="1125" y="3299"/>
                    </a:lnTo>
                    <a:lnTo>
                      <a:pt x="1120" y="3218"/>
                    </a:lnTo>
                    <a:lnTo>
                      <a:pt x="1118" y="3135"/>
                    </a:lnTo>
                    <a:lnTo>
                      <a:pt x="1118" y="3053"/>
                    </a:lnTo>
                    <a:lnTo>
                      <a:pt x="1118" y="2974"/>
                    </a:lnTo>
                    <a:lnTo>
                      <a:pt x="1120" y="2894"/>
                    </a:lnTo>
                    <a:lnTo>
                      <a:pt x="1123" y="2815"/>
                    </a:lnTo>
                    <a:lnTo>
                      <a:pt x="1128" y="2737"/>
                    </a:lnTo>
                    <a:lnTo>
                      <a:pt x="1133" y="2659"/>
                    </a:lnTo>
                    <a:lnTo>
                      <a:pt x="1141" y="2582"/>
                    </a:lnTo>
                    <a:lnTo>
                      <a:pt x="1148" y="2503"/>
                    </a:lnTo>
                    <a:lnTo>
                      <a:pt x="1158" y="2426"/>
                    </a:lnTo>
                    <a:lnTo>
                      <a:pt x="1168" y="2350"/>
                    </a:lnTo>
                    <a:lnTo>
                      <a:pt x="1180" y="2274"/>
                    </a:lnTo>
                    <a:lnTo>
                      <a:pt x="1193" y="2198"/>
                    </a:lnTo>
                    <a:lnTo>
                      <a:pt x="1207" y="2122"/>
                    </a:lnTo>
                    <a:lnTo>
                      <a:pt x="1222" y="2047"/>
                    </a:lnTo>
                    <a:lnTo>
                      <a:pt x="1238" y="1972"/>
                    </a:lnTo>
                    <a:lnTo>
                      <a:pt x="1255" y="1898"/>
                    </a:lnTo>
                    <a:lnTo>
                      <a:pt x="1274" y="1824"/>
                    </a:lnTo>
                    <a:lnTo>
                      <a:pt x="1294" y="1752"/>
                    </a:lnTo>
                    <a:lnTo>
                      <a:pt x="1315" y="1679"/>
                    </a:lnTo>
                    <a:lnTo>
                      <a:pt x="1337" y="1606"/>
                    </a:lnTo>
                    <a:lnTo>
                      <a:pt x="1360" y="1534"/>
                    </a:lnTo>
                    <a:lnTo>
                      <a:pt x="1384" y="1462"/>
                    </a:lnTo>
                    <a:lnTo>
                      <a:pt x="1409" y="1392"/>
                    </a:lnTo>
                    <a:lnTo>
                      <a:pt x="1435" y="1321"/>
                    </a:lnTo>
                    <a:lnTo>
                      <a:pt x="1462" y="1251"/>
                    </a:lnTo>
                    <a:lnTo>
                      <a:pt x="1491" y="1182"/>
                    </a:lnTo>
                    <a:lnTo>
                      <a:pt x="1520" y="1113"/>
                    </a:lnTo>
                    <a:lnTo>
                      <a:pt x="1551" y="1045"/>
                    </a:lnTo>
                    <a:lnTo>
                      <a:pt x="1582" y="977"/>
                    </a:lnTo>
                    <a:lnTo>
                      <a:pt x="1614" y="910"/>
                    </a:lnTo>
                    <a:lnTo>
                      <a:pt x="1647" y="843"/>
                    </a:lnTo>
                    <a:lnTo>
                      <a:pt x="1681" y="778"/>
                    </a:lnTo>
                    <a:lnTo>
                      <a:pt x="1717" y="712"/>
                    </a:lnTo>
                    <a:lnTo>
                      <a:pt x="1720" y="693"/>
                    </a:lnTo>
                    <a:lnTo>
                      <a:pt x="1722" y="675"/>
                    </a:lnTo>
                    <a:lnTo>
                      <a:pt x="1723" y="657"/>
                    </a:lnTo>
                    <a:lnTo>
                      <a:pt x="1724" y="638"/>
                    </a:lnTo>
                    <a:lnTo>
                      <a:pt x="1724" y="619"/>
                    </a:lnTo>
                    <a:lnTo>
                      <a:pt x="1724" y="601"/>
                    </a:lnTo>
                    <a:lnTo>
                      <a:pt x="1723" y="583"/>
                    </a:lnTo>
                    <a:lnTo>
                      <a:pt x="1722" y="565"/>
                    </a:lnTo>
                    <a:lnTo>
                      <a:pt x="1717" y="528"/>
                    </a:lnTo>
                    <a:lnTo>
                      <a:pt x="1710" y="492"/>
                    </a:lnTo>
                    <a:lnTo>
                      <a:pt x="1702" y="456"/>
                    </a:lnTo>
                    <a:lnTo>
                      <a:pt x="1692" y="421"/>
                    </a:lnTo>
                    <a:lnTo>
                      <a:pt x="1681" y="393"/>
                    </a:lnTo>
                    <a:lnTo>
                      <a:pt x="1669" y="367"/>
                    </a:lnTo>
                    <a:lnTo>
                      <a:pt x="1657" y="340"/>
                    </a:lnTo>
                    <a:lnTo>
                      <a:pt x="1643" y="313"/>
                    </a:lnTo>
                    <a:lnTo>
                      <a:pt x="1628" y="287"/>
                    </a:lnTo>
                    <a:lnTo>
                      <a:pt x="1611" y="263"/>
                    </a:lnTo>
                    <a:lnTo>
                      <a:pt x="1593" y="239"/>
                    </a:lnTo>
                    <a:lnTo>
                      <a:pt x="1574" y="215"/>
                    </a:lnTo>
                    <a:lnTo>
                      <a:pt x="1554" y="193"/>
                    </a:lnTo>
                    <a:lnTo>
                      <a:pt x="1532" y="172"/>
                    </a:lnTo>
                    <a:lnTo>
                      <a:pt x="1510" y="151"/>
                    </a:lnTo>
                    <a:lnTo>
                      <a:pt x="1486" y="131"/>
                    </a:lnTo>
                    <a:lnTo>
                      <a:pt x="1462" y="113"/>
                    </a:lnTo>
                    <a:lnTo>
                      <a:pt x="1435" y="95"/>
                    </a:lnTo>
                    <a:lnTo>
                      <a:pt x="1408" y="79"/>
                    </a:lnTo>
                    <a:lnTo>
                      <a:pt x="1380" y="64"/>
                    </a:lnTo>
                    <a:lnTo>
                      <a:pt x="1352" y="51"/>
                    </a:lnTo>
                    <a:lnTo>
                      <a:pt x="1322" y="39"/>
                    </a:lnTo>
                    <a:lnTo>
                      <a:pt x="1293" y="29"/>
                    </a:lnTo>
                    <a:lnTo>
                      <a:pt x="1263" y="21"/>
                    </a:lnTo>
                    <a:lnTo>
                      <a:pt x="1233" y="13"/>
                    </a:lnTo>
                    <a:lnTo>
                      <a:pt x="1203" y="8"/>
                    </a:lnTo>
                    <a:lnTo>
                      <a:pt x="1173" y="3"/>
                    </a:lnTo>
                    <a:lnTo>
                      <a:pt x="1143" y="1"/>
                    </a:lnTo>
                    <a:lnTo>
                      <a:pt x="1113" y="0"/>
                    </a:lnTo>
                    <a:lnTo>
                      <a:pt x="1083" y="0"/>
                    </a:lnTo>
                    <a:lnTo>
                      <a:pt x="1053" y="2"/>
                    </a:lnTo>
                    <a:lnTo>
                      <a:pt x="1023" y="6"/>
                    </a:lnTo>
                    <a:lnTo>
                      <a:pt x="994" y="10"/>
                    </a:lnTo>
                    <a:lnTo>
                      <a:pt x="965" y="16"/>
                    </a:lnTo>
                    <a:lnTo>
                      <a:pt x="936" y="24"/>
                    </a:lnTo>
                    <a:lnTo>
                      <a:pt x="907" y="32"/>
                    </a:lnTo>
                    <a:lnTo>
                      <a:pt x="876" y="44"/>
                    </a:lnTo>
                    <a:lnTo>
                      <a:pt x="845" y="57"/>
                    </a:lnTo>
                    <a:lnTo>
                      <a:pt x="814" y="72"/>
                    </a:lnTo>
                    <a:lnTo>
                      <a:pt x="785" y="89"/>
                    </a:lnTo>
                    <a:lnTo>
                      <a:pt x="739" y="172"/>
                    </a:lnTo>
                    <a:lnTo>
                      <a:pt x="694" y="254"/>
                    </a:lnTo>
                    <a:lnTo>
                      <a:pt x="650" y="339"/>
                    </a:lnTo>
                    <a:lnTo>
                      <a:pt x="607" y="423"/>
                    </a:lnTo>
                    <a:lnTo>
                      <a:pt x="567" y="508"/>
                    </a:lnTo>
                    <a:lnTo>
                      <a:pt x="527" y="595"/>
                    </a:lnTo>
                    <a:lnTo>
                      <a:pt x="489" y="681"/>
                    </a:lnTo>
                    <a:lnTo>
                      <a:pt x="452" y="769"/>
                    </a:lnTo>
                    <a:lnTo>
                      <a:pt x="416" y="857"/>
                    </a:lnTo>
                    <a:lnTo>
                      <a:pt x="382" y="946"/>
                    </a:lnTo>
                    <a:lnTo>
                      <a:pt x="348" y="1036"/>
                    </a:lnTo>
                    <a:lnTo>
                      <a:pt x="317" y="1126"/>
                    </a:lnTo>
                    <a:lnTo>
                      <a:pt x="287" y="1217"/>
                    </a:lnTo>
                    <a:lnTo>
                      <a:pt x="258" y="1309"/>
                    </a:lnTo>
                    <a:lnTo>
                      <a:pt x="232" y="1401"/>
                    </a:lnTo>
                    <a:lnTo>
                      <a:pt x="205" y="1494"/>
                    </a:lnTo>
                    <a:lnTo>
                      <a:pt x="181" y="1588"/>
                    </a:lnTo>
                    <a:lnTo>
                      <a:pt x="158" y="1682"/>
                    </a:lnTo>
                    <a:lnTo>
                      <a:pt x="136" y="1776"/>
                    </a:lnTo>
                    <a:lnTo>
                      <a:pt x="117" y="1871"/>
                    </a:lnTo>
                    <a:lnTo>
                      <a:pt x="99" y="1968"/>
                    </a:lnTo>
                    <a:lnTo>
                      <a:pt x="82" y="2063"/>
                    </a:lnTo>
                    <a:lnTo>
                      <a:pt x="67" y="2161"/>
                    </a:lnTo>
                    <a:lnTo>
                      <a:pt x="53" y="2258"/>
                    </a:lnTo>
                    <a:lnTo>
                      <a:pt x="41" y="2356"/>
                    </a:lnTo>
                    <a:lnTo>
                      <a:pt x="30" y="2454"/>
                    </a:lnTo>
                    <a:lnTo>
                      <a:pt x="21" y="2553"/>
                    </a:lnTo>
                    <a:lnTo>
                      <a:pt x="13" y="2652"/>
                    </a:lnTo>
                    <a:lnTo>
                      <a:pt x="8" y="2752"/>
                    </a:lnTo>
                    <a:lnTo>
                      <a:pt x="4" y="2852"/>
                    </a:lnTo>
                    <a:lnTo>
                      <a:pt x="2" y="2952"/>
                    </a:lnTo>
                    <a:lnTo>
                      <a:pt x="0" y="3053"/>
                    </a:lnTo>
                    <a:close/>
                  </a:path>
                </a:pathLst>
              </a:custGeom>
              <a:solidFill>
                <a:srgbClr val="0039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s-ES">
                  <a:solidFill>
                    <a:prstClr val="black"/>
                  </a:solidFill>
                  <a:latin typeface="Helvetica"/>
                </a:endParaRPr>
              </a:p>
            </p:txBody>
          </p:sp>
          <p:sp>
            <p:nvSpPr>
              <p:cNvPr id="19" name="Freeform 8">
                <a:extLst>
                  <a:ext uri="{FF2B5EF4-FFF2-40B4-BE49-F238E27FC236}">
                    <a16:creationId xmlns:a16="http://schemas.microsoft.com/office/drawing/2014/main" id="{AD3E3700-FCA4-4DA2-9B52-AAD0E7A66C95}"/>
                  </a:ext>
                </a:extLst>
              </p:cNvPr>
              <p:cNvSpPr>
                <a:spLocks/>
              </p:cNvSpPr>
              <p:nvPr/>
            </p:nvSpPr>
            <p:spPr bwMode="auto">
              <a:xfrm>
                <a:off x="4911725" y="2735263"/>
                <a:ext cx="1235075" cy="804863"/>
              </a:xfrm>
              <a:custGeom>
                <a:avLst/>
                <a:gdLst>
                  <a:gd name="T0" fmla="*/ 1964 w 5442"/>
                  <a:gd name="T1" fmla="*/ 2310 h 3552"/>
                  <a:gd name="T2" fmla="*/ 2321 w 5442"/>
                  <a:gd name="T3" fmla="*/ 2027 h 3552"/>
                  <a:gd name="T4" fmla="*/ 2703 w 5442"/>
                  <a:gd name="T5" fmla="*/ 1779 h 3552"/>
                  <a:gd name="T6" fmla="*/ 3109 w 5442"/>
                  <a:gd name="T7" fmla="*/ 1567 h 3552"/>
                  <a:gd name="T8" fmla="*/ 3536 w 5442"/>
                  <a:gd name="T9" fmla="*/ 1393 h 3552"/>
                  <a:gd name="T10" fmla="*/ 3982 w 5442"/>
                  <a:gd name="T11" fmla="*/ 1259 h 3552"/>
                  <a:gd name="T12" fmla="*/ 4446 w 5442"/>
                  <a:gd name="T13" fmla="*/ 1168 h 3552"/>
                  <a:gd name="T14" fmla="*/ 4923 w 5442"/>
                  <a:gd name="T15" fmla="*/ 1123 h 3552"/>
                  <a:gd name="T16" fmla="*/ 5097 w 5442"/>
                  <a:gd name="T17" fmla="*/ 1096 h 3552"/>
                  <a:gd name="T18" fmla="*/ 5161 w 5442"/>
                  <a:gd name="T19" fmla="*/ 1059 h 3552"/>
                  <a:gd name="T20" fmla="*/ 5221 w 5442"/>
                  <a:gd name="T21" fmla="*/ 1014 h 3552"/>
                  <a:gd name="T22" fmla="*/ 5275 w 5442"/>
                  <a:gd name="T23" fmla="*/ 964 h 3552"/>
                  <a:gd name="T24" fmla="*/ 5341 w 5442"/>
                  <a:gd name="T25" fmla="*/ 879 h 3552"/>
                  <a:gd name="T26" fmla="*/ 5397 w 5442"/>
                  <a:gd name="T27" fmla="*/ 773 h 3552"/>
                  <a:gd name="T28" fmla="*/ 5431 w 5442"/>
                  <a:gd name="T29" fmla="*/ 656 h 3552"/>
                  <a:gd name="T30" fmla="*/ 5442 w 5442"/>
                  <a:gd name="T31" fmla="*/ 533 h 3552"/>
                  <a:gd name="T32" fmla="*/ 5427 w 5442"/>
                  <a:gd name="T33" fmla="*/ 408 h 3552"/>
                  <a:gd name="T34" fmla="*/ 5389 w 5442"/>
                  <a:gd name="T35" fmla="*/ 291 h 3552"/>
                  <a:gd name="T36" fmla="*/ 5330 w 5442"/>
                  <a:gd name="T37" fmla="*/ 186 h 3552"/>
                  <a:gd name="T38" fmla="*/ 5253 w 5442"/>
                  <a:gd name="T39" fmla="*/ 96 h 3552"/>
                  <a:gd name="T40" fmla="*/ 5153 w 5442"/>
                  <a:gd name="T41" fmla="*/ 17 h 3552"/>
                  <a:gd name="T42" fmla="*/ 4666 w 5442"/>
                  <a:gd name="T43" fmla="*/ 19 h 3552"/>
                  <a:gd name="T44" fmla="*/ 4073 w 5442"/>
                  <a:gd name="T45" fmla="*/ 97 h 3552"/>
                  <a:gd name="T46" fmla="*/ 3498 w 5442"/>
                  <a:gd name="T47" fmla="*/ 231 h 3552"/>
                  <a:gd name="T48" fmla="*/ 2947 w 5442"/>
                  <a:gd name="T49" fmla="*/ 419 h 3552"/>
                  <a:gd name="T50" fmla="*/ 2421 w 5442"/>
                  <a:gd name="T51" fmla="*/ 658 h 3552"/>
                  <a:gd name="T52" fmla="*/ 1924 w 5442"/>
                  <a:gd name="T53" fmla="*/ 945 h 3552"/>
                  <a:gd name="T54" fmla="*/ 1458 w 5442"/>
                  <a:gd name="T55" fmla="*/ 1277 h 3552"/>
                  <a:gd name="T56" fmla="*/ 1028 w 5442"/>
                  <a:gd name="T57" fmla="*/ 1651 h 3552"/>
                  <a:gd name="T58" fmla="*/ 730 w 5442"/>
                  <a:gd name="T59" fmla="*/ 1957 h 3552"/>
                  <a:gd name="T60" fmla="*/ 484 w 5442"/>
                  <a:gd name="T61" fmla="*/ 2245 h 3552"/>
                  <a:gd name="T62" fmla="*/ 257 w 5442"/>
                  <a:gd name="T63" fmla="*/ 2548 h 3552"/>
                  <a:gd name="T64" fmla="*/ 48 w 5442"/>
                  <a:gd name="T65" fmla="*/ 2866 h 3552"/>
                  <a:gd name="T66" fmla="*/ 50 w 5442"/>
                  <a:gd name="T67" fmla="*/ 2926 h 3552"/>
                  <a:gd name="T68" fmla="*/ 160 w 5442"/>
                  <a:gd name="T69" fmla="*/ 2896 h 3552"/>
                  <a:gd name="T70" fmla="*/ 287 w 5442"/>
                  <a:gd name="T71" fmla="*/ 2885 h 3552"/>
                  <a:gd name="T72" fmla="*/ 415 w 5442"/>
                  <a:gd name="T73" fmla="*/ 2899 h 3552"/>
                  <a:gd name="T74" fmla="*/ 543 w 5442"/>
                  <a:gd name="T75" fmla="*/ 2940 h 3552"/>
                  <a:gd name="T76" fmla="*/ 659 w 5442"/>
                  <a:gd name="T77" fmla="*/ 3006 h 3552"/>
                  <a:gd name="T78" fmla="*/ 759 w 5442"/>
                  <a:gd name="T79" fmla="*/ 3091 h 3552"/>
                  <a:gd name="T80" fmla="*/ 838 w 5442"/>
                  <a:gd name="T81" fmla="*/ 3193 h 3552"/>
                  <a:gd name="T82" fmla="*/ 895 w 5442"/>
                  <a:gd name="T83" fmla="*/ 3306 h 3552"/>
                  <a:gd name="T84" fmla="*/ 927 w 5442"/>
                  <a:gd name="T85" fmla="*/ 3416 h 3552"/>
                  <a:gd name="T86" fmla="*/ 940 w 5442"/>
                  <a:gd name="T87" fmla="*/ 3524 h 3552"/>
                  <a:gd name="T88" fmla="*/ 1066 w 5442"/>
                  <a:gd name="T89" fmla="*/ 3347 h 3552"/>
                  <a:gd name="T90" fmla="*/ 1247 w 5442"/>
                  <a:gd name="T91" fmla="*/ 3085 h 3552"/>
                  <a:gd name="T92" fmla="*/ 1446 w 5442"/>
                  <a:gd name="T93" fmla="*/ 2835 h 3552"/>
                  <a:gd name="T94" fmla="*/ 1659 w 5442"/>
                  <a:gd name="T95" fmla="*/ 2598 h 3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442" h="3552">
                    <a:moveTo>
                      <a:pt x="1716" y="2543"/>
                    </a:moveTo>
                    <a:lnTo>
                      <a:pt x="1796" y="2462"/>
                    </a:lnTo>
                    <a:lnTo>
                      <a:pt x="1880" y="2385"/>
                    </a:lnTo>
                    <a:lnTo>
                      <a:pt x="1964" y="2310"/>
                    </a:lnTo>
                    <a:lnTo>
                      <a:pt x="2051" y="2236"/>
                    </a:lnTo>
                    <a:lnTo>
                      <a:pt x="2139" y="2164"/>
                    </a:lnTo>
                    <a:lnTo>
                      <a:pt x="2229" y="2095"/>
                    </a:lnTo>
                    <a:lnTo>
                      <a:pt x="2321" y="2027"/>
                    </a:lnTo>
                    <a:lnTo>
                      <a:pt x="2414" y="1962"/>
                    </a:lnTo>
                    <a:lnTo>
                      <a:pt x="2509" y="1899"/>
                    </a:lnTo>
                    <a:lnTo>
                      <a:pt x="2606" y="1838"/>
                    </a:lnTo>
                    <a:lnTo>
                      <a:pt x="2703" y="1779"/>
                    </a:lnTo>
                    <a:lnTo>
                      <a:pt x="2803" y="1723"/>
                    </a:lnTo>
                    <a:lnTo>
                      <a:pt x="2903" y="1668"/>
                    </a:lnTo>
                    <a:lnTo>
                      <a:pt x="3005" y="1617"/>
                    </a:lnTo>
                    <a:lnTo>
                      <a:pt x="3109" y="1567"/>
                    </a:lnTo>
                    <a:lnTo>
                      <a:pt x="3214" y="1520"/>
                    </a:lnTo>
                    <a:lnTo>
                      <a:pt x="3320" y="1475"/>
                    </a:lnTo>
                    <a:lnTo>
                      <a:pt x="3428" y="1433"/>
                    </a:lnTo>
                    <a:lnTo>
                      <a:pt x="3536" y="1393"/>
                    </a:lnTo>
                    <a:lnTo>
                      <a:pt x="3646" y="1356"/>
                    </a:lnTo>
                    <a:lnTo>
                      <a:pt x="3758" y="1321"/>
                    </a:lnTo>
                    <a:lnTo>
                      <a:pt x="3869" y="1289"/>
                    </a:lnTo>
                    <a:lnTo>
                      <a:pt x="3982" y="1259"/>
                    </a:lnTo>
                    <a:lnTo>
                      <a:pt x="4097" y="1233"/>
                    </a:lnTo>
                    <a:lnTo>
                      <a:pt x="4213" y="1209"/>
                    </a:lnTo>
                    <a:lnTo>
                      <a:pt x="4328" y="1188"/>
                    </a:lnTo>
                    <a:lnTo>
                      <a:pt x="4446" y="1168"/>
                    </a:lnTo>
                    <a:lnTo>
                      <a:pt x="4564" y="1153"/>
                    </a:lnTo>
                    <a:lnTo>
                      <a:pt x="4683" y="1140"/>
                    </a:lnTo>
                    <a:lnTo>
                      <a:pt x="4802" y="1130"/>
                    </a:lnTo>
                    <a:lnTo>
                      <a:pt x="4923" y="1123"/>
                    </a:lnTo>
                    <a:lnTo>
                      <a:pt x="5044" y="1119"/>
                    </a:lnTo>
                    <a:lnTo>
                      <a:pt x="5063" y="1111"/>
                    </a:lnTo>
                    <a:lnTo>
                      <a:pt x="5080" y="1104"/>
                    </a:lnTo>
                    <a:lnTo>
                      <a:pt x="5097" y="1096"/>
                    </a:lnTo>
                    <a:lnTo>
                      <a:pt x="5113" y="1088"/>
                    </a:lnTo>
                    <a:lnTo>
                      <a:pt x="5130" y="1078"/>
                    </a:lnTo>
                    <a:lnTo>
                      <a:pt x="5146" y="1069"/>
                    </a:lnTo>
                    <a:lnTo>
                      <a:pt x="5161" y="1059"/>
                    </a:lnTo>
                    <a:lnTo>
                      <a:pt x="5177" y="1048"/>
                    </a:lnTo>
                    <a:lnTo>
                      <a:pt x="5192" y="1038"/>
                    </a:lnTo>
                    <a:lnTo>
                      <a:pt x="5207" y="1026"/>
                    </a:lnTo>
                    <a:lnTo>
                      <a:pt x="5221" y="1014"/>
                    </a:lnTo>
                    <a:lnTo>
                      <a:pt x="5235" y="1002"/>
                    </a:lnTo>
                    <a:lnTo>
                      <a:pt x="5249" y="989"/>
                    </a:lnTo>
                    <a:lnTo>
                      <a:pt x="5262" y="976"/>
                    </a:lnTo>
                    <a:lnTo>
                      <a:pt x="5275" y="964"/>
                    </a:lnTo>
                    <a:lnTo>
                      <a:pt x="5287" y="950"/>
                    </a:lnTo>
                    <a:lnTo>
                      <a:pt x="5307" y="927"/>
                    </a:lnTo>
                    <a:lnTo>
                      <a:pt x="5324" y="904"/>
                    </a:lnTo>
                    <a:lnTo>
                      <a:pt x="5341" y="879"/>
                    </a:lnTo>
                    <a:lnTo>
                      <a:pt x="5357" y="853"/>
                    </a:lnTo>
                    <a:lnTo>
                      <a:pt x="5371" y="828"/>
                    </a:lnTo>
                    <a:lnTo>
                      <a:pt x="5385" y="801"/>
                    </a:lnTo>
                    <a:lnTo>
                      <a:pt x="5397" y="773"/>
                    </a:lnTo>
                    <a:lnTo>
                      <a:pt x="5407" y="745"/>
                    </a:lnTo>
                    <a:lnTo>
                      <a:pt x="5416" y="716"/>
                    </a:lnTo>
                    <a:lnTo>
                      <a:pt x="5424" y="686"/>
                    </a:lnTo>
                    <a:lnTo>
                      <a:pt x="5431" y="656"/>
                    </a:lnTo>
                    <a:lnTo>
                      <a:pt x="5435" y="626"/>
                    </a:lnTo>
                    <a:lnTo>
                      <a:pt x="5439" y="595"/>
                    </a:lnTo>
                    <a:lnTo>
                      <a:pt x="5440" y="564"/>
                    </a:lnTo>
                    <a:lnTo>
                      <a:pt x="5442" y="533"/>
                    </a:lnTo>
                    <a:lnTo>
                      <a:pt x="5440" y="501"/>
                    </a:lnTo>
                    <a:lnTo>
                      <a:pt x="5437" y="469"/>
                    </a:lnTo>
                    <a:lnTo>
                      <a:pt x="5433" y="438"/>
                    </a:lnTo>
                    <a:lnTo>
                      <a:pt x="5427" y="408"/>
                    </a:lnTo>
                    <a:lnTo>
                      <a:pt x="5419" y="378"/>
                    </a:lnTo>
                    <a:lnTo>
                      <a:pt x="5411" y="348"/>
                    </a:lnTo>
                    <a:lnTo>
                      <a:pt x="5401" y="319"/>
                    </a:lnTo>
                    <a:lnTo>
                      <a:pt x="5389" y="291"/>
                    </a:lnTo>
                    <a:lnTo>
                      <a:pt x="5376" y="263"/>
                    </a:lnTo>
                    <a:lnTo>
                      <a:pt x="5362" y="237"/>
                    </a:lnTo>
                    <a:lnTo>
                      <a:pt x="5346" y="212"/>
                    </a:lnTo>
                    <a:lnTo>
                      <a:pt x="5330" y="186"/>
                    </a:lnTo>
                    <a:lnTo>
                      <a:pt x="5312" y="162"/>
                    </a:lnTo>
                    <a:lnTo>
                      <a:pt x="5294" y="139"/>
                    </a:lnTo>
                    <a:lnTo>
                      <a:pt x="5273" y="117"/>
                    </a:lnTo>
                    <a:lnTo>
                      <a:pt x="5253" y="96"/>
                    </a:lnTo>
                    <a:lnTo>
                      <a:pt x="5231" y="76"/>
                    </a:lnTo>
                    <a:lnTo>
                      <a:pt x="5206" y="54"/>
                    </a:lnTo>
                    <a:lnTo>
                      <a:pt x="5179" y="35"/>
                    </a:lnTo>
                    <a:lnTo>
                      <a:pt x="5153" y="17"/>
                    </a:lnTo>
                    <a:lnTo>
                      <a:pt x="5124" y="0"/>
                    </a:lnTo>
                    <a:lnTo>
                      <a:pt x="4971" y="2"/>
                    </a:lnTo>
                    <a:lnTo>
                      <a:pt x="4818" y="8"/>
                    </a:lnTo>
                    <a:lnTo>
                      <a:pt x="4666" y="19"/>
                    </a:lnTo>
                    <a:lnTo>
                      <a:pt x="4517" y="33"/>
                    </a:lnTo>
                    <a:lnTo>
                      <a:pt x="4368" y="51"/>
                    </a:lnTo>
                    <a:lnTo>
                      <a:pt x="4220" y="71"/>
                    </a:lnTo>
                    <a:lnTo>
                      <a:pt x="4073" y="97"/>
                    </a:lnTo>
                    <a:lnTo>
                      <a:pt x="3928" y="125"/>
                    </a:lnTo>
                    <a:lnTo>
                      <a:pt x="3783" y="157"/>
                    </a:lnTo>
                    <a:lnTo>
                      <a:pt x="3640" y="192"/>
                    </a:lnTo>
                    <a:lnTo>
                      <a:pt x="3498" y="231"/>
                    </a:lnTo>
                    <a:lnTo>
                      <a:pt x="3358" y="274"/>
                    </a:lnTo>
                    <a:lnTo>
                      <a:pt x="3220" y="319"/>
                    </a:lnTo>
                    <a:lnTo>
                      <a:pt x="3083" y="368"/>
                    </a:lnTo>
                    <a:lnTo>
                      <a:pt x="2947" y="419"/>
                    </a:lnTo>
                    <a:lnTo>
                      <a:pt x="2813" y="475"/>
                    </a:lnTo>
                    <a:lnTo>
                      <a:pt x="2681" y="533"/>
                    </a:lnTo>
                    <a:lnTo>
                      <a:pt x="2550" y="594"/>
                    </a:lnTo>
                    <a:lnTo>
                      <a:pt x="2421" y="658"/>
                    </a:lnTo>
                    <a:lnTo>
                      <a:pt x="2294" y="726"/>
                    </a:lnTo>
                    <a:lnTo>
                      <a:pt x="2169" y="797"/>
                    </a:lnTo>
                    <a:lnTo>
                      <a:pt x="2046" y="869"/>
                    </a:lnTo>
                    <a:lnTo>
                      <a:pt x="1924" y="945"/>
                    </a:lnTo>
                    <a:lnTo>
                      <a:pt x="1805" y="1025"/>
                    </a:lnTo>
                    <a:lnTo>
                      <a:pt x="1687" y="1106"/>
                    </a:lnTo>
                    <a:lnTo>
                      <a:pt x="1571" y="1191"/>
                    </a:lnTo>
                    <a:lnTo>
                      <a:pt x="1458" y="1277"/>
                    </a:lnTo>
                    <a:lnTo>
                      <a:pt x="1348" y="1367"/>
                    </a:lnTo>
                    <a:lnTo>
                      <a:pt x="1239" y="1460"/>
                    </a:lnTo>
                    <a:lnTo>
                      <a:pt x="1131" y="1555"/>
                    </a:lnTo>
                    <a:lnTo>
                      <a:pt x="1028" y="1651"/>
                    </a:lnTo>
                    <a:lnTo>
                      <a:pt x="926" y="1751"/>
                    </a:lnTo>
                    <a:lnTo>
                      <a:pt x="860" y="1818"/>
                    </a:lnTo>
                    <a:lnTo>
                      <a:pt x="794" y="1887"/>
                    </a:lnTo>
                    <a:lnTo>
                      <a:pt x="730" y="1957"/>
                    </a:lnTo>
                    <a:lnTo>
                      <a:pt x="667" y="2027"/>
                    </a:lnTo>
                    <a:lnTo>
                      <a:pt x="605" y="2099"/>
                    </a:lnTo>
                    <a:lnTo>
                      <a:pt x="544" y="2171"/>
                    </a:lnTo>
                    <a:lnTo>
                      <a:pt x="484" y="2245"/>
                    </a:lnTo>
                    <a:lnTo>
                      <a:pt x="425" y="2319"/>
                    </a:lnTo>
                    <a:lnTo>
                      <a:pt x="368" y="2395"/>
                    </a:lnTo>
                    <a:lnTo>
                      <a:pt x="311" y="2471"/>
                    </a:lnTo>
                    <a:lnTo>
                      <a:pt x="257" y="2548"/>
                    </a:lnTo>
                    <a:lnTo>
                      <a:pt x="202" y="2626"/>
                    </a:lnTo>
                    <a:lnTo>
                      <a:pt x="150" y="2705"/>
                    </a:lnTo>
                    <a:lnTo>
                      <a:pt x="98" y="2785"/>
                    </a:lnTo>
                    <a:lnTo>
                      <a:pt x="48" y="2866"/>
                    </a:lnTo>
                    <a:lnTo>
                      <a:pt x="0" y="2947"/>
                    </a:lnTo>
                    <a:lnTo>
                      <a:pt x="16" y="2940"/>
                    </a:lnTo>
                    <a:lnTo>
                      <a:pt x="33" y="2932"/>
                    </a:lnTo>
                    <a:lnTo>
                      <a:pt x="50" y="2926"/>
                    </a:lnTo>
                    <a:lnTo>
                      <a:pt x="67" y="2920"/>
                    </a:lnTo>
                    <a:lnTo>
                      <a:pt x="98" y="2910"/>
                    </a:lnTo>
                    <a:lnTo>
                      <a:pt x="128" y="2902"/>
                    </a:lnTo>
                    <a:lnTo>
                      <a:pt x="160" y="2896"/>
                    </a:lnTo>
                    <a:lnTo>
                      <a:pt x="192" y="2891"/>
                    </a:lnTo>
                    <a:lnTo>
                      <a:pt x="224" y="2887"/>
                    </a:lnTo>
                    <a:lnTo>
                      <a:pt x="255" y="2885"/>
                    </a:lnTo>
                    <a:lnTo>
                      <a:pt x="287" y="2885"/>
                    </a:lnTo>
                    <a:lnTo>
                      <a:pt x="319" y="2886"/>
                    </a:lnTo>
                    <a:lnTo>
                      <a:pt x="351" y="2889"/>
                    </a:lnTo>
                    <a:lnTo>
                      <a:pt x="383" y="2893"/>
                    </a:lnTo>
                    <a:lnTo>
                      <a:pt x="415" y="2899"/>
                    </a:lnTo>
                    <a:lnTo>
                      <a:pt x="447" y="2907"/>
                    </a:lnTo>
                    <a:lnTo>
                      <a:pt x="479" y="2916"/>
                    </a:lnTo>
                    <a:lnTo>
                      <a:pt x="511" y="2927"/>
                    </a:lnTo>
                    <a:lnTo>
                      <a:pt x="543" y="2940"/>
                    </a:lnTo>
                    <a:lnTo>
                      <a:pt x="573" y="2954"/>
                    </a:lnTo>
                    <a:lnTo>
                      <a:pt x="603" y="2970"/>
                    </a:lnTo>
                    <a:lnTo>
                      <a:pt x="633" y="2987"/>
                    </a:lnTo>
                    <a:lnTo>
                      <a:pt x="659" y="3006"/>
                    </a:lnTo>
                    <a:lnTo>
                      <a:pt x="686" y="3026"/>
                    </a:lnTo>
                    <a:lnTo>
                      <a:pt x="712" y="3046"/>
                    </a:lnTo>
                    <a:lnTo>
                      <a:pt x="736" y="3068"/>
                    </a:lnTo>
                    <a:lnTo>
                      <a:pt x="759" y="3091"/>
                    </a:lnTo>
                    <a:lnTo>
                      <a:pt x="780" y="3116"/>
                    </a:lnTo>
                    <a:lnTo>
                      <a:pt x="801" y="3140"/>
                    </a:lnTo>
                    <a:lnTo>
                      <a:pt x="820" y="3166"/>
                    </a:lnTo>
                    <a:lnTo>
                      <a:pt x="838" y="3193"/>
                    </a:lnTo>
                    <a:lnTo>
                      <a:pt x="854" y="3220"/>
                    </a:lnTo>
                    <a:lnTo>
                      <a:pt x="869" y="3248"/>
                    </a:lnTo>
                    <a:lnTo>
                      <a:pt x="883" y="3276"/>
                    </a:lnTo>
                    <a:lnTo>
                      <a:pt x="895" y="3306"/>
                    </a:lnTo>
                    <a:lnTo>
                      <a:pt x="906" y="3336"/>
                    </a:lnTo>
                    <a:lnTo>
                      <a:pt x="914" y="3362"/>
                    </a:lnTo>
                    <a:lnTo>
                      <a:pt x="922" y="3389"/>
                    </a:lnTo>
                    <a:lnTo>
                      <a:pt x="927" y="3416"/>
                    </a:lnTo>
                    <a:lnTo>
                      <a:pt x="932" y="3442"/>
                    </a:lnTo>
                    <a:lnTo>
                      <a:pt x="936" y="3469"/>
                    </a:lnTo>
                    <a:lnTo>
                      <a:pt x="939" y="3497"/>
                    </a:lnTo>
                    <a:lnTo>
                      <a:pt x="940" y="3524"/>
                    </a:lnTo>
                    <a:lnTo>
                      <a:pt x="941" y="3552"/>
                    </a:lnTo>
                    <a:lnTo>
                      <a:pt x="982" y="3483"/>
                    </a:lnTo>
                    <a:lnTo>
                      <a:pt x="1023" y="3414"/>
                    </a:lnTo>
                    <a:lnTo>
                      <a:pt x="1066" y="3347"/>
                    </a:lnTo>
                    <a:lnTo>
                      <a:pt x="1110" y="3281"/>
                    </a:lnTo>
                    <a:lnTo>
                      <a:pt x="1155" y="3214"/>
                    </a:lnTo>
                    <a:lnTo>
                      <a:pt x="1201" y="3149"/>
                    </a:lnTo>
                    <a:lnTo>
                      <a:pt x="1247" y="3085"/>
                    </a:lnTo>
                    <a:lnTo>
                      <a:pt x="1295" y="3020"/>
                    </a:lnTo>
                    <a:lnTo>
                      <a:pt x="1345" y="2958"/>
                    </a:lnTo>
                    <a:lnTo>
                      <a:pt x="1395" y="2896"/>
                    </a:lnTo>
                    <a:lnTo>
                      <a:pt x="1446" y="2835"/>
                    </a:lnTo>
                    <a:lnTo>
                      <a:pt x="1498" y="2774"/>
                    </a:lnTo>
                    <a:lnTo>
                      <a:pt x="1551" y="2715"/>
                    </a:lnTo>
                    <a:lnTo>
                      <a:pt x="1605" y="2656"/>
                    </a:lnTo>
                    <a:lnTo>
                      <a:pt x="1659" y="2598"/>
                    </a:lnTo>
                    <a:lnTo>
                      <a:pt x="1716" y="2543"/>
                    </a:lnTo>
                    <a:close/>
                  </a:path>
                </a:pathLst>
              </a:custGeom>
              <a:solidFill>
                <a:srgbClr val="85B5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s-ES">
                  <a:solidFill>
                    <a:prstClr val="black"/>
                  </a:solidFill>
                  <a:latin typeface="Helvetica"/>
                </a:endParaRPr>
              </a:p>
            </p:txBody>
          </p:sp>
          <p:sp>
            <p:nvSpPr>
              <p:cNvPr id="20" name="Freeform 9">
                <a:extLst>
                  <a:ext uri="{FF2B5EF4-FFF2-40B4-BE49-F238E27FC236}">
                    <a16:creationId xmlns:a16="http://schemas.microsoft.com/office/drawing/2014/main" id="{6244C3A7-AB44-4E8F-AFA9-461949162CAB}"/>
                  </a:ext>
                </a:extLst>
              </p:cNvPr>
              <p:cNvSpPr>
                <a:spLocks/>
              </p:cNvSpPr>
              <p:nvPr/>
            </p:nvSpPr>
            <p:spPr bwMode="auto">
              <a:xfrm>
                <a:off x="6080125" y="2735263"/>
                <a:ext cx="1166812" cy="819150"/>
              </a:xfrm>
              <a:custGeom>
                <a:avLst/>
                <a:gdLst>
                  <a:gd name="T0" fmla="*/ 256 w 5147"/>
                  <a:gd name="T1" fmla="*/ 1124 h 3613"/>
                  <a:gd name="T2" fmla="*/ 624 w 5147"/>
                  <a:gd name="T3" fmla="*/ 1156 h 3613"/>
                  <a:gd name="T4" fmla="*/ 985 w 5147"/>
                  <a:gd name="T5" fmla="*/ 1216 h 3613"/>
                  <a:gd name="T6" fmla="*/ 1336 w 5147"/>
                  <a:gd name="T7" fmla="*/ 1302 h 3613"/>
                  <a:gd name="T8" fmla="*/ 1677 w 5147"/>
                  <a:gd name="T9" fmla="*/ 1412 h 3613"/>
                  <a:gd name="T10" fmla="*/ 2006 w 5147"/>
                  <a:gd name="T11" fmla="*/ 1547 h 3613"/>
                  <a:gd name="T12" fmla="*/ 2322 w 5147"/>
                  <a:gd name="T13" fmla="*/ 1705 h 3613"/>
                  <a:gd name="T14" fmla="*/ 2625 w 5147"/>
                  <a:gd name="T15" fmla="*/ 1884 h 3613"/>
                  <a:gd name="T16" fmla="*/ 2914 w 5147"/>
                  <a:gd name="T17" fmla="*/ 2084 h 3613"/>
                  <a:gd name="T18" fmla="*/ 3186 w 5147"/>
                  <a:gd name="T19" fmla="*/ 2304 h 3613"/>
                  <a:gd name="T20" fmla="*/ 3442 w 5147"/>
                  <a:gd name="T21" fmla="*/ 2541 h 3613"/>
                  <a:gd name="T22" fmla="*/ 3603 w 5147"/>
                  <a:gd name="T23" fmla="*/ 2710 h 3613"/>
                  <a:gd name="T24" fmla="*/ 3755 w 5147"/>
                  <a:gd name="T25" fmla="*/ 2885 h 3613"/>
                  <a:gd name="T26" fmla="*/ 3898 w 5147"/>
                  <a:gd name="T27" fmla="*/ 3068 h 3613"/>
                  <a:gd name="T28" fmla="*/ 4033 w 5147"/>
                  <a:gd name="T29" fmla="*/ 3257 h 3613"/>
                  <a:gd name="T30" fmla="*/ 4159 w 5147"/>
                  <a:gd name="T31" fmla="*/ 3454 h 3613"/>
                  <a:gd name="T32" fmla="*/ 4260 w 5147"/>
                  <a:gd name="T33" fmla="*/ 3553 h 3613"/>
                  <a:gd name="T34" fmla="*/ 4355 w 5147"/>
                  <a:gd name="T35" fmla="*/ 3589 h 3613"/>
                  <a:gd name="T36" fmla="*/ 4455 w 5147"/>
                  <a:gd name="T37" fmla="*/ 3608 h 3613"/>
                  <a:gd name="T38" fmla="*/ 4545 w 5147"/>
                  <a:gd name="T39" fmla="*/ 3613 h 3613"/>
                  <a:gd name="T40" fmla="*/ 4634 w 5147"/>
                  <a:gd name="T41" fmla="*/ 3603 h 3613"/>
                  <a:gd name="T42" fmla="*/ 4721 w 5147"/>
                  <a:gd name="T43" fmla="*/ 3581 h 3613"/>
                  <a:gd name="T44" fmla="*/ 4806 w 5147"/>
                  <a:gd name="T45" fmla="*/ 3545 h 3613"/>
                  <a:gd name="T46" fmla="*/ 4887 w 5147"/>
                  <a:gd name="T47" fmla="*/ 3497 h 3613"/>
                  <a:gd name="T48" fmla="*/ 4960 w 5147"/>
                  <a:gd name="T49" fmla="*/ 3435 h 3613"/>
                  <a:gd name="T50" fmla="*/ 5022 w 5147"/>
                  <a:gd name="T51" fmla="*/ 3365 h 3613"/>
                  <a:gd name="T52" fmla="*/ 5071 w 5147"/>
                  <a:gd name="T53" fmla="*/ 3288 h 3613"/>
                  <a:gd name="T54" fmla="*/ 5109 w 5147"/>
                  <a:gd name="T55" fmla="*/ 3206 h 3613"/>
                  <a:gd name="T56" fmla="*/ 5133 w 5147"/>
                  <a:gd name="T57" fmla="*/ 3120 h 3613"/>
                  <a:gd name="T58" fmla="*/ 5146 w 5147"/>
                  <a:gd name="T59" fmla="*/ 3026 h 3613"/>
                  <a:gd name="T60" fmla="*/ 5143 w 5147"/>
                  <a:gd name="T61" fmla="*/ 2921 h 3613"/>
                  <a:gd name="T62" fmla="*/ 4994 w 5147"/>
                  <a:gd name="T63" fmla="*/ 2684 h 3613"/>
                  <a:gd name="T64" fmla="*/ 4835 w 5147"/>
                  <a:gd name="T65" fmla="*/ 2456 h 3613"/>
                  <a:gd name="T66" fmla="*/ 4666 w 5147"/>
                  <a:gd name="T67" fmla="*/ 2234 h 3613"/>
                  <a:gd name="T68" fmla="*/ 4487 w 5147"/>
                  <a:gd name="T69" fmla="*/ 2022 h 3613"/>
                  <a:gd name="T70" fmla="*/ 4297 w 5147"/>
                  <a:gd name="T71" fmla="*/ 1817 h 3613"/>
                  <a:gd name="T72" fmla="*/ 4028 w 5147"/>
                  <a:gd name="T73" fmla="*/ 1555 h 3613"/>
                  <a:gd name="T74" fmla="*/ 3702 w 5147"/>
                  <a:gd name="T75" fmla="*/ 1280 h 3613"/>
                  <a:gd name="T76" fmla="*/ 3357 w 5147"/>
                  <a:gd name="T77" fmla="*/ 1028 h 3613"/>
                  <a:gd name="T78" fmla="*/ 2996 w 5147"/>
                  <a:gd name="T79" fmla="*/ 800 h 3613"/>
                  <a:gd name="T80" fmla="*/ 2617 w 5147"/>
                  <a:gd name="T81" fmla="*/ 598 h 3613"/>
                  <a:gd name="T82" fmla="*/ 2222 w 5147"/>
                  <a:gd name="T83" fmla="*/ 424 h 3613"/>
                  <a:gd name="T84" fmla="*/ 1813 w 5147"/>
                  <a:gd name="T85" fmla="*/ 277 h 3613"/>
                  <a:gd name="T86" fmla="*/ 1390 w 5147"/>
                  <a:gd name="T87" fmla="*/ 160 h 3613"/>
                  <a:gd name="T88" fmla="*/ 956 w 5147"/>
                  <a:gd name="T89" fmla="*/ 75 h 3613"/>
                  <a:gd name="T90" fmla="*/ 511 w 5147"/>
                  <a:gd name="T91" fmla="*/ 21 h 3613"/>
                  <a:gd name="T92" fmla="*/ 57 w 5147"/>
                  <a:gd name="T93" fmla="*/ 0 h 3613"/>
                  <a:gd name="T94" fmla="*/ 99 w 5147"/>
                  <a:gd name="T95" fmla="*/ 32 h 3613"/>
                  <a:gd name="T96" fmla="*/ 158 w 5147"/>
                  <a:gd name="T97" fmla="*/ 87 h 3613"/>
                  <a:gd name="T98" fmla="*/ 219 w 5147"/>
                  <a:gd name="T99" fmla="*/ 161 h 3613"/>
                  <a:gd name="T100" fmla="*/ 268 w 5147"/>
                  <a:gd name="T101" fmla="*/ 245 h 3613"/>
                  <a:gd name="T102" fmla="*/ 304 w 5147"/>
                  <a:gd name="T103" fmla="*/ 335 h 3613"/>
                  <a:gd name="T104" fmla="*/ 328 w 5147"/>
                  <a:gd name="T105" fmla="*/ 431 h 3613"/>
                  <a:gd name="T106" fmla="*/ 337 w 5147"/>
                  <a:gd name="T107" fmla="*/ 532 h 3613"/>
                  <a:gd name="T108" fmla="*/ 331 w 5147"/>
                  <a:gd name="T109" fmla="*/ 633 h 3613"/>
                  <a:gd name="T110" fmla="*/ 311 w 5147"/>
                  <a:gd name="T111" fmla="*/ 728 h 3613"/>
                  <a:gd name="T112" fmla="*/ 276 w 5147"/>
                  <a:gd name="T113" fmla="*/ 818 h 3613"/>
                  <a:gd name="T114" fmla="*/ 230 w 5147"/>
                  <a:gd name="T115" fmla="*/ 903 h 3613"/>
                  <a:gd name="T116" fmla="*/ 173 w 5147"/>
                  <a:gd name="T117" fmla="*/ 978 h 3613"/>
                  <a:gd name="T118" fmla="*/ 114 w 5147"/>
                  <a:gd name="T119" fmla="*/ 1036 h 3613"/>
                  <a:gd name="T120" fmla="*/ 47 w 5147"/>
                  <a:gd name="T121" fmla="*/ 1088 h 3613"/>
                  <a:gd name="T122" fmla="*/ 3 w 5147"/>
                  <a:gd name="T123" fmla="*/ 1118 h 3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47" h="3613">
                    <a:moveTo>
                      <a:pt x="6" y="1118"/>
                    </a:moveTo>
                    <a:lnTo>
                      <a:pt x="131" y="1119"/>
                    </a:lnTo>
                    <a:lnTo>
                      <a:pt x="256" y="1124"/>
                    </a:lnTo>
                    <a:lnTo>
                      <a:pt x="379" y="1132"/>
                    </a:lnTo>
                    <a:lnTo>
                      <a:pt x="502" y="1143"/>
                    </a:lnTo>
                    <a:lnTo>
                      <a:pt x="624" y="1156"/>
                    </a:lnTo>
                    <a:lnTo>
                      <a:pt x="745" y="1174"/>
                    </a:lnTo>
                    <a:lnTo>
                      <a:pt x="866" y="1194"/>
                    </a:lnTo>
                    <a:lnTo>
                      <a:pt x="985" y="1216"/>
                    </a:lnTo>
                    <a:lnTo>
                      <a:pt x="1103" y="1242"/>
                    </a:lnTo>
                    <a:lnTo>
                      <a:pt x="1221" y="1271"/>
                    </a:lnTo>
                    <a:lnTo>
                      <a:pt x="1336" y="1302"/>
                    </a:lnTo>
                    <a:lnTo>
                      <a:pt x="1451" y="1336"/>
                    </a:lnTo>
                    <a:lnTo>
                      <a:pt x="1564" y="1373"/>
                    </a:lnTo>
                    <a:lnTo>
                      <a:pt x="1677" y="1412"/>
                    </a:lnTo>
                    <a:lnTo>
                      <a:pt x="1788" y="1455"/>
                    </a:lnTo>
                    <a:lnTo>
                      <a:pt x="1897" y="1500"/>
                    </a:lnTo>
                    <a:lnTo>
                      <a:pt x="2006" y="1547"/>
                    </a:lnTo>
                    <a:lnTo>
                      <a:pt x="2112" y="1597"/>
                    </a:lnTo>
                    <a:lnTo>
                      <a:pt x="2218" y="1649"/>
                    </a:lnTo>
                    <a:lnTo>
                      <a:pt x="2322" y="1705"/>
                    </a:lnTo>
                    <a:lnTo>
                      <a:pt x="2425" y="1762"/>
                    </a:lnTo>
                    <a:lnTo>
                      <a:pt x="2526" y="1822"/>
                    </a:lnTo>
                    <a:lnTo>
                      <a:pt x="2625" y="1884"/>
                    </a:lnTo>
                    <a:lnTo>
                      <a:pt x="2724" y="1948"/>
                    </a:lnTo>
                    <a:lnTo>
                      <a:pt x="2819" y="2014"/>
                    </a:lnTo>
                    <a:lnTo>
                      <a:pt x="2914" y="2084"/>
                    </a:lnTo>
                    <a:lnTo>
                      <a:pt x="3006" y="2155"/>
                    </a:lnTo>
                    <a:lnTo>
                      <a:pt x="3097" y="2228"/>
                    </a:lnTo>
                    <a:lnTo>
                      <a:pt x="3186" y="2304"/>
                    </a:lnTo>
                    <a:lnTo>
                      <a:pt x="3274" y="2381"/>
                    </a:lnTo>
                    <a:lnTo>
                      <a:pt x="3360" y="2460"/>
                    </a:lnTo>
                    <a:lnTo>
                      <a:pt x="3442" y="2541"/>
                    </a:lnTo>
                    <a:lnTo>
                      <a:pt x="3497" y="2597"/>
                    </a:lnTo>
                    <a:lnTo>
                      <a:pt x="3550" y="2653"/>
                    </a:lnTo>
                    <a:lnTo>
                      <a:pt x="3603" y="2710"/>
                    </a:lnTo>
                    <a:lnTo>
                      <a:pt x="3654" y="2767"/>
                    </a:lnTo>
                    <a:lnTo>
                      <a:pt x="3705" y="2826"/>
                    </a:lnTo>
                    <a:lnTo>
                      <a:pt x="3755" y="2885"/>
                    </a:lnTo>
                    <a:lnTo>
                      <a:pt x="3804" y="2945"/>
                    </a:lnTo>
                    <a:lnTo>
                      <a:pt x="3851" y="3006"/>
                    </a:lnTo>
                    <a:lnTo>
                      <a:pt x="3898" y="3068"/>
                    </a:lnTo>
                    <a:lnTo>
                      <a:pt x="3944" y="3131"/>
                    </a:lnTo>
                    <a:lnTo>
                      <a:pt x="3989" y="3194"/>
                    </a:lnTo>
                    <a:lnTo>
                      <a:pt x="4033" y="3257"/>
                    </a:lnTo>
                    <a:lnTo>
                      <a:pt x="4076" y="3322"/>
                    </a:lnTo>
                    <a:lnTo>
                      <a:pt x="4119" y="3388"/>
                    </a:lnTo>
                    <a:lnTo>
                      <a:pt x="4159" y="3454"/>
                    </a:lnTo>
                    <a:lnTo>
                      <a:pt x="4199" y="3521"/>
                    </a:lnTo>
                    <a:lnTo>
                      <a:pt x="4229" y="3538"/>
                    </a:lnTo>
                    <a:lnTo>
                      <a:pt x="4260" y="3553"/>
                    </a:lnTo>
                    <a:lnTo>
                      <a:pt x="4291" y="3567"/>
                    </a:lnTo>
                    <a:lnTo>
                      <a:pt x="4323" y="3578"/>
                    </a:lnTo>
                    <a:lnTo>
                      <a:pt x="4355" y="3589"/>
                    </a:lnTo>
                    <a:lnTo>
                      <a:pt x="4388" y="3598"/>
                    </a:lnTo>
                    <a:lnTo>
                      <a:pt x="4422" y="3604"/>
                    </a:lnTo>
                    <a:lnTo>
                      <a:pt x="4455" y="3608"/>
                    </a:lnTo>
                    <a:lnTo>
                      <a:pt x="4485" y="3612"/>
                    </a:lnTo>
                    <a:lnTo>
                      <a:pt x="4515" y="3613"/>
                    </a:lnTo>
                    <a:lnTo>
                      <a:pt x="4545" y="3613"/>
                    </a:lnTo>
                    <a:lnTo>
                      <a:pt x="4575" y="3611"/>
                    </a:lnTo>
                    <a:lnTo>
                      <a:pt x="4604" y="3607"/>
                    </a:lnTo>
                    <a:lnTo>
                      <a:pt x="4634" y="3603"/>
                    </a:lnTo>
                    <a:lnTo>
                      <a:pt x="4664" y="3598"/>
                    </a:lnTo>
                    <a:lnTo>
                      <a:pt x="4692" y="3590"/>
                    </a:lnTo>
                    <a:lnTo>
                      <a:pt x="4721" y="3581"/>
                    </a:lnTo>
                    <a:lnTo>
                      <a:pt x="4750" y="3571"/>
                    </a:lnTo>
                    <a:lnTo>
                      <a:pt x="4778" y="3559"/>
                    </a:lnTo>
                    <a:lnTo>
                      <a:pt x="4806" y="3545"/>
                    </a:lnTo>
                    <a:lnTo>
                      <a:pt x="4834" y="3530"/>
                    </a:lnTo>
                    <a:lnTo>
                      <a:pt x="4861" y="3514"/>
                    </a:lnTo>
                    <a:lnTo>
                      <a:pt x="4887" y="3497"/>
                    </a:lnTo>
                    <a:lnTo>
                      <a:pt x="4912" y="3478"/>
                    </a:lnTo>
                    <a:lnTo>
                      <a:pt x="4937" y="3456"/>
                    </a:lnTo>
                    <a:lnTo>
                      <a:pt x="4960" y="3435"/>
                    </a:lnTo>
                    <a:lnTo>
                      <a:pt x="4981" y="3412"/>
                    </a:lnTo>
                    <a:lnTo>
                      <a:pt x="5003" y="3389"/>
                    </a:lnTo>
                    <a:lnTo>
                      <a:pt x="5022" y="3365"/>
                    </a:lnTo>
                    <a:lnTo>
                      <a:pt x="5039" y="3341"/>
                    </a:lnTo>
                    <a:lnTo>
                      <a:pt x="5056" y="3315"/>
                    </a:lnTo>
                    <a:lnTo>
                      <a:pt x="5071" y="3288"/>
                    </a:lnTo>
                    <a:lnTo>
                      <a:pt x="5085" y="3261"/>
                    </a:lnTo>
                    <a:lnTo>
                      <a:pt x="5097" y="3233"/>
                    </a:lnTo>
                    <a:lnTo>
                      <a:pt x="5109" y="3206"/>
                    </a:lnTo>
                    <a:lnTo>
                      <a:pt x="5119" y="3178"/>
                    </a:lnTo>
                    <a:lnTo>
                      <a:pt x="5126" y="3149"/>
                    </a:lnTo>
                    <a:lnTo>
                      <a:pt x="5133" y="3120"/>
                    </a:lnTo>
                    <a:lnTo>
                      <a:pt x="5139" y="3090"/>
                    </a:lnTo>
                    <a:lnTo>
                      <a:pt x="5143" y="3061"/>
                    </a:lnTo>
                    <a:lnTo>
                      <a:pt x="5146" y="3026"/>
                    </a:lnTo>
                    <a:lnTo>
                      <a:pt x="5147" y="2991"/>
                    </a:lnTo>
                    <a:lnTo>
                      <a:pt x="5146" y="2956"/>
                    </a:lnTo>
                    <a:lnTo>
                      <a:pt x="5143" y="2921"/>
                    </a:lnTo>
                    <a:lnTo>
                      <a:pt x="5095" y="2841"/>
                    </a:lnTo>
                    <a:lnTo>
                      <a:pt x="5045" y="2762"/>
                    </a:lnTo>
                    <a:lnTo>
                      <a:pt x="4994" y="2684"/>
                    </a:lnTo>
                    <a:lnTo>
                      <a:pt x="4943" y="2607"/>
                    </a:lnTo>
                    <a:lnTo>
                      <a:pt x="4889" y="2531"/>
                    </a:lnTo>
                    <a:lnTo>
                      <a:pt x="4835" y="2456"/>
                    </a:lnTo>
                    <a:lnTo>
                      <a:pt x="4780" y="2381"/>
                    </a:lnTo>
                    <a:lnTo>
                      <a:pt x="4723" y="2307"/>
                    </a:lnTo>
                    <a:lnTo>
                      <a:pt x="4666" y="2234"/>
                    </a:lnTo>
                    <a:lnTo>
                      <a:pt x="4607" y="2162"/>
                    </a:lnTo>
                    <a:lnTo>
                      <a:pt x="4547" y="2092"/>
                    </a:lnTo>
                    <a:lnTo>
                      <a:pt x="4487" y="2022"/>
                    </a:lnTo>
                    <a:lnTo>
                      <a:pt x="4425" y="1952"/>
                    </a:lnTo>
                    <a:lnTo>
                      <a:pt x="4362" y="1885"/>
                    </a:lnTo>
                    <a:lnTo>
                      <a:pt x="4297" y="1817"/>
                    </a:lnTo>
                    <a:lnTo>
                      <a:pt x="4232" y="1751"/>
                    </a:lnTo>
                    <a:lnTo>
                      <a:pt x="4131" y="1652"/>
                    </a:lnTo>
                    <a:lnTo>
                      <a:pt x="4028" y="1555"/>
                    </a:lnTo>
                    <a:lnTo>
                      <a:pt x="3921" y="1461"/>
                    </a:lnTo>
                    <a:lnTo>
                      <a:pt x="3812" y="1370"/>
                    </a:lnTo>
                    <a:lnTo>
                      <a:pt x="3702" y="1280"/>
                    </a:lnTo>
                    <a:lnTo>
                      <a:pt x="3590" y="1193"/>
                    </a:lnTo>
                    <a:lnTo>
                      <a:pt x="3474" y="1109"/>
                    </a:lnTo>
                    <a:lnTo>
                      <a:pt x="3357" y="1028"/>
                    </a:lnTo>
                    <a:lnTo>
                      <a:pt x="3239" y="949"/>
                    </a:lnTo>
                    <a:lnTo>
                      <a:pt x="3118" y="874"/>
                    </a:lnTo>
                    <a:lnTo>
                      <a:pt x="2996" y="800"/>
                    </a:lnTo>
                    <a:lnTo>
                      <a:pt x="2870" y="730"/>
                    </a:lnTo>
                    <a:lnTo>
                      <a:pt x="2744" y="663"/>
                    </a:lnTo>
                    <a:lnTo>
                      <a:pt x="2617" y="598"/>
                    </a:lnTo>
                    <a:lnTo>
                      <a:pt x="2486" y="537"/>
                    </a:lnTo>
                    <a:lnTo>
                      <a:pt x="2354" y="479"/>
                    </a:lnTo>
                    <a:lnTo>
                      <a:pt x="2222" y="424"/>
                    </a:lnTo>
                    <a:lnTo>
                      <a:pt x="2087" y="372"/>
                    </a:lnTo>
                    <a:lnTo>
                      <a:pt x="1950" y="323"/>
                    </a:lnTo>
                    <a:lnTo>
                      <a:pt x="1813" y="277"/>
                    </a:lnTo>
                    <a:lnTo>
                      <a:pt x="1673" y="235"/>
                    </a:lnTo>
                    <a:lnTo>
                      <a:pt x="1532" y="197"/>
                    </a:lnTo>
                    <a:lnTo>
                      <a:pt x="1390" y="160"/>
                    </a:lnTo>
                    <a:lnTo>
                      <a:pt x="1246" y="128"/>
                    </a:lnTo>
                    <a:lnTo>
                      <a:pt x="1102" y="100"/>
                    </a:lnTo>
                    <a:lnTo>
                      <a:pt x="956" y="75"/>
                    </a:lnTo>
                    <a:lnTo>
                      <a:pt x="808" y="53"/>
                    </a:lnTo>
                    <a:lnTo>
                      <a:pt x="661" y="35"/>
                    </a:lnTo>
                    <a:lnTo>
                      <a:pt x="511" y="21"/>
                    </a:lnTo>
                    <a:lnTo>
                      <a:pt x="361" y="10"/>
                    </a:lnTo>
                    <a:lnTo>
                      <a:pt x="209" y="3"/>
                    </a:lnTo>
                    <a:lnTo>
                      <a:pt x="57" y="0"/>
                    </a:lnTo>
                    <a:lnTo>
                      <a:pt x="71" y="10"/>
                    </a:lnTo>
                    <a:lnTo>
                      <a:pt x="85" y="21"/>
                    </a:lnTo>
                    <a:lnTo>
                      <a:pt x="99" y="32"/>
                    </a:lnTo>
                    <a:lnTo>
                      <a:pt x="113" y="44"/>
                    </a:lnTo>
                    <a:lnTo>
                      <a:pt x="136" y="65"/>
                    </a:lnTo>
                    <a:lnTo>
                      <a:pt x="158" y="87"/>
                    </a:lnTo>
                    <a:lnTo>
                      <a:pt x="179" y="111"/>
                    </a:lnTo>
                    <a:lnTo>
                      <a:pt x="199" y="136"/>
                    </a:lnTo>
                    <a:lnTo>
                      <a:pt x="219" y="161"/>
                    </a:lnTo>
                    <a:lnTo>
                      <a:pt x="236" y="188"/>
                    </a:lnTo>
                    <a:lnTo>
                      <a:pt x="252" y="216"/>
                    </a:lnTo>
                    <a:lnTo>
                      <a:pt x="268" y="245"/>
                    </a:lnTo>
                    <a:lnTo>
                      <a:pt x="281" y="274"/>
                    </a:lnTo>
                    <a:lnTo>
                      <a:pt x="293" y="304"/>
                    </a:lnTo>
                    <a:lnTo>
                      <a:pt x="304" y="335"/>
                    </a:lnTo>
                    <a:lnTo>
                      <a:pt x="314" y="366"/>
                    </a:lnTo>
                    <a:lnTo>
                      <a:pt x="321" y="398"/>
                    </a:lnTo>
                    <a:lnTo>
                      <a:pt x="328" y="431"/>
                    </a:lnTo>
                    <a:lnTo>
                      <a:pt x="333" y="464"/>
                    </a:lnTo>
                    <a:lnTo>
                      <a:pt x="335" y="499"/>
                    </a:lnTo>
                    <a:lnTo>
                      <a:pt x="337" y="532"/>
                    </a:lnTo>
                    <a:lnTo>
                      <a:pt x="336" y="566"/>
                    </a:lnTo>
                    <a:lnTo>
                      <a:pt x="334" y="599"/>
                    </a:lnTo>
                    <a:lnTo>
                      <a:pt x="331" y="633"/>
                    </a:lnTo>
                    <a:lnTo>
                      <a:pt x="326" y="665"/>
                    </a:lnTo>
                    <a:lnTo>
                      <a:pt x="318" y="697"/>
                    </a:lnTo>
                    <a:lnTo>
                      <a:pt x="311" y="728"/>
                    </a:lnTo>
                    <a:lnTo>
                      <a:pt x="300" y="759"/>
                    </a:lnTo>
                    <a:lnTo>
                      <a:pt x="289" y="789"/>
                    </a:lnTo>
                    <a:lnTo>
                      <a:pt x="276" y="818"/>
                    </a:lnTo>
                    <a:lnTo>
                      <a:pt x="262" y="847"/>
                    </a:lnTo>
                    <a:lnTo>
                      <a:pt x="246" y="875"/>
                    </a:lnTo>
                    <a:lnTo>
                      <a:pt x="230" y="903"/>
                    </a:lnTo>
                    <a:lnTo>
                      <a:pt x="212" y="928"/>
                    </a:lnTo>
                    <a:lnTo>
                      <a:pt x="193" y="954"/>
                    </a:lnTo>
                    <a:lnTo>
                      <a:pt x="173" y="978"/>
                    </a:lnTo>
                    <a:lnTo>
                      <a:pt x="153" y="998"/>
                    </a:lnTo>
                    <a:lnTo>
                      <a:pt x="134" y="1018"/>
                    </a:lnTo>
                    <a:lnTo>
                      <a:pt x="114" y="1036"/>
                    </a:lnTo>
                    <a:lnTo>
                      <a:pt x="92" y="1055"/>
                    </a:lnTo>
                    <a:lnTo>
                      <a:pt x="71" y="1072"/>
                    </a:lnTo>
                    <a:lnTo>
                      <a:pt x="47" y="1088"/>
                    </a:lnTo>
                    <a:lnTo>
                      <a:pt x="25" y="1103"/>
                    </a:lnTo>
                    <a:lnTo>
                      <a:pt x="0" y="1118"/>
                    </a:lnTo>
                    <a:lnTo>
                      <a:pt x="3" y="1118"/>
                    </a:lnTo>
                    <a:lnTo>
                      <a:pt x="6" y="1118"/>
                    </a:lnTo>
                    <a:close/>
                  </a:path>
                </a:pathLst>
              </a:custGeom>
              <a:solidFill>
                <a:srgbClr val="EAAE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s-ES">
                  <a:solidFill>
                    <a:prstClr val="black"/>
                  </a:solidFill>
                  <a:latin typeface="Helvetica"/>
                </a:endParaRPr>
              </a:p>
            </p:txBody>
          </p:sp>
          <p:sp>
            <p:nvSpPr>
              <p:cNvPr id="21" name="Freeform 10">
                <a:extLst>
                  <a:ext uri="{FF2B5EF4-FFF2-40B4-BE49-F238E27FC236}">
                    <a16:creationId xmlns:a16="http://schemas.microsoft.com/office/drawing/2014/main" id="{B28843C0-5971-40E2-A2BB-3A79819FBEA6}"/>
                  </a:ext>
                </a:extLst>
              </p:cNvPr>
              <p:cNvSpPr>
                <a:spLocks/>
              </p:cNvSpPr>
              <p:nvPr/>
            </p:nvSpPr>
            <p:spPr bwMode="auto">
              <a:xfrm>
                <a:off x="7040563" y="3414713"/>
                <a:ext cx="396875" cy="1366838"/>
              </a:xfrm>
              <a:custGeom>
                <a:avLst/>
                <a:gdLst>
                  <a:gd name="T0" fmla="*/ 622 w 1745"/>
                  <a:gd name="T1" fmla="*/ 3223 h 6025"/>
                  <a:gd name="T2" fmla="*/ 595 w 1745"/>
                  <a:gd name="T3" fmla="*/ 3542 h 6025"/>
                  <a:gd name="T4" fmla="*/ 549 w 1745"/>
                  <a:gd name="T5" fmla="*/ 3855 h 6025"/>
                  <a:gd name="T6" fmla="*/ 482 w 1745"/>
                  <a:gd name="T7" fmla="*/ 4162 h 6025"/>
                  <a:gd name="T8" fmla="*/ 398 w 1745"/>
                  <a:gd name="T9" fmla="*/ 4459 h 6025"/>
                  <a:gd name="T10" fmla="*/ 295 w 1745"/>
                  <a:gd name="T11" fmla="*/ 4750 h 6025"/>
                  <a:gd name="T12" fmla="*/ 175 w 1745"/>
                  <a:gd name="T13" fmla="*/ 5031 h 6025"/>
                  <a:gd name="T14" fmla="*/ 37 w 1745"/>
                  <a:gd name="T15" fmla="*/ 5304 h 6025"/>
                  <a:gd name="T16" fmla="*/ 4 w 1745"/>
                  <a:gd name="T17" fmla="*/ 5475 h 6025"/>
                  <a:gd name="T18" fmla="*/ 35 w 1745"/>
                  <a:gd name="T19" fmla="*/ 5609 h 6025"/>
                  <a:gd name="T20" fmla="*/ 86 w 1745"/>
                  <a:gd name="T21" fmla="*/ 5721 h 6025"/>
                  <a:gd name="T22" fmla="*/ 157 w 1745"/>
                  <a:gd name="T23" fmla="*/ 5818 h 6025"/>
                  <a:gd name="T24" fmla="*/ 247 w 1745"/>
                  <a:gd name="T25" fmla="*/ 5900 h 6025"/>
                  <a:gd name="T26" fmla="*/ 353 w 1745"/>
                  <a:gd name="T27" fmla="*/ 5964 h 6025"/>
                  <a:gd name="T28" fmla="*/ 473 w 1745"/>
                  <a:gd name="T29" fmla="*/ 6007 h 6025"/>
                  <a:gd name="T30" fmla="*/ 594 w 1745"/>
                  <a:gd name="T31" fmla="*/ 6024 h 6025"/>
                  <a:gd name="T32" fmla="*/ 714 w 1745"/>
                  <a:gd name="T33" fmla="*/ 6018 h 6025"/>
                  <a:gd name="T34" fmla="*/ 829 w 1745"/>
                  <a:gd name="T35" fmla="*/ 5989 h 6025"/>
                  <a:gd name="T36" fmla="*/ 950 w 1745"/>
                  <a:gd name="T37" fmla="*/ 5930 h 6025"/>
                  <a:gd name="T38" fmla="*/ 1111 w 1745"/>
                  <a:gd name="T39" fmla="*/ 5663 h 6025"/>
                  <a:gd name="T40" fmla="*/ 1268 w 1745"/>
                  <a:gd name="T41" fmla="*/ 5324 h 6025"/>
                  <a:gd name="T42" fmla="*/ 1405 w 1745"/>
                  <a:gd name="T43" fmla="*/ 4972 h 6025"/>
                  <a:gd name="T44" fmla="*/ 1520 w 1745"/>
                  <a:gd name="T45" fmla="*/ 4611 h 6025"/>
                  <a:gd name="T46" fmla="*/ 1612 w 1745"/>
                  <a:gd name="T47" fmla="*/ 4241 h 6025"/>
                  <a:gd name="T48" fmla="*/ 1680 w 1745"/>
                  <a:gd name="T49" fmla="*/ 3862 h 6025"/>
                  <a:gd name="T50" fmla="*/ 1724 w 1745"/>
                  <a:gd name="T51" fmla="*/ 3474 h 6025"/>
                  <a:gd name="T52" fmla="*/ 1743 w 1745"/>
                  <a:gd name="T53" fmla="*/ 3080 h 6025"/>
                  <a:gd name="T54" fmla="*/ 1737 w 1745"/>
                  <a:gd name="T55" fmla="*/ 2677 h 6025"/>
                  <a:gd name="T56" fmla="*/ 1704 w 1745"/>
                  <a:gd name="T57" fmla="*/ 2278 h 6025"/>
                  <a:gd name="T58" fmla="*/ 1645 w 1745"/>
                  <a:gd name="T59" fmla="*/ 1887 h 6025"/>
                  <a:gd name="T60" fmla="*/ 1561 w 1745"/>
                  <a:gd name="T61" fmla="*/ 1506 h 6025"/>
                  <a:gd name="T62" fmla="*/ 1454 w 1745"/>
                  <a:gd name="T63" fmla="*/ 1133 h 6025"/>
                  <a:gd name="T64" fmla="*/ 1324 w 1745"/>
                  <a:gd name="T65" fmla="*/ 771 h 6025"/>
                  <a:gd name="T66" fmla="*/ 1172 w 1745"/>
                  <a:gd name="T67" fmla="*/ 421 h 6025"/>
                  <a:gd name="T68" fmla="*/ 997 w 1745"/>
                  <a:gd name="T69" fmla="*/ 82 h 6025"/>
                  <a:gd name="T70" fmla="*/ 948 w 1745"/>
                  <a:gd name="T71" fmla="*/ 48 h 6025"/>
                  <a:gd name="T72" fmla="*/ 929 w 1745"/>
                  <a:gd name="T73" fmla="*/ 159 h 6025"/>
                  <a:gd name="T74" fmla="*/ 885 w 1745"/>
                  <a:gd name="T75" fmla="*/ 279 h 6025"/>
                  <a:gd name="T76" fmla="*/ 817 w 1745"/>
                  <a:gd name="T77" fmla="*/ 390 h 6025"/>
                  <a:gd name="T78" fmla="*/ 726 w 1745"/>
                  <a:gd name="T79" fmla="*/ 487 h 6025"/>
                  <a:gd name="T80" fmla="*/ 616 w 1745"/>
                  <a:gd name="T81" fmla="*/ 567 h 6025"/>
                  <a:gd name="T82" fmla="*/ 496 w 1745"/>
                  <a:gd name="T83" fmla="*/ 620 h 6025"/>
                  <a:gd name="T84" fmla="*/ 371 w 1745"/>
                  <a:gd name="T85" fmla="*/ 649 h 6025"/>
                  <a:gd name="T86" fmla="*/ 243 w 1745"/>
                  <a:gd name="T87" fmla="*/ 653 h 6025"/>
                  <a:gd name="T88" fmla="*/ 130 w 1745"/>
                  <a:gd name="T89" fmla="*/ 636 h 6025"/>
                  <a:gd name="T90" fmla="*/ 26 w 1745"/>
                  <a:gd name="T91" fmla="*/ 602 h 6025"/>
                  <a:gd name="T92" fmla="*/ 109 w 1745"/>
                  <a:gd name="T93" fmla="*/ 792 h 6025"/>
                  <a:gd name="T94" fmla="*/ 237 w 1745"/>
                  <a:gd name="T95" fmla="*/ 1069 h 6025"/>
                  <a:gd name="T96" fmla="*/ 350 w 1745"/>
                  <a:gd name="T97" fmla="*/ 1355 h 6025"/>
                  <a:gd name="T98" fmla="*/ 443 w 1745"/>
                  <a:gd name="T99" fmla="*/ 1650 h 6025"/>
                  <a:gd name="T100" fmla="*/ 519 w 1745"/>
                  <a:gd name="T101" fmla="*/ 1952 h 6025"/>
                  <a:gd name="T102" fmla="*/ 574 w 1745"/>
                  <a:gd name="T103" fmla="*/ 2261 h 6025"/>
                  <a:gd name="T104" fmla="*/ 611 w 1745"/>
                  <a:gd name="T105" fmla="*/ 2577 h 6025"/>
                  <a:gd name="T106" fmla="*/ 627 w 1745"/>
                  <a:gd name="T107" fmla="*/ 2899 h 6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45" h="6025">
                    <a:moveTo>
                      <a:pt x="627" y="2980"/>
                    </a:moveTo>
                    <a:lnTo>
                      <a:pt x="627" y="3061"/>
                    </a:lnTo>
                    <a:lnTo>
                      <a:pt x="625" y="3143"/>
                    </a:lnTo>
                    <a:lnTo>
                      <a:pt x="622" y="3223"/>
                    </a:lnTo>
                    <a:lnTo>
                      <a:pt x="616" y="3303"/>
                    </a:lnTo>
                    <a:lnTo>
                      <a:pt x="611" y="3383"/>
                    </a:lnTo>
                    <a:lnTo>
                      <a:pt x="603" y="3463"/>
                    </a:lnTo>
                    <a:lnTo>
                      <a:pt x="595" y="3542"/>
                    </a:lnTo>
                    <a:lnTo>
                      <a:pt x="585" y="3621"/>
                    </a:lnTo>
                    <a:lnTo>
                      <a:pt x="574" y="3699"/>
                    </a:lnTo>
                    <a:lnTo>
                      <a:pt x="563" y="3777"/>
                    </a:lnTo>
                    <a:lnTo>
                      <a:pt x="549" y="3855"/>
                    </a:lnTo>
                    <a:lnTo>
                      <a:pt x="534" y="3932"/>
                    </a:lnTo>
                    <a:lnTo>
                      <a:pt x="518" y="4008"/>
                    </a:lnTo>
                    <a:lnTo>
                      <a:pt x="501" y="4085"/>
                    </a:lnTo>
                    <a:lnTo>
                      <a:pt x="482" y="4162"/>
                    </a:lnTo>
                    <a:lnTo>
                      <a:pt x="463" y="4236"/>
                    </a:lnTo>
                    <a:lnTo>
                      <a:pt x="443" y="4311"/>
                    </a:lnTo>
                    <a:lnTo>
                      <a:pt x="421" y="4385"/>
                    </a:lnTo>
                    <a:lnTo>
                      <a:pt x="398" y="4459"/>
                    </a:lnTo>
                    <a:lnTo>
                      <a:pt x="374" y="4533"/>
                    </a:lnTo>
                    <a:lnTo>
                      <a:pt x="349" y="4606"/>
                    </a:lnTo>
                    <a:lnTo>
                      <a:pt x="323" y="4678"/>
                    </a:lnTo>
                    <a:lnTo>
                      <a:pt x="295" y="4750"/>
                    </a:lnTo>
                    <a:lnTo>
                      <a:pt x="267" y="4821"/>
                    </a:lnTo>
                    <a:lnTo>
                      <a:pt x="237" y="4892"/>
                    </a:lnTo>
                    <a:lnTo>
                      <a:pt x="206" y="4963"/>
                    </a:lnTo>
                    <a:lnTo>
                      <a:pt x="175" y="5031"/>
                    </a:lnTo>
                    <a:lnTo>
                      <a:pt x="142" y="5101"/>
                    </a:lnTo>
                    <a:lnTo>
                      <a:pt x="108" y="5169"/>
                    </a:lnTo>
                    <a:lnTo>
                      <a:pt x="73" y="5237"/>
                    </a:lnTo>
                    <a:lnTo>
                      <a:pt x="37" y="5304"/>
                    </a:lnTo>
                    <a:lnTo>
                      <a:pt x="1" y="5371"/>
                    </a:lnTo>
                    <a:lnTo>
                      <a:pt x="0" y="5405"/>
                    </a:lnTo>
                    <a:lnTo>
                      <a:pt x="1" y="5440"/>
                    </a:lnTo>
                    <a:lnTo>
                      <a:pt x="4" y="5475"/>
                    </a:lnTo>
                    <a:lnTo>
                      <a:pt x="8" y="5509"/>
                    </a:lnTo>
                    <a:lnTo>
                      <a:pt x="16" y="5543"/>
                    </a:lnTo>
                    <a:lnTo>
                      <a:pt x="24" y="5577"/>
                    </a:lnTo>
                    <a:lnTo>
                      <a:pt x="35" y="5609"/>
                    </a:lnTo>
                    <a:lnTo>
                      <a:pt x="47" y="5641"/>
                    </a:lnTo>
                    <a:lnTo>
                      <a:pt x="58" y="5669"/>
                    </a:lnTo>
                    <a:lnTo>
                      <a:pt x="72" y="5694"/>
                    </a:lnTo>
                    <a:lnTo>
                      <a:pt x="86" y="5721"/>
                    </a:lnTo>
                    <a:lnTo>
                      <a:pt x="102" y="5746"/>
                    </a:lnTo>
                    <a:lnTo>
                      <a:pt x="119" y="5770"/>
                    </a:lnTo>
                    <a:lnTo>
                      <a:pt x="138" y="5795"/>
                    </a:lnTo>
                    <a:lnTo>
                      <a:pt x="157" y="5818"/>
                    </a:lnTo>
                    <a:lnTo>
                      <a:pt x="178" y="5840"/>
                    </a:lnTo>
                    <a:lnTo>
                      <a:pt x="200" y="5860"/>
                    </a:lnTo>
                    <a:lnTo>
                      <a:pt x="222" y="5881"/>
                    </a:lnTo>
                    <a:lnTo>
                      <a:pt x="247" y="5900"/>
                    </a:lnTo>
                    <a:lnTo>
                      <a:pt x="271" y="5917"/>
                    </a:lnTo>
                    <a:lnTo>
                      <a:pt x="298" y="5934"/>
                    </a:lnTo>
                    <a:lnTo>
                      <a:pt x="325" y="5950"/>
                    </a:lnTo>
                    <a:lnTo>
                      <a:pt x="353" y="5964"/>
                    </a:lnTo>
                    <a:lnTo>
                      <a:pt x="383" y="5977"/>
                    </a:lnTo>
                    <a:lnTo>
                      <a:pt x="412" y="5989"/>
                    </a:lnTo>
                    <a:lnTo>
                      <a:pt x="442" y="5999"/>
                    </a:lnTo>
                    <a:lnTo>
                      <a:pt x="473" y="6007"/>
                    </a:lnTo>
                    <a:lnTo>
                      <a:pt x="503" y="6014"/>
                    </a:lnTo>
                    <a:lnTo>
                      <a:pt x="533" y="6019"/>
                    </a:lnTo>
                    <a:lnTo>
                      <a:pt x="564" y="6022"/>
                    </a:lnTo>
                    <a:lnTo>
                      <a:pt x="594" y="6024"/>
                    </a:lnTo>
                    <a:lnTo>
                      <a:pt x="624" y="6025"/>
                    </a:lnTo>
                    <a:lnTo>
                      <a:pt x="655" y="6024"/>
                    </a:lnTo>
                    <a:lnTo>
                      <a:pt x="685" y="6022"/>
                    </a:lnTo>
                    <a:lnTo>
                      <a:pt x="714" y="6018"/>
                    </a:lnTo>
                    <a:lnTo>
                      <a:pt x="744" y="6012"/>
                    </a:lnTo>
                    <a:lnTo>
                      <a:pt x="772" y="6006"/>
                    </a:lnTo>
                    <a:lnTo>
                      <a:pt x="801" y="5997"/>
                    </a:lnTo>
                    <a:lnTo>
                      <a:pt x="829" y="5989"/>
                    </a:lnTo>
                    <a:lnTo>
                      <a:pt x="857" y="5978"/>
                    </a:lnTo>
                    <a:lnTo>
                      <a:pt x="889" y="5963"/>
                    </a:lnTo>
                    <a:lnTo>
                      <a:pt x="920" y="5947"/>
                    </a:lnTo>
                    <a:lnTo>
                      <a:pt x="950" y="5930"/>
                    </a:lnTo>
                    <a:lnTo>
                      <a:pt x="979" y="5911"/>
                    </a:lnTo>
                    <a:lnTo>
                      <a:pt x="1024" y="5829"/>
                    </a:lnTo>
                    <a:lnTo>
                      <a:pt x="1068" y="5747"/>
                    </a:lnTo>
                    <a:lnTo>
                      <a:pt x="1111" y="5663"/>
                    </a:lnTo>
                    <a:lnTo>
                      <a:pt x="1151" y="5580"/>
                    </a:lnTo>
                    <a:lnTo>
                      <a:pt x="1192" y="5495"/>
                    </a:lnTo>
                    <a:lnTo>
                      <a:pt x="1231" y="5409"/>
                    </a:lnTo>
                    <a:lnTo>
                      <a:pt x="1268" y="5324"/>
                    </a:lnTo>
                    <a:lnTo>
                      <a:pt x="1305" y="5237"/>
                    </a:lnTo>
                    <a:lnTo>
                      <a:pt x="1339" y="5149"/>
                    </a:lnTo>
                    <a:lnTo>
                      <a:pt x="1373" y="5061"/>
                    </a:lnTo>
                    <a:lnTo>
                      <a:pt x="1405" y="4972"/>
                    </a:lnTo>
                    <a:lnTo>
                      <a:pt x="1435" y="4883"/>
                    </a:lnTo>
                    <a:lnTo>
                      <a:pt x="1465" y="4793"/>
                    </a:lnTo>
                    <a:lnTo>
                      <a:pt x="1493" y="4702"/>
                    </a:lnTo>
                    <a:lnTo>
                      <a:pt x="1520" y="4611"/>
                    </a:lnTo>
                    <a:lnTo>
                      <a:pt x="1544" y="4519"/>
                    </a:lnTo>
                    <a:lnTo>
                      <a:pt x="1568" y="4427"/>
                    </a:lnTo>
                    <a:lnTo>
                      <a:pt x="1590" y="4334"/>
                    </a:lnTo>
                    <a:lnTo>
                      <a:pt x="1612" y="4241"/>
                    </a:lnTo>
                    <a:lnTo>
                      <a:pt x="1631" y="4147"/>
                    </a:lnTo>
                    <a:lnTo>
                      <a:pt x="1649" y="4052"/>
                    </a:lnTo>
                    <a:lnTo>
                      <a:pt x="1665" y="3957"/>
                    </a:lnTo>
                    <a:lnTo>
                      <a:pt x="1680" y="3862"/>
                    </a:lnTo>
                    <a:lnTo>
                      <a:pt x="1693" y="3765"/>
                    </a:lnTo>
                    <a:lnTo>
                      <a:pt x="1705" y="3669"/>
                    </a:lnTo>
                    <a:lnTo>
                      <a:pt x="1716" y="3571"/>
                    </a:lnTo>
                    <a:lnTo>
                      <a:pt x="1724" y="3474"/>
                    </a:lnTo>
                    <a:lnTo>
                      <a:pt x="1732" y="3376"/>
                    </a:lnTo>
                    <a:lnTo>
                      <a:pt x="1737" y="3278"/>
                    </a:lnTo>
                    <a:lnTo>
                      <a:pt x="1741" y="3179"/>
                    </a:lnTo>
                    <a:lnTo>
                      <a:pt x="1743" y="3080"/>
                    </a:lnTo>
                    <a:lnTo>
                      <a:pt x="1745" y="2980"/>
                    </a:lnTo>
                    <a:lnTo>
                      <a:pt x="1743" y="2878"/>
                    </a:lnTo>
                    <a:lnTo>
                      <a:pt x="1741" y="2778"/>
                    </a:lnTo>
                    <a:lnTo>
                      <a:pt x="1737" y="2677"/>
                    </a:lnTo>
                    <a:lnTo>
                      <a:pt x="1732" y="2576"/>
                    </a:lnTo>
                    <a:lnTo>
                      <a:pt x="1724" y="2477"/>
                    </a:lnTo>
                    <a:lnTo>
                      <a:pt x="1715" y="2377"/>
                    </a:lnTo>
                    <a:lnTo>
                      <a:pt x="1704" y="2278"/>
                    </a:lnTo>
                    <a:lnTo>
                      <a:pt x="1692" y="2180"/>
                    </a:lnTo>
                    <a:lnTo>
                      <a:pt x="1678" y="2082"/>
                    </a:lnTo>
                    <a:lnTo>
                      <a:pt x="1662" y="1985"/>
                    </a:lnTo>
                    <a:lnTo>
                      <a:pt x="1645" y="1887"/>
                    </a:lnTo>
                    <a:lnTo>
                      <a:pt x="1627" y="1791"/>
                    </a:lnTo>
                    <a:lnTo>
                      <a:pt x="1606" y="1696"/>
                    </a:lnTo>
                    <a:lnTo>
                      <a:pt x="1585" y="1600"/>
                    </a:lnTo>
                    <a:lnTo>
                      <a:pt x="1561" y="1506"/>
                    </a:lnTo>
                    <a:lnTo>
                      <a:pt x="1537" y="1412"/>
                    </a:lnTo>
                    <a:lnTo>
                      <a:pt x="1511" y="1319"/>
                    </a:lnTo>
                    <a:lnTo>
                      <a:pt x="1483" y="1225"/>
                    </a:lnTo>
                    <a:lnTo>
                      <a:pt x="1454" y="1133"/>
                    </a:lnTo>
                    <a:lnTo>
                      <a:pt x="1423" y="1042"/>
                    </a:lnTo>
                    <a:lnTo>
                      <a:pt x="1392" y="951"/>
                    </a:lnTo>
                    <a:lnTo>
                      <a:pt x="1359" y="861"/>
                    </a:lnTo>
                    <a:lnTo>
                      <a:pt x="1324" y="771"/>
                    </a:lnTo>
                    <a:lnTo>
                      <a:pt x="1287" y="682"/>
                    </a:lnTo>
                    <a:lnTo>
                      <a:pt x="1250" y="595"/>
                    </a:lnTo>
                    <a:lnTo>
                      <a:pt x="1211" y="508"/>
                    </a:lnTo>
                    <a:lnTo>
                      <a:pt x="1172" y="421"/>
                    </a:lnTo>
                    <a:lnTo>
                      <a:pt x="1130" y="335"/>
                    </a:lnTo>
                    <a:lnTo>
                      <a:pt x="1087" y="250"/>
                    </a:lnTo>
                    <a:lnTo>
                      <a:pt x="1043" y="166"/>
                    </a:lnTo>
                    <a:lnTo>
                      <a:pt x="997" y="82"/>
                    </a:lnTo>
                    <a:lnTo>
                      <a:pt x="951" y="0"/>
                    </a:lnTo>
                    <a:lnTo>
                      <a:pt x="950" y="16"/>
                    </a:lnTo>
                    <a:lnTo>
                      <a:pt x="949" y="32"/>
                    </a:lnTo>
                    <a:lnTo>
                      <a:pt x="948" y="48"/>
                    </a:lnTo>
                    <a:lnTo>
                      <a:pt x="947" y="64"/>
                    </a:lnTo>
                    <a:lnTo>
                      <a:pt x="943" y="96"/>
                    </a:lnTo>
                    <a:lnTo>
                      <a:pt x="936" y="127"/>
                    </a:lnTo>
                    <a:lnTo>
                      <a:pt x="929" y="159"/>
                    </a:lnTo>
                    <a:lnTo>
                      <a:pt x="920" y="190"/>
                    </a:lnTo>
                    <a:lnTo>
                      <a:pt x="909" y="220"/>
                    </a:lnTo>
                    <a:lnTo>
                      <a:pt x="898" y="250"/>
                    </a:lnTo>
                    <a:lnTo>
                      <a:pt x="885" y="279"/>
                    </a:lnTo>
                    <a:lnTo>
                      <a:pt x="870" y="307"/>
                    </a:lnTo>
                    <a:lnTo>
                      <a:pt x="854" y="336"/>
                    </a:lnTo>
                    <a:lnTo>
                      <a:pt x="836" y="363"/>
                    </a:lnTo>
                    <a:lnTo>
                      <a:pt x="817" y="390"/>
                    </a:lnTo>
                    <a:lnTo>
                      <a:pt x="796" y="416"/>
                    </a:lnTo>
                    <a:lnTo>
                      <a:pt x="775" y="440"/>
                    </a:lnTo>
                    <a:lnTo>
                      <a:pt x="751" y="465"/>
                    </a:lnTo>
                    <a:lnTo>
                      <a:pt x="726" y="487"/>
                    </a:lnTo>
                    <a:lnTo>
                      <a:pt x="700" y="510"/>
                    </a:lnTo>
                    <a:lnTo>
                      <a:pt x="673" y="530"/>
                    </a:lnTo>
                    <a:lnTo>
                      <a:pt x="645" y="550"/>
                    </a:lnTo>
                    <a:lnTo>
                      <a:pt x="616" y="567"/>
                    </a:lnTo>
                    <a:lnTo>
                      <a:pt x="587" y="583"/>
                    </a:lnTo>
                    <a:lnTo>
                      <a:pt x="557" y="597"/>
                    </a:lnTo>
                    <a:lnTo>
                      <a:pt x="527" y="610"/>
                    </a:lnTo>
                    <a:lnTo>
                      <a:pt x="496" y="620"/>
                    </a:lnTo>
                    <a:lnTo>
                      <a:pt x="465" y="630"/>
                    </a:lnTo>
                    <a:lnTo>
                      <a:pt x="434" y="638"/>
                    </a:lnTo>
                    <a:lnTo>
                      <a:pt x="402" y="645"/>
                    </a:lnTo>
                    <a:lnTo>
                      <a:pt x="371" y="649"/>
                    </a:lnTo>
                    <a:lnTo>
                      <a:pt x="339" y="652"/>
                    </a:lnTo>
                    <a:lnTo>
                      <a:pt x="307" y="654"/>
                    </a:lnTo>
                    <a:lnTo>
                      <a:pt x="275" y="654"/>
                    </a:lnTo>
                    <a:lnTo>
                      <a:pt x="243" y="653"/>
                    </a:lnTo>
                    <a:lnTo>
                      <a:pt x="211" y="650"/>
                    </a:lnTo>
                    <a:lnTo>
                      <a:pt x="184" y="647"/>
                    </a:lnTo>
                    <a:lnTo>
                      <a:pt x="157" y="642"/>
                    </a:lnTo>
                    <a:lnTo>
                      <a:pt x="130" y="636"/>
                    </a:lnTo>
                    <a:lnTo>
                      <a:pt x="103" y="629"/>
                    </a:lnTo>
                    <a:lnTo>
                      <a:pt x="78" y="621"/>
                    </a:lnTo>
                    <a:lnTo>
                      <a:pt x="52" y="612"/>
                    </a:lnTo>
                    <a:lnTo>
                      <a:pt x="26" y="602"/>
                    </a:lnTo>
                    <a:lnTo>
                      <a:pt x="1" y="590"/>
                    </a:lnTo>
                    <a:lnTo>
                      <a:pt x="38" y="657"/>
                    </a:lnTo>
                    <a:lnTo>
                      <a:pt x="73" y="724"/>
                    </a:lnTo>
                    <a:lnTo>
                      <a:pt x="109" y="792"/>
                    </a:lnTo>
                    <a:lnTo>
                      <a:pt x="142" y="860"/>
                    </a:lnTo>
                    <a:lnTo>
                      <a:pt x="175" y="929"/>
                    </a:lnTo>
                    <a:lnTo>
                      <a:pt x="207" y="998"/>
                    </a:lnTo>
                    <a:lnTo>
                      <a:pt x="237" y="1069"/>
                    </a:lnTo>
                    <a:lnTo>
                      <a:pt x="267" y="1140"/>
                    </a:lnTo>
                    <a:lnTo>
                      <a:pt x="295" y="1210"/>
                    </a:lnTo>
                    <a:lnTo>
                      <a:pt x="323" y="1282"/>
                    </a:lnTo>
                    <a:lnTo>
                      <a:pt x="350" y="1355"/>
                    </a:lnTo>
                    <a:lnTo>
                      <a:pt x="374" y="1428"/>
                    </a:lnTo>
                    <a:lnTo>
                      <a:pt x="398" y="1501"/>
                    </a:lnTo>
                    <a:lnTo>
                      <a:pt x="421" y="1575"/>
                    </a:lnTo>
                    <a:lnTo>
                      <a:pt x="443" y="1650"/>
                    </a:lnTo>
                    <a:lnTo>
                      <a:pt x="463" y="1725"/>
                    </a:lnTo>
                    <a:lnTo>
                      <a:pt x="483" y="1800"/>
                    </a:lnTo>
                    <a:lnTo>
                      <a:pt x="502" y="1876"/>
                    </a:lnTo>
                    <a:lnTo>
                      <a:pt x="519" y="1952"/>
                    </a:lnTo>
                    <a:lnTo>
                      <a:pt x="534" y="2029"/>
                    </a:lnTo>
                    <a:lnTo>
                      <a:pt x="549" y="2106"/>
                    </a:lnTo>
                    <a:lnTo>
                      <a:pt x="563" y="2183"/>
                    </a:lnTo>
                    <a:lnTo>
                      <a:pt x="574" y="2261"/>
                    </a:lnTo>
                    <a:lnTo>
                      <a:pt x="585" y="2339"/>
                    </a:lnTo>
                    <a:lnTo>
                      <a:pt x="595" y="2419"/>
                    </a:lnTo>
                    <a:lnTo>
                      <a:pt x="603" y="2497"/>
                    </a:lnTo>
                    <a:lnTo>
                      <a:pt x="611" y="2577"/>
                    </a:lnTo>
                    <a:lnTo>
                      <a:pt x="616" y="2657"/>
                    </a:lnTo>
                    <a:lnTo>
                      <a:pt x="622" y="2737"/>
                    </a:lnTo>
                    <a:lnTo>
                      <a:pt x="625" y="2818"/>
                    </a:lnTo>
                    <a:lnTo>
                      <a:pt x="627" y="2899"/>
                    </a:lnTo>
                    <a:lnTo>
                      <a:pt x="627" y="2980"/>
                    </a:lnTo>
                    <a:close/>
                  </a:path>
                </a:pathLst>
              </a:custGeom>
              <a:solidFill>
                <a:srgbClr val="0039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s-ES">
                  <a:solidFill>
                    <a:prstClr val="black"/>
                  </a:solidFill>
                  <a:latin typeface="Helvetica"/>
                </a:endParaRPr>
              </a:p>
            </p:txBody>
          </p:sp>
          <p:sp>
            <p:nvSpPr>
              <p:cNvPr id="22" name="Freeform 11">
                <a:extLst>
                  <a:ext uri="{FF2B5EF4-FFF2-40B4-BE49-F238E27FC236}">
                    <a16:creationId xmlns:a16="http://schemas.microsoft.com/office/drawing/2014/main" id="{379EC137-FE32-449F-AEF4-11798B760115}"/>
                  </a:ext>
                </a:extLst>
              </p:cNvPr>
              <p:cNvSpPr>
                <a:spLocks/>
              </p:cNvSpPr>
              <p:nvPr/>
            </p:nvSpPr>
            <p:spPr bwMode="auto">
              <a:xfrm>
                <a:off x="6015038" y="4649788"/>
                <a:ext cx="1238250" cy="796925"/>
              </a:xfrm>
              <a:custGeom>
                <a:avLst/>
                <a:gdLst>
                  <a:gd name="T0" fmla="*/ 663 w 5459"/>
                  <a:gd name="T1" fmla="*/ 3507 h 3517"/>
                  <a:gd name="T2" fmla="*/ 1108 w 5459"/>
                  <a:gd name="T3" fmla="*/ 3462 h 3517"/>
                  <a:gd name="T4" fmla="*/ 1545 w 5459"/>
                  <a:gd name="T5" fmla="*/ 3386 h 3517"/>
                  <a:gd name="T6" fmla="*/ 1969 w 5459"/>
                  <a:gd name="T7" fmla="*/ 3279 h 3517"/>
                  <a:gd name="T8" fmla="*/ 2381 w 5459"/>
                  <a:gd name="T9" fmla="*/ 3141 h 3517"/>
                  <a:gd name="T10" fmla="*/ 2779 w 5459"/>
                  <a:gd name="T11" fmla="*/ 2976 h 3517"/>
                  <a:gd name="T12" fmla="*/ 3162 w 5459"/>
                  <a:gd name="T13" fmla="*/ 2784 h 3517"/>
                  <a:gd name="T14" fmla="*/ 3529 w 5459"/>
                  <a:gd name="T15" fmla="*/ 2565 h 3517"/>
                  <a:gd name="T16" fmla="*/ 3878 w 5459"/>
                  <a:gd name="T17" fmla="*/ 2322 h 3517"/>
                  <a:gd name="T18" fmla="*/ 4208 w 5459"/>
                  <a:gd name="T19" fmla="*/ 2055 h 3517"/>
                  <a:gd name="T20" fmla="*/ 4518 w 5459"/>
                  <a:gd name="T21" fmla="*/ 1765 h 3517"/>
                  <a:gd name="T22" fmla="*/ 4718 w 5459"/>
                  <a:gd name="T23" fmla="*/ 1556 h 3517"/>
                  <a:gd name="T24" fmla="*/ 4908 w 5459"/>
                  <a:gd name="T25" fmla="*/ 1338 h 3517"/>
                  <a:gd name="T26" fmla="*/ 5085 w 5459"/>
                  <a:gd name="T27" fmla="*/ 1109 h 3517"/>
                  <a:gd name="T28" fmla="*/ 5254 w 5459"/>
                  <a:gd name="T29" fmla="*/ 873 h 3517"/>
                  <a:gd name="T30" fmla="*/ 5410 w 5459"/>
                  <a:gd name="T31" fmla="*/ 627 h 3517"/>
                  <a:gd name="T32" fmla="*/ 5429 w 5459"/>
                  <a:gd name="T33" fmla="*/ 560 h 3517"/>
                  <a:gd name="T34" fmla="*/ 5369 w 5459"/>
                  <a:gd name="T35" fmla="*/ 585 h 3517"/>
                  <a:gd name="T36" fmla="*/ 5277 w 5459"/>
                  <a:gd name="T37" fmla="*/ 610 h 3517"/>
                  <a:gd name="T38" fmla="*/ 5182 w 5459"/>
                  <a:gd name="T39" fmla="*/ 623 h 3517"/>
                  <a:gd name="T40" fmla="*/ 5084 w 5459"/>
                  <a:gd name="T41" fmla="*/ 621 h 3517"/>
                  <a:gd name="T42" fmla="*/ 4987 w 5459"/>
                  <a:gd name="T43" fmla="*/ 605 h 3517"/>
                  <a:gd name="T44" fmla="*/ 4891 w 5459"/>
                  <a:gd name="T45" fmla="*/ 573 h 3517"/>
                  <a:gd name="T46" fmla="*/ 4801 w 5459"/>
                  <a:gd name="T47" fmla="*/ 527 h 3517"/>
                  <a:gd name="T48" fmla="*/ 4720 w 5459"/>
                  <a:gd name="T49" fmla="*/ 470 h 3517"/>
                  <a:gd name="T50" fmla="*/ 4651 w 5459"/>
                  <a:gd name="T51" fmla="*/ 402 h 3517"/>
                  <a:gd name="T52" fmla="*/ 4592 w 5459"/>
                  <a:gd name="T53" fmla="*/ 325 h 3517"/>
                  <a:gd name="T54" fmla="*/ 4545 w 5459"/>
                  <a:gd name="T55" fmla="*/ 243 h 3517"/>
                  <a:gd name="T56" fmla="*/ 4514 w 5459"/>
                  <a:gd name="T57" fmla="*/ 161 h 3517"/>
                  <a:gd name="T58" fmla="*/ 4493 w 5459"/>
                  <a:gd name="T59" fmla="*/ 82 h 3517"/>
                  <a:gd name="T60" fmla="*/ 4483 w 5459"/>
                  <a:gd name="T61" fmla="*/ 0 h 3517"/>
                  <a:gd name="T62" fmla="*/ 4361 w 5459"/>
                  <a:gd name="T63" fmla="*/ 198 h 3517"/>
                  <a:gd name="T64" fmla="*/ 4229 w 5459"/>
                  <a:gd name="T65" fmla="*/ 389 h 3517"/>
                  <a:gd name="T66" fmla="*/ 4089 w 5459"/>
                  <a:gd name="T67" fmla="*/ 573 h 3517"/>
                  <a:gd name="T68" fmla="*/ 3940 w 5459"/>
                  <a:gd name="T69" fmla="*/ 751 h 3517"/>
                  <a:gd name="T70" fmla="*/ 3783 w 5459"/>
                  <a:gd name="T71" fmla="*/ 920 h 3517"/>
                  <a:gd name="T72" fmla="*/ 3562 w 5459"/>
                  <a:gd name="T73" fmla="*/ 1134 h 3517"/>
                  <a:gd name="T74" fmla="*/ 3299 w 5459"/>
                  <a:gd name="T75" fmla="*/ 1358 h 3517"/>
                  <a:gd name="T76" fmla="*/ 3019 w 5459"/>
                  <a:gd name="T77" fmla="*/ 1563 h 3517"/>
                  <a:gd name="T78" fmla="*/ 2725 w 5459"/>
                  <a:gd name="T79" fmla="*/ 1747 h 3517"/>
                  <a:gd name="T80" fmla="*/ 2418 w 5459"/>
                  <a:gd name="T81" fmla="*/ 1911 h 3517"/>
                  <a:gd name="T82" fmla="*/ 2098 w 5459"/>
                  <a:gd name="T83" fmla="*/ 2052 h 3517"/>
                  <a:gd name="T84" fmla="*/ 1767 w 5459"/>
                  <a:gd name="T85" fmla="*/ 2172 h 3517"/>
                  <a:gd name="T86" fmla="*/ 1424 w 5459"/>
                  <a:gd name="T87" fmla="*/ 2266 h 3517"/>
                  <a:gd name="T88" fmla="*/ 1072 w 5459"/>
                  <a:gd name="T89" fmla="*/ 2337 h 3517"/>
                  <a:gd name="T90" fmla="*/ 711 w 5459"/>
                  <a:gd name="T91" fmla="*/ 2382 h 3517"/>
                  <a:gd name="T92" fmla="*/ 343 w 5459"/>
                  <a:gd name="T93" fmla="*/ 2399 h 3517"/>
                  <a:gd name="T94" fmla="*/ 253 w 5459"/>
                  <a:gd name="T95" fmla="*/ 2455 h 3517"/>
                  <a:gd name="T96" fmla="*/ 174 w 5459"/>
                  <a:gd name="T97" fmla="*/ 2523 h 3517"/>
                  <a:gd name="T98" fmla="*/ 111 w 5459"/>
                  <a:gd name="T99" fmla="*/ 2600 h 3517"/>
                  <a:gd name="T100" fmla="*/ 66 w 5459"/>
                  <a:gd name="T101" fmla="*/ 2678 h 3517"/>
                  <a:gd name="T102" fmla="*/ 31 w 5459"/>
                  <a:gd name="T103" fmla="*/ 2761 h 3517"/>
                  <a:gd name="T104" fmla="*/ 9 w 5459"/>
                  <a:gd name="T105" fmla="*/ 2849 h 3517"/>
                  <a:gd name="T106" fmla="*/ 0 w 5459"/>
                  <a:gd name="T107" fmla="*/ 2941 h 3517"/>
                  <a:gd name="T108" fmla="*/ 6 w 5459"/>
                  <a:gd name="T109" fmla="*/ 3035 h 3517"/>
                  <a:gd name="T110" fmla="*/ 25 w 5459"/>
                  <a:gd name="T111" fmla="*/ 3128 h 3517"/>
                  <a:gd name="T112" fmla="*/ 57 w 5459"/>
                  <a:gd name="T113" fmla="*/ 3214 h 3517"/>
                  <a:gd name="T114" fmla="*/ 101 w 5459"/>
                  <a:gd name="T115" fmla="*/ 3294 h 3517"/>
                  <a:gd name="T116" fmla="*/ 156 w 5459"/>
                  <a:gd name="T117" fmla="*/ 3365 h 3517"/>
                  <a:gd name="T118" fmla="*/ 220 w 5459"/>
                  <a:gd name="T119" fmla="*/ 3427 h 3517"/>
                  <a:gd name="T120" fmla="*/ 299 w 5459"/>
                  <a:gd name="T121" fmla="*/ 3485 h 3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59" h="3517">
                    <a:moveTo>
                      <a:pt x="360" y="3517"/>
                    </a:moveTo>
                    <a:lnTo>
                      <a:pt x="512" y="3513"/>
                    </a:lnTo>
                    <a:lnTo>
                      <a:pt x="663" y="3507"/>
                    </a:lnTo>
                    <a:lnTo>
                      <a:pt x="812" y="3495"/>
                    </a:lnTo>
                    <a:lnTo>
                      <a:pt x="961" y="3480"/>
                    </a:lnTo>
                    <a:lnTo>
                      <a:pt x="1108" y="3462"/>
                    </a:lnTo>
                    <a:lnTo>
                      <a:pt x="1255" y="3440"/>
                    </a:lnTo>
                    <a:lnTo>
                      <a:pt x="1401" y="3415"/>
                    </a:lnTo>
                    <a:lnTo>
                      <a:pt x="1545" y="3386"/>
                    </a:lnTo>
                    <a:lnTo>
                      <a:pt x="1688" y="3354"/>
                    </a:lnTo>
                    <a:lnTo>
                      <a:pt x="1829" y="3318"/>
                    </a:lnTo>
                    <a:lnTo>
                      <a:pt x="1969" y="3279"/>
                    </a:lnTo>
                    <a:lnTo>
                      <a:pt x="2108" y="3237"/>
                    </a:lnTo>
                    <a:lnTo>
                      <a:pt x="2245" y="3191"/>
                    </a:lnTo>
                    <a:lnTo>
                      <a:pt x="2381" y="3141"/>
                    </a:lnTo>
                    <a:lnTo>
                      <a:pt x="2515" y="3090"/>
                    </a:lnTo>
                    <a:lnTo>
                      <a:pt x="2648" y="3034"/>
                    </a:lnTo>
                    <a:lnTo>
                      <a:pt x="2779" y="2976"/>
                    </a:lnTo>
                    <a:lnTo>
                      <a:pt x="2908" y="2915"/>
                    </a:lnTo>
                    <a:lnTo>
                      <a:pt x="3036" y="2851"/>
                    </a:lnTo>
                    <a:lnTo>
                      <a:pt x="3162" y="2784"/>
                    </a:lnTo>
                    <a:lnTo>
                      <a:pt x="3286" y="2714"/>
                    </a:lnTo>
                    <a:lnTo>
                      <a:pt x="3408" y="2641"/>
                    </a:lnTo>
                    <a:lnTo>
                      <a:pt x="3529" y="2565"/>
                    </a:lnTo>
                    <a:lnTo>
                      <a:pt x="3647" y="2487"/>
                    </a:lnTo>
                    <a:lnTo>
                      <a:pt x="3763" y="2406"/>
                    </a:lnTo>
                    <a:lnTo>
                      <a:pt x="3878" y="2322"/>
                    </a:lnTo>
                    <a:lnTo>
                      <a:pt x="3990" y="2235"/>
                    </a:lnTo>
                    <a:lnTo>
                      <a:pt x="4101" y="2146"/>
                    </a:lnTo>
                    <a:lnTo>
                      <a:pt x="4208" y="2055"/>
                    </a:lnTo>
                    <a:lnTo>
                      <a:pt x="4314" y="1961"/>
                    </a:lnTo>
                    <a:lnTo>
                      <a:pt x="4417" y="1865"/>
                    </a:lnTo>
                    <a:lnTo>
                      <a:pt x="4518" y="1765"/>
                    </a:lnTo>
                    <a:lnTo>
                      <a:pt x="4587" y="1696"/>
                    </a:lnTo>
                    <a:lnTo>
                      <a:pt x="4653" y="1627"/>
                    </a:lnTo>
                    <a:lnTo>
                      <a:pt x="4718" y="1556"/>
                    </a:lnTo>
                    <a:lnTo>
                      <a:pt x="4783" y="1484"/>
                    </a:lnTo>
                    <a:lnTo>
                      <a:pt x="4846" y="1411"/>
                    </a:lnTo>
                    <a:lnTo>
                      <a:pt x="4908" y="1338"/>
                    </a:lnTo>
                    <a:lnTo>
                      <a:pt x="4968" y="1263"/>
                    </a:lnTo>
                    <a:lnTo>
                      <a:pt x="5028" y="1187"/>
                    </a:lnTo>
                    <a:lnTo>
                      <a:pt x="5085" y="1109"/>
                    </a:lnTo>
                    <a:lnTo>
                      <a:pt x="5143" y="1031"/>
                    </a:lnTo>
                    <a:lnTo>
                      <a:pt x="5199" y="953"/>
                    </a:lnTo>
                    <a:lnTo>
                      <a:pt x="5254" y="873"/>
                    </a:lnTo>
                    <a:lnTo>
                      <a:pt x="5307" y="792"/>
                    </a:lnTo>
                    <a:lnTo>
                      <a:pt x="5360" y="710"/>
                    </a:lnTo>
                    <a:lnTo>
                      <a:pt x="5410" y="627"/>
                    </a:lnTo>
                    <a:lnTo>
                      <a:pt x="5459" y="545"/>
                    </a:lnTo>
                    <a:lnTo>
                      <a:pt x="5444" y="552"/>
                    </a:lnTo>
                    <a:lnTo>
                      <a:pt x="5429" y="560"/>
                    </a:lnTo>
                    <a:lnTo>
                      <a:pt x="5414" y="566"/>
                    </a:lnTo>
                    <a:lnTo>
                      <a:pt x="5398" y="574"/>
                    </a:lnTo>
                    <a:lnTo>
                      <a:pt x="5369" y="585"/>
                    </a:lnTo>
                    <a:lnTo>
                      <a:pt x="5338" y="595"/>
                    </a:lnTo>
                    <a:lnTo>
                      <a:pt x="5308" y="604"/>
                    </a:lnTo>
                    <a:lnTo>
                      <a:pt x="5277" y="610"/>
                    </a:lnTo>
                    <a:lnTo>
                      <a:pt x="5245" y="616"/>
                    </a:lnTo>
                    <a:lnTo>
                      <a:pt x="5214" y="620"/>
                    </a:lnTo>
                    <a:lnTo>
                      <a:pt x="5182" y="623"/>
                    </a:lnTo>
                    <a:lnTo>
                      <a:pt x="5150" y="624"/>
                    </a:lnTo>
                    <a:lnTo>
                      <a:pt x="5117" y="623"/>
                    </a:lnTo>
                    <a:lnTo>
                      <a:pt x="5084" y="621"/>
                    </a:lnTo>
                    <a:lnTo>
                      <a:pt x="5052" y="617"/>
                    </a:lnTo>
                    <a:lnTo>
                      <a:pt x="5019" y="611"/>
                    </a:lnTo>
                    <a:lnTo>
                      <a:pt x="4987" y="605"/>
                    </a:lnTo>
                    <a:lnTo>
                      <a:pt x="4955" y="595"/>
                    </a:lnTo>
                    <a:lnTo>
                      <a:pt x="4923" y="586"/>
                    </a:lnTo>
                    <a:lnTo>
                      <a:pt x="4891" y="573"/>
                    </a:lnTo>
                    <a:lnTo>
                      <a:pt x="4860" y="559"/>
                    </a:lnTo>
                    <a:lnTo>
                      <a:pt x="4830" y="544"/>
                    </a:lnTo>
                    <a:lnTo>
                      <a:pt x="4801" y="527"/>
                    </a:lnTo>
                    <a:lnTo>
                      <a:pt x="4773" y="510"/>
                    </a:lnTo>
                    <a:lnTo>
                      <a:pt x="4746" y="490"/>
                    </a:lnTo>
                    <a:lnTo>
                      <a:pt x="4720" y="470"/>
                    </a:lnTo>
                    <a:lnTo>
                      <a:pt x="4696" y="449"/>
                    </a:lnTo>
                    <a:lnTo>
                      <a:pt x="4672" y="426"/>
                    </a:lnTo>
                    <a:lnTo>
                      <a:pt x="4651" y="402"/>
                    </a:lnTo>
                    <a:lnTo>
                      <a:pt x="4629" y="378"/>
                    </a:lnTo>
                    <a:lnTo>
                      <a:pt x="4610" y="352"/>
                    </a:lnTo>
                    <a:lnTo>
                      <a:pt x="4592" y="325"/>
                    </a:lnTo>
                    <a:lnTo>
                      <a:pt x="4575" y="299"/>
                    </a:lnTo>
                    <a:lnTo>
                      <a:pt x="4559" y="271"/>
                    </a:lnTo>
                    <a:lnTo>
                      <a:pt x="4545" y="243"/>
                    </a:lnTo>
                    <a:lnTo>
                      <a:pt x="4532" y="213"/>
                    </a:lnTo>
                    <a:lnTo>
                      <a:pt x="4522" y="188"/>
                    </a:lnTo>
                    <a:lnTo>
                      <a:pt x="4514" y="161"/>
                    </a:lnTo>
                    <a:lnTo>
                      <a:pt x="4505" y="136"/>
                    </a:lnTo>
                    <a:lnTo>
                      <a:pt x="4499" y="109"/>
                    </a:lnTo>
                    <a:lnTo>
                      <a:pt x="4493" y="82"/>
                    </a:lnTo>
                    <a:lnTo>
                      <a:pt x="4488" y="55"/>
                    </a:lnTo>
                    <a:lnTo>
                      <a:pt x="4485" y="28"/>
                    </a:lnTo>
                    <a:lnTo>
                      <a:pt x="4483" y="0"/>
                    </a:lnTo>
                    <a:lnTo>
                      <a:pt x="4443" y="67"/>
                    </a:lnTo>
                    <a:lnTo>
                      <a:pt x="4402" y="133"/>
                    </a:lnTo>
                    <a:lnTo>
                      <a:pt x="4361" y="198"/>
                    </a:lnTo>
                    <a:lnTo>
                      <a:pt x="4318" y="262"/>
                    </a:lnTo>
                    <a:lnTo>
                      <a:pt x="4274" y="325"/>
                    </a:lnTo>
                    <a:lnTo>
                      <a:pt x="4229" y="389"/>
                    </a:lnTo>
                    <a:lnTo>
                      <a:pt x="4183" y="451"/>
                    </a:lnTo>
                    <a:lnTo>
                      <a:pt x="4136" y="512"/>
                    </a:lnTo>
                    <a:lnTo>
                      <a:pt x="4089" y="573"/>
                    </a:lnTo>
                    <a:lnTo>
                      <a:pt x="4040" y="633"/>
                    </a:lnTo>
                    <a:lnTo>
                      <a:pt x="3990" y="692"/>
                    </a:lnTo>
                    <a:lnTo>
                      <a:pt x="3940" y="751"/>
                    </a:lnTo>
                    <a:lnTo>
                      <a:pt x="3889" y="807"/>
                    </a:lnTo>
                    <a:lnTo>
                      <a:pt x="3836" y="864"/>
                    </a:lnTo>
                    <a:lnTo>
                      <a:pt x="3783" y="920"/>
                    </a:lnTo>
                    <a:lnTo>
                      <a:pt x="3728" y="974"/>
                    </a:lnTo>
                    <a:lnTo>
                      <a:pt x="3647" y="1056"/>
                    </a:lnTo>
                    <a:lnTo>
                      <a:pt x="3562" y="1134"/>
                    </a:lnTo>
                    <a:lnTo>
                      <a:pt x="3475" y="1210"/>
                    </a:lnTo>
                    <a:lnTo>
                      <a:pt x="3388" y="1285"/>
                    </a:lnTo>
                    <a:lnTo>
                      <a:pt x="3299" y="1358"/>
                    </a:lnTo>
                    <a:lnTo>
                      <a:pt x="3207" y="1428"/>
                    </a:lnTo>
                    <a:lnTo>
                      <a:pt x="3114" y="1496"/>
                    </a:lnTo>
                    <a:lnTo>
                      <a:pt x="3019" y="1563"/>
                    </a:lnTo>
                    <a:lnTo>
                      <a:pt x="2923" y="1626"/>
                    </a:lnTo>
                    <a:lnTo>
                      <a:pt x="2824" y="1688"/>
                    </a:lnTo>
                    <a:lnTo>
                      <a:pt x="2725" y="1747"/>
                    </a:lnTo>
                    <a:lnTo>
                      <a:pt x="2624" y="1804"/>
                    </a:lnTo>
                    <a:lnTo>
                      <a:pt x="2521" y="1858"/>
                    </a:lnTo>
                    <a:lnTo>
                      <a:pt x="2418" y="1911"/>
                    </a:lnTo>
                    <a:lnTo>
                      <a:pt x="2313" y="1960"/>
                    </a:lnTo>
                    <a:lnTo>
                      <a:pt x="2206" y="2008"/>
                    </a:lnTo>
                    <a:lnTo>
                      <a:pt x="2098" y="2052"/>
                    </a:lnTo>
                    <a:lnTo>
                      <a:pt x="1988" y="2095"/>
                    </a:lnTo>
                    <a:lnTo>
                      <a:pt x="1878" y="2135"/>
                    </a:lnTo>
                    <a:lnTo>
                      <a:pt x="1767" y="2172"/>
                    </a:lnTo>
                    <a:lnTo>
                      <a:pt x="1653" y="2206"/>
                    </a:lnTo>
                    <a:lnTo>
                      <a:pt x="1540" y="2237"/>
                    </a:lnTo>
                    <a:lnTo>
                      <a:pt x="1424" y="2266"/>
                    </a:lnTo>
                    <a:lnTo>
                      <a:pt x="1307" y="2293"/>
                    </a:lnTo>
                    <a:lnTo>
                      <a:pt x="1191" y="2317"/>
                    </a:lnTo>
                    <a:lnTo>
                      <a:pt x="1072" y="2337"/>
                    </a:lnTo>
                    <a:lnTo>
                      <a:pt x="953" y="2355"/>
                    </a:lnTo>
                    <a:lnTo>
                      <a:pt x="832" y="2369"/>
                    </a:lnTo>
                    <a:lnTo>
                      <a:pt x="711" y="2382"/>
                    </a:lnTo>
                    <a:lnTo>
                      <a:pt x="589" y="2391"/>
                    </a:lnTo>
                    <a:lnTo>
                      <a:pt x="467" y="2396"/>
                    </a:lnTo>
                    <a:lnTo>
                      <a:pt x="343" y="2399"/>
                    </a:lnTo>
                    <a:lnTo>
                      <a:pt x="312" y="2416"/>
                    </a:lnTo>
                    <a:lnTo>
                      <a:pt x="282" y="2434"/>
                    </a:lnTo>
                    <a:lnTo>
                      <a:pt x="253" y="2455"/>
                    </a:lnTo>
                    <a:lnTo>
                      <a:pt x="225" y="2476"/>
                    </a:lnTo>
                    <a:lnTo>
                      <a:pt x="198" y="2500"/>
                    </a:lnTo>
                    <a:lnTo>
                      <a:pt x="174" y="2523"/>
                    </a:lnTo>
                    <a:lnTo>
                      <a:pt x="150" y="2550"/>
                    </a:lnTo>
                    <a:lnTo>
                      <a:pt x="128" y="2577"/>
                    </a:lnTo>
                    <a:lnTo>
                      <a:pt x="111" y="2600"/>
                    </a:lnTo>
                    <a:lnTo>
                      <a:pt x="95" y="2626"/>
                    </a:lnTo>
                    <a:lnTo>
                      <a:pt x="80" y="2651"/>
                    </a:lnTo>
                    <a:lnTo>
                      <a:pt x="66" y="2678"/>
                    </a:lnTo>
                    <a:lnTo>
                      <a:pt x="53" y="2704"/>
                    </a:lnTo>
                    <a:lnTo>
                      <a:pt x="41" y="2732"/>
                    </a:lnTo>
                    <a:lnTo>
                      <a:pt x="31" y="2761"/>
                    </a:lnTo>
                    <a:lnTo>
                      <a:pt x="23" y="2790"/>
                    </a:lnTo>
                    <a:lnTo>
                      <a:pt x="15" y="2819"/>
                    </a:lnTo>
                    <a:lnTo>
                      <a:pt x="9" y="2849"/>
                    </a:lnTo>
                    <a:lnTo>
                      <a:pt x="5" y="2879"/>
                    </a:lnTo>
                    <a:lnTo>
                      <a:pt x="1" y="2910"/>
                    </a:lnTo>
                    <a:lnTo>
                      <a:pt x="0" y="2941"/>
                    </a:lnTo>
                    <a:lnTo>
                      <a:pt x="0" y="2972"/>
                    </a:lnTo>
                    <a:lnTo>
                      <a:pt x="2" y="3003"/>
                    </a:lnTo>
                    <a:lnTo>
                      <a:pt x="6" y="3035"/>
                    </a:lnTo>
                    <a:lnTo>
                      <a:pt x="11" y="3066"/>
                    </a:lnTo>
                    <a:lnTo>
                      <a:pt x="17" y="3098"/>
                    </a:lnTo>
                    <a:lnTo>
                      <a:pt x="25" y="3128"/>
                    </a:lnTo>
                    <a:lnTo>
                      <a:pt x="35" y="3158"/>
                    </a:lnTo>
                    <a:lnTo>
                      <a:pt x="45" y="3186"/>
                    </a:lnTo>
                    <a:lnTo>
                      <a:pt x="57" y="3214"/>
                    </a:lnTo>
                    <a:lnTo>
                      <a:pt x="71" y="3242"/>
                    </a:lnTo>
                    <a:lnTo>
                      <a:pt x="85" y="3268"/>
                    </a:lnTo>
                    <a:lnTo>
                      <a:pt x="101" y="3294"/>
                    </a:lnTo>
                    <a:lnTo>
                      <a:pt x="118" y="3318"/>
                    </a:lnTo>
                    <a:lnTo>
                      <a:pt x="136" y="3343"/>
                    </a:lnTo>
                    <a:lnTo>
                      <a:pt x="156" y="3365"/>
                    </a:lnTo>
                    <a:lnTo>
                      <a:pt x="176" y="3387"/>
                    </a:lnTo>
                    <a:lnTo>
                      <a:pt x="197" y="3408"/>
                    </a:lnTo>
                    <a:lnTo>
                      <a:pt x="220" y="3427"/>
                    </a:lnTo>
                    <a:lnTo>
                      <a:pt x="242" y="3447"/>
                    </a:lnTo>
                    <a:lnTo>
                      <a:pt x="270" y="3466"/>
                    </a:lnTo>
                    <a:lnTo>
                      <a:pt x="299" y="3485"/>
                    </a:lnTo>
                    <a:lnTo>
                      <a:pt x="329" y="3501"/>
                    </a:lnTo>
                    <a:lnTo>
                      <a:pt x="360" y="3517"/>
                    </a:lnTo>
                    <a:close/>
                  </a:path>
                </a:pathLst>
              </a:custGeom>
              <a:solidFill>
                <a:srgbClr val="85B5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s-ES">
                  <a:solidFill>
                    <a:prstClr val="black"/>
                  </a:solidFill>
                  <a:latin typeface="Helvetica"/>
                </a:endParaRPr>
              </a:p>
            </p:txBody>
          </p:sp>
          <p:sp>
            <p:nvSpPr>
              <p:cNvPr id="23" name="Freeform 12">
                <a:extLst>
                  <a:ext uri="{FF2B5EF4-FFF2-40B4-BE49-F238E27FC236}">
                    <a16:creationId xmlns:a16="http://schemas.microsoft.com/office/drawing/2014/main" id="{0D3438B3-6F8B-4C31-8D67-32771A1E57B0}"/>
                  </a:ext>
                </a:extLst>
              </p:cNvPr>
              <p:cNvSpPr>
                <a:spLocks/>
              </p:cNvSpPr>
              <p:nvPr/>
            </p:nvSpPr>
            <p:spPr bwMode="auto">
              <a:xfrm>
                <a:off x="4911725" y="4630738"/>
                <a:ext cx="1165225" cy="815975"/>
              </a:xfrm>
              <a:custGeom>
                <a:avLst/>
                <a:gdLst>
                  <a:gd name="T0" fmla="*/ 1137 w 5136"/>
                  <a:gd name="T1" fmla="*/ 2044 h 3598"/>
                  <a:gd name="T2" fmla="*/ 1463 w 5136"/>
                  <a:gd name="T3" fmla="*/ 2321 h 3598"/>
                  <a:gd name="T4" fmla="*/ 1810 w 5136"/>
                  <a:gd name="T5" fmla="*/ 2574 h 3598"/>
                  <a:gd name="T6" fmla="*/ 2175 w 5136"/>
                  <a:gd name="T7" fmla="*/ 2803 h 3598"/>
                  <a:gd name="T8" fmla="*/ 2557 w 5136"/>
                  <a:gd name="T9" fmla="*/ 3005 h 3598"/>
                  <a:gd name="T10" fmla="*/ 2954 w 5136"/>
                  <a:gd name="T11" fmla="*/ 3180 h 3598"/>
                  <a:gd name="T12" fmla="*/ 3368 w 5136"/>
                  <a:gd name="T13" fmla="*/ 3326 h 3598"/>
                  <a:gd name="T14" fmla="*/ 3793 w 5136"/>
                  <a:gd name="T15" fmla="*/ 3442 h 3598"/>
                  <a:gd name="T16" fmla="*/ 4230 w 5136"/>
                  <a:gd name="T17" fmla="*/ 3527 h 3598"/>
                  <a:gd name="T18" fmla="*/ 4678 w 5136"/>
                  <a:gd name="T19" fmla="*/ 3579 h 3598"/>
                  <a:gd name="T20" fmla="*/ 5136 w 5136"/>
                  <a:gd name="T21" fmla="*/ 3598 h 3598"/>
                  <a:gd name="T22" fmla="*/ 5094 w 5136"/>
                  <a:gd name="T23" fmla="*/ 3571 h 3598"/>
                  <a:gd name="T24" fmla="*/ 5033 w 5136"/>
                  <a:gd name="T25" fmla="*/ 3520 h 3598"/>
                  <a:gd name="T26" fmla="*/ 4968 w 5136"/>
                  <a:gd name="T27" fmla="*/ 3451 h 3598"/>
                  <a:gd name="T28" fmla="*/ 4913 w 5136"/>
                  <a:gd name="T29" fmla="*/ 3371 h 3598"/>
                  <a:gd name="T30" fmla="*/ 4871 w 5136"/>
                  <a:gd name="T31" fmla="*/ 3283 h 3598"/>
                  <a:gd name="T32" fmla="*/ 4841 w 5136"/>
                  <a:gd name="T33" fmla="*/ 3188 h 3598"/>
                  <a:gd name="T34" fmla="*/ 4825 w 5136"/>
                  <a:gd name="T35" fmla="*/ 3087 h 3598"/>
                  <a:gd name="T36" fmla="*/ 4824 w 5136"/>
                  <a:gd name="T37" fmla="*/ 2988 h 3598"/>
                  <a:gd name="T38" fmla="*/ 4839 w 5136"/>
                  <a:gd name="T39" fmla="*/ 2890 h 3598"/>
                  <a:gd name="T40" fmla="*/ 4866 w 5136"/>
                  <a:gd name="T41" fmla="*/ 2798 h 3598"/>
                  <a:gd name="T42" fmla="*/ 4907 w 5136"/>
                  <a:gd name="T43" fmla="*/ 2711 h 3598"/>
                  <a:gd name="T44" fmla="*/ 4960 w 5136"/>
                  <a:gd name="T45" fmla="*/ 2632 h 3598"/>
                  <a:gd name="T46" fmla="*/ 5014 w 5136"/>
                  <a:gd name="T47" fmla="*/ 2569 h 3598"/>
                  <a:gd name="T48" fmla="*/ 5076 w 5136"/>
                  <a:gd name="T49" fmla="*/ 2513 h 3598"/>
                  <a:gd name="T50" fmla="*/ 4998 w 5136"/>
                  <a:gd name="T51" fmla="*/ 2478 h 3598"/>
                  <a:gd name="T52" fmla="*/ 4631 w 5136"/>
                  <a:gd name="T53" fmla="*/ 2452 h 3598"/>
                  <a:gd name="T54" fmla="*/ 4271 w 5136"/>
                  <a:gd name="T55" fmla="*/ 2400 h 3598"/>
                  <a:gd name="T56" fmla="*/ 3920 w 5136"/>
                  <a:gd name="T57" fmla="*/ 2322 h 3598"/>
                  <a:gd name="T58" fmla="*/ 3580 w 5136"/>
                  <a:gd name="T59" fmla="*/ 2219 h 3598"/>
                  <a:gd name="T60" fmla="*/ 3250 w 5136"/>
                  <a:gd name="T61" fmla="*/ 2092 h 3598"/>
                  <a:gd name="T62" fmla="*/ 2932 w 5136"/>
                  <a:gd name="T63" fmla="*/ 1942 h 3598"/>
                  <a:gd name="T64" fmla="*/ 2628 w 5136"/>
                  <a:gd name="T65" fmla="*/ 1771 h 3598"/>
                  <a:gd name="T66" fmla="*/ 2337 w 5136"/>
                  <a:gd name="T67" fmla="*/ 1579 h 3598"/>
                  <a:gd name="T68" fmla="*/ 2062 w 5136"/>
                  <a:gd name="T69" fmla="*/ 1367 h 3598"/>
                  <a:gd name="T70" fmla="*/ 1802 w 5136"/>
                  <a:gd name="T71" fmla="*/ 1137 h 3598"/>
                  <a:gd name="T72" fmla="*/ 1616 w 5136"/>
                  <a:gd name="T73" fmla="*/ 949 h 3598"/>
                  <a:gd name="T74" fmla="*/ 1468 w 5136"/>
                  <a:gd name="T75" fmla="*/ 784 h 3598"/>
                  <a:gd name="T76" fmla="*/ 1327 w 5136"/>
                  <a:gd name="T77" fmla="*/ 613 h 3598"/>
                  <a:gd name="T78" fmla="*/ 1194 w 5136"/>
                  <a:gd name="T79" fmla="*/ 435 h 3598"/>
                  <a:gd name="T80" fmla="*/ 1070 w 5136"/>
                  <a:gd name="T81" fmla="*/ 251 h 3598"/>
                  <a:gd name="T82" fmla="*/ 961 w 5136"/>
                  <a:gd name="T83" fmla="*/ 103 h 3598"/>
                  <a:gd name="T84" fmla="*/ 866 w 5136"/>
                  <a:gd name="T85" fmla="*/ 52 h 3598"/>
                  <a:gd name="T86" fmla="*/ 764 w 5136"/>
                  <a:gd name="T87" fmla="*/ 17 h 3598"/>
                  <a:gd name="T88" fmla="*/ 670 w 5136"/>
                  <a:gd name="T89" fmla="*/ 2 h 3598"/>
                  <a:gd name="T90" fmla="*/ 581 w 5136"/>
                  <a:gd name="T91" fmla="*/ 1 h 3598"/>
                  <a:gd name="T92" fmla="*/ 492 w 5136"/>
                  <a:gd name="T93" fmla="*/ 13 h 3598"/>
                  <a:gd name="T94" fmla="*/ 404 w 5136"/>
                  <a:gd name="T95" fmla="*/ 38 h 3598"/>
                  <a:gd name="T96" fmla="*/ 320 w 5136"/>
                  <a:gd name="T97" fmla="*/ 76 h 3598"/>
                  <a:gd name="T98" fmla="*/ 240 w 5136"/>
                  <a:gd name="T99" fmla="*/ 129 h 3598"/>
                  <a:gd name="T100" fmla="*/ 171 w 5136"/>
                  <a:gd name="T101" fmla="*/ 192 h 3598"/>
                  <a:gd name="T102" fmla="*/ 112 w 5136"/>
                  <a:gd name="T103" fmla="*/ 263 h 3598"/>
                  <a:gd name="T104" fmla="*/ 66 w 5136"/>
                  <a:gd name="T105" fmla="*/ 340 h 3598"/>
                  <a:gd name="T106" fmla="*/ 32 w 5136"/>
                  <a:gd name="T107" fmla="*/ 422 h 3598"/>
                  <a:gd name="T108" fmla="*/ 9 w 5136"/>
                  <a:gd name="T109" fmla="*/ 509 h 3598"/>
                  <a:gd name="T110" fmla="*/ 0 w 5136"/>
                  <a:gd name="T111" fmla="*/ 610 h 3598"/>
                  <a:gd name="T112" fmla="*/ 99 w 5136"/>
                  <a:gd name="T113" fmla="*/ 807 h 3598"/>
                  <a:gd name="T114" fmla="*/ 258 w 5136"/>
                  <a:gd name="T115" fmla="*/ 1046 h 3598"/>
                  <a:gd name="T116" fmla="*/ 427 w 5136"/>
                  <a:gd name="T117" fmla="*/ 1276 h 3598"/>
                  <a:gd name="T118" fmla="*/ 607 w 5136"/>
                  <a:gd name="T119" fmla="*/ 1498 h 3598"/>
                  <a:gd name="T120" fmla="*/ 797 w 5136"/>
                  <a:gd name="T121" fmla="*/ 1710 h 3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36" h="3598">
                    <a:moveTo>
                      <a:pt x="930" y="1846"/>
                    </a:moveTo>
                    <a:lnTo>
                      <a:pt x="1032" y="1947"/>
                    </a:lnTo>
                    <a:lnTo>
                      <a:pt x="1137" y="2044"/>
                    </a:lnTo>
                    <a:lnTo>
                      <a:pt x="1243" y="2138"/>
                    </a:lnTo>
                    <a:lnTo>
                      <a:pt x="1352" y="2231"/>
                    </a:lnTo>
                    <a:lnTo>
                      <a:pt x="1463" y="2321"/>
                    </a:lnTo>
                    <a:lnTo>
                      <a:pt x="1577" y="2408"/>
                    </a:lnTo>
                    <a:lnTo>
                      <a:pt x="1692" y="2493"/>
                    </a:lnTo>
                    <a:lnTo>
                      <a:pt x="1810" y="2574"/>
                    </a:lnTo>
                    <a:lnTo>
                      <a:pt x="1930" y="2654"/>
                    </a:lnTo>
                    <a:lnTo>
                      <a:pt x="2052" y="2730"/>
                    </a:lnTo>
                    <a:lnTo>
                      <a:pt x="2175" y="2803"/>
                    </a:lnTo>
                    <a:lnTo>
                      <a:pt x="2300" y="2873"/>
                    </a:lnTo>
                    <a:lnTo>
                      <a:pt x="2428" y="2941"/>
                    </a:lnTo>
                    <a:lnTo>
                      <a:pt x="2557" y="3005"/>
                    </a:lnTo>
                    <a:lnTo>
                      <a:pt x="2688" y="3066"/>
                    </a:lnTo>
                    <a:lnTo>
                      <a:pt x="2821" y="3125"/>
                    </a:lnTo>
                    <a:lnTo>
                      <a:pt x="2954" y="3180"/>
                    </a:lnTo>
                    <a:lnTo>
                      <a:pt x="3090" y="3232"/>
                    </a:lnTo>
                    <a:lnTo>
                      <a:pt x="3228" y="3280"/>
                    </a:lnTo>
                    <a:lnTo>
                      <a:pt x="3368" y="3326"/>
                    </a:lnTo>
                    <a:lnTo>
                      <a:pt x="3508" y="3368"/>
                    </a:lnTo>
                    <a:lnTo>
                      <a:pt x="3649" y="3407"/>
                    </a:lnTo>
                    <a:lnTo>
                      <a:pt x="3793" y="3442"/>
                    </a:lnTo>
                    <a:lnTo>
                      <a:pt x="3937" y="3474"/>
                    </a:lnTo>
                    <a:lnTo>
                      <a:pt x="4083" y="3502"/>
                    </a:lnTo>
                    <a:lnTo>
                      <a:pt x="4230" y="3527"/>
                    </a:lnTo>
                    <a:lnTo>
                      <a:pt x="4378" y="3548"/>
                    </a:lnTo>
                    <a:lnTo>
                      <a:pt x="4528" y="3566"/>
                    </a:lnTo>
                    <a:lnTo>
                      <a:pt x="4678" y="3579"/>
                    </a:lnTo>
                    <a:lnTo>
                      <a:pt x="4830" y="3590"/>
                    </a:lnTo>
                    <a:lnTo>
                      <a:pt x="4982" y="3596"/>
                    </a:lnTo>
                    <a:lnTo>
                      <a:pt x="5136" y="3598"/>
                    </a:lnTo>
                    <a:lnTo>
                      <a:pt x="5122" y="3590"/>
                    </a:lnTo>
                    <a:lnTo>
                      <a:pt x="5108" y="3580"/>
                    </a:lnTo>
                    <a:lnTo>
                      <a:pt x="5094" y="3571"/>
                    </a:lnTo>
                    <a:lnTo>
                      <a:pt x="5082" y="3561"/>
                    </a:lnTo>
                    <a:lnTo>
                      <a:pt x="5057" y="3542"/>
                    </a:lnTo>
                    <a:lnTo>
                      <a:pt x="5033" y="3520"/>
                    </a:lnTo>
                    <a:lnTo>
                      <a:pt x="5011" y="3498"/>
                    </a:lnTo>
                    <a:lnTo>
                      <a:pt x="4988" y="3474"/>
                    </a:lnTo>
                    <a:lnTo>
                      <a:pt x="4968" y="3451"/>
                    </a:lnTo>
                    <a:lnTo>
                      <a:pt x="4949" y="3425"/>
                    </a:lnTo>
                    <a:lnTo>
                      <a:pt x="4931" y="3398"/>
                    </a:lnTo>
                    <a:lnTo>
                      <a:pt x="4913" y="3371"/>
                    </a:lnTo>
                    <a:lnTo>
                      <a:pt x="4897" y="3342"/>
                    </a:lnTo>
                    <a:lnTo>
                      <a:pt x="4884" y="3313"/>
                    </a:lnTo>
                    <a:lnTo>
                      <a:pt x="4871" y="3283"/>
                    </a:lnTo>
                    <a:lnTo>
                      <a:pt x="4859" y="3252"/>
                    </a:lnTo>
                    <a:lnTo>
                      <a:pt x="4849" y="3221"/>
                    </a:lnTo>
                    <a:lnTo>
                      <a:pt x="4841" y="3188"/>
                    </a:lnTo>
                    <a:lnTo>
                      <a:pt x="4833" y="3156"/>
                    </a:lnTo>
                    <a:lnTo>
                      <a:pt x="4828" y="3122"/>
                    </a:lnTo>
                    <a:lnTo>
                      <a:pt x="4825" y="3087"/>
                    </a:lnTo>
                    <a:lnTo>
                      <a:pt x="4822" y="3054"/>
                    </a:lnTo>
                    <a:lnTo>
                      <a:pt x="4822" y="3021"/>
                    </a:lnTo>
                    <a:lnTo>
                      <a:pt x="4824" y="2988"/>
                    </a:lnTo>
                    <a:lnTo>
                      <a:pt x="4827" y="2955"/>
                    </a:lnTo>
                    <a:lnTo>
                      <a:pt x="4832" y="2923"/>
                    </a:lnTo>
                    <a:lnTo>
                      <a:pt x="4839" y="2890"/>
                    </a:lnTo>
                    <a:lnTo>
                      <a:pt x="4846" y="2859"/>
                    </a:lnTo>
                    <a:lnTo>
                      <a:pt x="4856" y="2828"/>
                    </a:lnTo>
                    <a:lnTo>
                      <a:pt x="4866" y="2798"/>
                    </a:lnTo>
                    <a:lnTo>
                      <a:pt x="4878" y="2768"/>
                    </a:lnTo>
                    <a:lnTo>
                      <a:pt x="4892" y="2739"/>
                    </a:lnTo>
                    <a:lnTo>
                      <a:pt x="4907" y="2711"/>
                    </a:lnTo>
                    <a:lnTo>
                      <a:pt x="4923" y="2684"/>
                    </a:lnTo>
                    <a:lnTo>
                      <a:pt x="4940" y="2658"/>
                    </a:lnTo>
                    <a:lnTo>
                      <a:pt x="4960" y="2632"/>
                    </a:lnTo>
                    <a:lnTo>
                      <a:pt x="4977" y="2610"/>
                    </a:lnTo>
                    <a:lnTo>
                      <a:pt x="4995" y="2589"/>
                    </a:lnTo>
                    <a:lnTo>
                      <a:pt x="5014" y="2569"/>
                    </a:lnTo>
                    <a:lnTo>
                      <a:pt x="5034" y="2550"/>
                    </a:lnTo>
                    <a:lnTo>
                      <a:pt x="5055" y="2530"/>
                    </a:lnTo>
                    <a:lnTo>
                      <a:pt x="5076" y="2513"/>
                    </a:lnTo>
                    <a:lnTo>
                      <a:pt x="5099" y="2496"/>
                    </a:lnTo>
                    <a:lnTo>
                      <a:pt x="5122" y="2480"/>
                    </a:lnTo>
                    <a:lnTo>
                      <a:pt x="4998" y="2478"/>
                    </a:lnTo>
                    <a:lnTo>
                      <a:pt x="4875" y="2473"/>
                    </a:lnTo>
                    <a:lnTo>
                      <a:pt x="4752" y="2464"/>
                    </a:lnTo>
                    <a:lnTo>
                      <a:pt x="4631" y="2452"/>
                    </a:lnTo>
                    <a:lnTo>
                      <a:pt x="4510" y="2437"/>
                    </a:lnTo>
                    <a:lnTo>
                      <a:pt x="4390" y="2420"/>
                    </a:lnTo>
                    <a:lnTo>
                      <a:pt x="4271" y="2400"/>
                    </a:lnTo>
                    <a:lnTo>
                      <a:pt x="4152" y="2376"/>
                    </a:lnTo>
                    <a:lnTo>
                      <a:pt x="4036" y="2351"/>
                    </a:lnTo>
                    <a:lnTo>
                      <a:pt x="3920" y="2322"/>
                    </a:lnTo>
                    <a:lnTo>
                      <a:pt x="3805" y="2291"/>
                    </a:lnTo>
                    <a:lnTo>
                      <a:pt x="3692" y="2255"/>
                    </a:lnTo>
                    <a:lnTo>
                      <a:pt x="3580" y="2219"/>
                    </a:lnTo>
                    <a:lnTo>
                      <a:pt x="3468" y="2179"/>
                    </a:lnTo>
                    <a:lnTo>
                      <a:pt x="3358" y="2136"/>
                    </a:lnTo>
                    <a:lnTo>
                      <a:pt x="3250" y="2092"/>
                    </a:lnTo>
                    <a:lnTo>
                      <a:pt x="3143" y="2044"/>
                    </a:lnTo>
                    <a:lnTo>
                      <a:pt x="3037" y="1995"/>
                    </a:lnTo>
                    <a:lnTo>
                      <a:pt x="2932" y="1942"/>
                    </a:lnTo>
                    <a:lnTo>
                      <a:pt x="2829" y="1888"/>
                    </a:lnTo>
                    <a:lnTo>
                      <a:pt x="2727" y="1831"/>
                    </a:lnTo>
                    <a:lnTo>
                      <a:pt x="2628" y="1771"/>
                    </a:lnTo>
                    <a:lnTo>
                      <a:pt x="2529" y="1709"/>
                    </a:lnTo>
                    <a:lnTo>
                      <a:pt x="2432" y="1646"/>
                    </a:lnTo>
                    <a:lnTo>
                      <a:pt x="2337" y="1579"/>
                    </a:lnTo>
                    <a:lnTo>
                      <a:pt x="2243" y="1511"/>
                    </a:lnTo>
                    <a:lnTo>
                      <a:pt x="2151" y="1440"/>
                    </a:lnTo>
                    <a:lnTo>
                      <a:pt x="2062" y="1367"/>
                    </a:lnTo>
                    <a:lnTo>
                      <a:pt x="1974" y="1292"/>
                    </a:lnTo>
                    <a:lnTo>
                      <a:pt x="1887" y="1216"/>
                    </a:lnTo>
                    <a:lnTo>
                      <a:pt x="1802" y="1137"/>
                    </a:lnTo>
                    <a:lnTo>
                      <a:pt x="1720" y="1055"/>
                    </a:lnTo>
                    <a:lnTo>
                      <a:pt x="1668" y="1003"/>
                    </a:lnTo>
                    <a:lnTo>
                      <a:pt x="1616" y="949"/>
                    </a:lnTo>
                    <a:lnTo>
                      <a:pt x="1566" y="896"/>
                    </a:lnTo>
                    <a:lnTo>
                      <a:pt x="1517" y="840"/>
                    </a:lnTo>
                    <a:lnTo>
                      <a:pt x="1468" y="784"/>
                    </a:lnTo>
                    <a:lnTo>
                      <a:pt x="1420" y="729"/>
                    </a:lnTo>
                    <a:lnTo>
                      <a:pt x="1373" y="671"/>
                    </a:lnTo>
                    <a:lnTo>
                      <a:pt x="1327" y="613"/>
                    </a:lnTo>
                    <a:lnTo>
                      <a:pt x="1282" y="554"/>
                    </a:lnTo>
                    <a:lnTo>
                      <a:pt x="1238" y="495"/>
                    </a:lnTo>
                    <a:lnTo>
                      <a:pt x="1194" y="435"/>
                    </a:lnTo>
                    <a:lnTo>
                      <a:pt x="1152" y="374"/>
                    </a:lnTo>
                    <a:lnTo>
                      <a:pt x="1111" y="313"/>
                    </a:lnTo>
                    <a:lnTo>
                      <a:pt x="1070" y="251"/>
                    </a:lnTo>
                    <a:lnTo>
                      <a:pt x="1029" y="188"/>
                    </a:lnTo>
                    <a:lnTo>
                      <a:pt x="991" y="125"/>
                    </a:lnTo>
                    <a:lnTo>
                      <a:pt x="961" y="103"/>
                    </a:lnTo>
                    <a:lnTo>
                      <a:pt x="930" y="84"/>
                    </a:lnTo>
                    <a:lnTo>
                      <a:pt x="899" y="67"/>
                    </a:lnTo>
                    <a:lnTo>
                      <a:pt x="866" y="52"/>
                    </a:lnTo>
                    <a:lnTo>
                      <a:pt x="832" y="39"/>
                    </a:lnTo>
                    <a:lnTo>
                      <a:pt x="798" y="27"/>
                    </a:lnTo>
                    <a:lnTo>
                      <a:pt x="764" y="17"/>
                    </a:lnTo>
                    <a:lnTo>
                      <a:pt x="729" y="10"/>
                    </a:lnTo>
                    <a:lnTo>
                      <a:pt x="700" y="6"/>
                    </a:lnTo>
                    <a:lnTo>
                      <a:pt x="670" y="2"/>
                    </a:lnTo>
                    <a:lnTo>
                      <a:pt x="641" y="0"/>
                    </a:lnTo>
                    <a:lnTo>
                      <a:pt x="611" y="0"/>
                    </a:lnTo>
                    <a:lnTo>
                      <a:pt x="581" y="1"/>
                    </a:lnTo>
                    <a:lnTo>
                      <a:pt x="551" y="4"/>
                    </a:lnTo>
                    <a:lnTo>
                      <a:pt x="521" y="8"/>
                    </a:lnTo>
                    <a:lnTo>
                      <a:pt x="492" y="13"/>
                    </a:lnTo>
                    <a:lnTo>
                      <a:pt x="462" y="20"/>
                    </a:lnTo>
                    <a:lnTo>
                      <a:pt x="433" y="28"/>
                    </a:lnTo>
                    <a:lnTo>
                      <a:pt x="404" y="38"/>
                    </a:lnTo>
                    <a:lnTo>
                      <a:pt x="375" y="50"/>
                    </a:lnTo>
                    <a:lnTo>
                      <a:pt x="348" y="62"/>
                    </a:lnTo>
                    <a:lnTo>
                      <a:pt x="320" y="76"/>
                    </a:lnTo>
                    <a:lnTo>
                      <a:pt x="293" y="92"/>
                    </a:lnTo>
                    <a:lnTo>
                      <a:pt x="266" y="111"/>
                    </a:lnTo>
                    <a:lnTo>
                      <a:pt x="240" y="129"/>
                    </a:lnTo>
                    <a:lnTo>
                      <a:pt x="216" y="149"/>
                    </a:lnTo>
                    <a:lnTo>
                      <a:pt x="192" y="170"/>
                    </a:lnTo>
                    <a:lnTo>
                      <a:pt x="171" y="192"/>
                    </a:lnTo>
                    <a:lnTo>
                      <a:pt x="149" y="215"/>
                    </a:lnTo>
                    <a:lnTo>
                      <a:pt x="130" y="238"/>
                    </a:lnTo>
                    <a:lnTo>
                      <a:pt x="112" y="263"/>
                    </a:lnTo>
                    <a:lnTo>
                      <a:pt x="96" y="287"/>
                    </a:lnTo>
                    <a:lnTo>
                      <a:pt x="80" y="313"/>
                    </a:lnTo>
                    <a:lnTo>
                      <a:pt x="66" y="340"/>
                    </a:lnTo>
                    <a:lnTo>
                      <a:pt x="53" y="367"/>
                    </a:lnTo>
                    <a:lnTo>
                      <a:pt x="41" y="395"/>
                    </a:lnTo>
                    <a:lnTo>
                      <a:pt x="32" y="422"/>
                    </a:lnTo>
                    <a:lnTo>
                      <a:pt x="22" y="450"/>
                    </a:lnTo>
                    <a:lnTo>
                      <a:pt x="15" y="479"/>
                    </a:lnTo>
                    <a:lnTo>
                      <a:pt x="9" y="509"/>
                    </a:lnTo>
                    <a:lnTo>
                      <a:pt x="4" y="542"/>
                    </a:lnTo>
                    <a:lnTo>
                      <a:pt x="1" y="576"/>
                    </a:lnTo>
                    <a:lnTo>
                      <a:pt x="0" y="610"/>
                    </a:lnTo>
                    <a:lnTo>
                      <a:pt x="0" y="644"/>
                    </a:lnTo>
                    <a:lnTo>
                      <a:pt x="49" y="727"/>
                    </a:lnTo>
                    <a:lnTo>
                      <a:pt x="99" y="807"/>
                    </a:lnTo>
                    <a:lnTo>
                      <a:pt x="151" y="887"/>
                    </a:lnTo>
                    <a:lnTo>
                      <a:pt x="203" y="968"/>
                    </a:lnTo>
                    <a:lnTo>
                      <a:pt x="258" y="1046"/>
                    </a:lnTo>
                    <a:lnTo>
                      <a:pt x="313" y="1123"/>
                    </a:lnTo>
                    <a:lnTo>
                      <a:pt x="369" y="1200"/>
                    </a:lnTo>
                    <a:lnTo>
                      <a:pt x="427" y="1276"/>
                    </a:lnTo>
                    <a:lnTo>
                      <a:pt x="486" y="1351"/>
                    </a:lnTo>
                    <a:lnTo>
                      <a:pt x="546" y="1424"/>
                    </a:lnTo>
                    <a:lnTo>
                      <a:pt x="607" y="1498"/>
                    </a:lnTo>
                    <a:lnTo>
                      <a:pt x="670" y="1570"/>
                    </a:lnTo>
                    <a:lnTo>
                      <a:pt x="733" y="1640"/>
                    </a:lnTo>
                    <a:lnTo>
                      <a:pt x="797" y="1710"/>
                    </a:lnTo>
                    <a:lnTo>
                      <a:pt x="862" y="1778"/>
                    </a:lnTo>
                    <a:lnTo>
                      <a:pt x="930" y="1846"/>
                    </a:lnTo>
                    <a:close/>
                  </a:path>
                </a:pathLst>
              </a:custGeom>
              <a:solidFill>
                <a:srgbClr val="EAAE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s-ES">
                  <a:solidFill>
                    <a:prstClr val="black"/>
                  </a:solidFill>
                  <a:latin typeface="Helvetica"/>
                </a:endParaRPr>
              </a:p>
            </p:txBody>
          </p:sp>
          <p:sp>
            <p:nvSpPr>
              <p:cNvPr id="24" name="Freeform 13">
                <a:extLst>
                  <a:ext uri="{FF2B5EF4-FFF2-40B4-BE49-F238E27FC236}">
                    <a16:creationId xmlns:a16="http://schemas.microsoft.com/office/drawing/2014/main" id="{09BC5882-585E-4A08-A309-5D71678E2B70}"/>
                  </a:ext>
                </a:extLst>
              </p:cNvPr>
              <p:cNvSpPr>
                <a:spLocks noEditPoints="1"/>
              </p:cNvSpPr>
              <p:nvPr/>
            </p:nvSpPr>
            <p:spPr bwMode="auto">
              <a:xfrm>
                <a:off x="4138613" y="2613025"/>
                <a:ext cx="1331912" cy="534988"/>
              </a:xfrm>
              <a:custGeom>
                <a:avLst/>
                <a:gdLst>
                  <a:gd name="T0" fmla="*/ 4378 w 5870"/>
                  <a:gd name="T1" fmla="*/ 826 h 2358"/>
                  <a:gd name="T2" fmla="*/ 4186 w 5870"/>
                  <a:gd name="T3" fmla="*/ 642 h 2358"/>
                  <a:gd name="T4" fmla="*/ 3981 w 5870"/>
                  <a:gd name="T5" fmla="*/ 470 h 2358"/>
                  <a:gd name="T6" fmla="*/ 3818 w 5870"/>
                  <a:gd name="T7" fmla="*/ 357 h 2358"/>
                  <a:gd name="T8" fmla="*/ 3702 w 5870"/>
                  <a:gd name="T9" fmla="*/ 290 h 2358"/>
                  <a:gd name="T10" fmla="*/ 3582 w 5870"/>
                  <a:gd name="T11" fmla="*/ 234 h 2358"/>
                  <a:gd name="T12" fmla="*/ 3462 w 5870"/>
                  <a:gd name="T13" fmla="*/ 190 h 2358"/>
                  <a:gd name="T14" fmla="*/ 3286 w 5870"/>
                  <a:gd name="T15" fmla="*/ 144 h 2358"/>
                  <a:gd name="T16" fmla="*/ 3045 w 5870"/>
                  <a:gd name="T17" fmla="*/ 107 h 2358"/>
                  <a:gd name="T18" fmla="*/ 2801 w 5870"/>
                  <a:gd name="T19" fmla="*/ 91 h 2358"/>
                  <a:gd name="T20" fmla="*/ 2559 w 5870"/>
                  <a:gd name="T21" fmla="*/ 86 h 2358"/>
                  <a:gd name="T22" fmla="*/ 2356 w 5870"/>
                  <a:gd name="T23" fmla="*/ 85 h 2358"/>
                  <a:gd name="T24" fmla="*/ 2154 w 5870"/>
                  <a:gd name="T25" fmla="*/ 85 h 2358"/>
                  <a:gd name="T26" fmla="*/ 212 w 5870"/>
                  <a:gd name="T27" fmla="*/ 59 h 2358"/>
                  <a:gd name="T28" fmla="*/ 189 w 5870"/>
                  <a:gd name="T29" fmla="*/ 30 h 2358"/>
                  <a:gd name="T30" fmla="*/ 158 w 5870"/>
                  <a:gd name="T31" fmla="*/ 10 h 2358"/>
                  <a:gd name="T32" fmla="*/ 122 w 5870"/>
                  <a:gd name="T33" fmla="*/ 0 h 2358"/>
                  <a:gd name="T34" fmla="*/ 79 w 5870"/>
                  <a:gd name="T35" fmla="*/ 5 h 2358"/>
                  <a:gd name="T36" fmla="*/ 41 w 5870"/>
                  <a:gd name="T37" fmla="*/ 26 h 2358"/>
                  <a:gd name="T38" fmla="*/ 14 w 5870"/>
                  <a:gd name="T39" fmla="*/ 59 h 2358"/>
                  <a:gd name="T40" fmla="*/ 1 w 5870"/>
                  <a:gd name="T41" fmla="*/ 101 h 2358"/>
                  <a:gd name="T42" fmla="*/ 5 w 5870"/>
                  <a:gd name="T43" fmla="*/ 146 h 2358"/>
                  <a:gd name="T44" fmla="*/ 26 w 5870"/>
                  <a:gd name="T45" fmla="*/ 184 h 2358"/>
                  <a:gd name="T46" fmla="*/ 59 w 5870"/>
                  <a:gd name="T47" fmla="*/ 212 h 2358"/>
                  <a:gd name="T48" fmla="*/ 101 w 5870"/>
                  <a:gd name="T49" fmla="*/ 225 h 2358"/>
                  <a:gd name="T50" fmla="*/ 141 w 5870"/>
                  <a:gd name="T51" fmla="*/ 222 h 2358"/>
                  <a:gd name="T52" fmla="*/ 175 w 5870"/>
                  <a:gd name="T53" fmla="*/ 207 h 2358"/>
                  <a:gd name="T54" fmla="*/ 201 w 5870"/>
                  <a:gd name="T55" fmla="*/ 182 h 2358"/>
                  <a:gd name="T56" fmla="*/ 219 w 5870"/>
                  <a:gd name="T57" fmla="*/ 150 h 2358"/>
                  <a:gd name="T58" fmla="*/ 2318 w 5870"/>
                  <a:gd name="T59" fmla="*/ 140 h 2358"/>
                  <a:gd name="T60" fmla="*/ 2644 w 5870"/>
                  <a:gd name="T61" fmla="*/ 144 h 2358"/>
                  <a:gd name="T62" fmla="*/ 3000 w 5870"/>
                  <a:gd name="T63" fmla="*/ 160 h 2358"/>
                  <a:gd name="T64" fmla="*/ 3173 w 5870"/>
                  <a:gd name="T65" fmla="*/ 180 h 2358"/>
                  <a:gd name="T66" fmla="*/ 3333 w 5870"/>
                  <a:gd name="T67" fmla="*/ 211 h 2358"/>
                  <a:gd name="T68" fmla="*/ 3483 w 5870"/>
                  <a:gd name="T69" fmla="*/ 255 h 2358"/>
                  <a:gd name="T70" fmla="*/ 3626 w 5870"/>
                  <a:gd name="T71" fmla="*/ 315 h 2358"/>
                  <a:gd name="T72" fmla="*/ 3768 w 5870"/>
                  <a:gd name="T73" fmla="*/ 392 h 2358"/>
                  <a:gd name="T74" fmla="*/ 3914 w 5870"/>
                  <a:gd name="T75" fmla="*/ 490 h 2358"/>
                  <a:gd name="T76" fmla="*/ 4065 w 5870"/>
                  <a:gd name="T77" fmla="*/ 611 h 2358"/>
                  <a:gd name="T78" fmla="*/ 4204 w 5870"/>
                  <a:gd name="T79" fmla="*/ 735 h 2358"/>
                  <a:gd name="T80" fmla="*/ 4339 w 5870"/>
                  <a:gd name="T81" fmla="*/ 866 h 2358"/>
                  <a:gd name="T82" fmla="*/ 166 w 5870"/>
                  <a:gd name="T83" fmla="*/ 130 h 2358"/>
                  <a:gd name="T84" fmla="*/ 145 w 5870"/>
                  <a:gd name="T85" fmla="*/ 160 h 2358"/>
                  <a:gd name="T86" fmla="*/ 119 w 5870"/>
                  <a:gd name="T87" fmla="*/ 169 h 2358"/>
                  <a:gd name="T88" fmla="*/ 96 w 5870"/>
                  <a:gd name="T89" fmla="*/ 166 h 2358"/>
                  <a:gd name="T90" fmla="*/ 66 w 5870"/>
                  <a:gd name="T91" fmla="*/ 145 h 2358"/>
                  <a:gd name="T92" fmla="*/ 57 w 5870"/>
                  <a:gd name="T93" fmla="*/ 119 h 2358"/>
                  <a:gd name="T94" fmla="*/ 59 w 5870"/>
                  <a:gd name="T95" fmla="*/ 96 h 2358"/>
                  <a:gd name="T96" fmla="*/ 81 w 5870"/>
                  <a:gd name="T97" fmla="*/ 66 h 2358"/>
                  <a:gd name="T98" fmla="*/ 107 w 5870"/>
                  <a:gd name="T99" fmla="*/ 57 h 2358"/>
                  <a:gd name="T100" fmla="*/ 130 w 5870"/>
                  <a:gd name="T101" fmla="*/ 59 h 2358"/>
                  <a:gd name="T102" fmla="*/ 160 w 5870"/>
                  <a:gd name="T103" fmla="*/ 81 h 2358"/>
                  <a:gd name="T104" fmla="*/ 169 w 5870"/>
                  <a:gd name="T105" fmla="*/ 107 h 2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70" h="2358">
                    <a:moveTo>
                      <a:pt x="4339" y="866"/>
                    </a:moveTo>
                    <a:lnTo>
                      <a:pt x="5830" y="2358"/>
                    </a:lnTo>
                    <a:lnTo>
                      <a:pt x="5870" y="2318"/>
                    </a:lnTo>
                    <a:lnTo>
                      <a:pt x="4378" y="826"/>
                    </a:lnTo>
                    <a:lnTo>
                      <a:pt x="4330" y="779"/>
                    </a:lnTo>
                    <a:lnTo>
                      <a:pt x="4283" y="733"/>
                    </a:lnTo>
                    <a:lnTo>
                      <a:pt x="4235" y="687"/>
                    </a:lnTo>
                    <a:lnTo>
                      <a:pt x="4186" y="642"/>
                    </a:lnTo>
                    <a:lnTo>
                      <a:pt x="4136" y="597"/>
                    </a:lnTo>
                    <a:lnTo>
                      <a:pt x="4085" y="554"/>
                    </a:lnTo>
                    <a:lnTo>
                      <a:pt x="4034" y="511"/>
                    </a:lnTo>
                    <a:lnTo>
                      <a:pt x="3981" y="470"/>
                    </a:lnTo>
                    <a:lnTo>
                      <a:pt x="3928" y="431"/>
                    </a:lnTo>
                    <a:lnTo>
                      <a:pt x="3873" y="393"/>
                    </a:lnTo>
                    <a:lnTo>
                      <a:pt x="3845" y="374"/>
                    </a:lnTo>
                    <a:lnTo>
                      <a:pt x="3818" y="357"/>
                    </a:lnTo>
                    <a:lnTo>
                      <a:pt x="3789" y="340"/>
                    </a:lnTo>
                    <a:lnTo>
                      <a:pt x="3761" y="322"/>
                    </a:lnTo>
                    <a:lnTo>
                      <a:pt x="3732" y="306"/>
                    </a:lnTo>
                    <a:lnTo>
                      <a:pt x="3702" y="290"/>
                    </a:lnTo>
                    <a:lnTo>
                      <a:pt x="3673" y="275"/>
                    </a:lnTo>
                    <a:lnTo>
                      <a:pt x="3643" y="260"/>
                    </a:lnTo>
                    <a:lnTo>
                      <a:pt x="3612" y="246"/>
                    </a:lnTo>
                    <a:lnTo>
                      <a:pt x="3582" y="234"/>
                    </a:lnTo>
                    <a:lnTo>
                      <a:pt x="3551" y="221"/>
                    </a:lnTo>
                    <a:lnTo>
                      <a:pt x="3519" y="209"/>
                    </a:lnTo>
                    <a:lnTo>
                      <a:pt x="3491" y="199"/>
                    </a:lnTo>
                    <a:lnTo>
                      <a:pt x="3462" y="190"/>
                    </a:lnTo>
                    <a:lnTo>
                      <a:pt x="3433" y="180"/>
                    </a:lnTo>
                    <a:lnTo>
                      <a:pt x="3403" y="172"/>
                    </a:lnTo>
                    <a:lnTo>
                      <a:pt x="3346" y="156"/>
                    </a:lnTo>
                    <a:lnTo>
                      <a:pt x="3286" y="144"/>
                    </a:lnTo>
                    <a:lnTo>
                      <a:pt x="3226" y="132"/>
                    </a:lnTo>
                    <a:lnTo>
                      <a:pt x="3166" y="122"/>
                    </a:lnTo>
                    <a:lnTo>
                      <a:pt x="3106" y="115"/>
                    </a:lnTo>
                    <a:lnTo>
                      <a:pt x="3045" y="107"/>
                    </a:lnTo>
                    <a:lnTo>
                      <a:pt x="2984" y="102"/>
                    </a:lnTo>
                    <a:lnTo>
                      <a:pt x="2923" y="97"/>
                    </a:lnTo>
                    <a:lnTo>
                      <a:pt x="2862" y="94"/>
                    </a:lnTo>
                    <a:lnTo>
                      <a:pt x="2801" y="91"/>
                    </a:lnTo>
                    <a:lnTo>
                      <a:pt x="2740" y="89"/>
                    </a:lnTo>
                    <a:lnTo>
                      <a:pt x="2679" y="88"/>
                    </a:lnTo>
                    <a:lnTo>
                      <a:pt x="2619" y="87"/>
                    </a:lnTo>
                    <a:lnTo>
                      <a:pt x="2559" y="86"/>
                    </a:lnTo>
                    <a:lnTo>
                      <a:pt x="2507" y="86"/>
                    </a:lnTo>
                    <a:lnTo>
                      <a:pt x="2457" y="86"/>
                    </a:lnTo>
                    <a:lnTo>
                      <a:pt x="2407" y="85"/>
                    </a:lnTo>
                    <a:lnTo>
                      <a:pt x="2356" y="85"/>
                    </a:lnTo>
                    <a:lnTo>
                      <a:pt x="2306" y="85"/>
                    </a:lnTo>
                    <a:lnTo>
                      <a:pt x="2255" y="85"/>
                    </a:lnTo>
                    <a:lnTo>
                      <a:pt x="2204" y="85"/>
                    </a:lnTo>
                    <a:lnTo>
                      <a:pt x="2154" y="85"/>
                    </a:lnTo>
                    <a:lnTo>
                      <a:pt x="222" y="85"/>
                    </a:lnTo>
                    <a:lnTo>
                      <a:pt x="219" y="76"/>
                    </a:lnTo>
                    <a:lnTo>
                      <a:pt x="215" y="67"/>
                    </a:lnTo>
                    <a:lnTo>
                      <a:pt x="212" y="59"/>
                    </a:lnTo>
                    <a:lnTo>
                      <a:pt x="207" y="51"/>
                    </a:lnTo>
                    <a:lnTo>
                      <a:pt x="201" y="44"/>
                    </a:lnTo>
                    <a:lnTo>
                      <a:pt x="196" y="36"/>
                    </a:lnTo>
                    <a:lnTo>
                      <a:pt x="189" y="30"/>
                    </a:lnTo>
                    <a:lnTo>
                      <a:pt x="182" y="25"/>
                    </a:lnTo>
                    <a:lnTo>
                      <a:pt x="175" y="19"/>
                    </a:lnTo>
                    <a:lnTo>
                      <a:pt x="167" y="14"/>
                    </a:lnTo>
                    <a:lnTo>
                      <a:pt x="158" y="10"/>
                    </a:lnTo>
                    <a:lnTo>
                      <a:pt x="150" y="6"/>
                    </a:lnTo>
                    <a:lnTo>
                      <a:pt x="141" y="3"/>
                    </a:lnTo>
                    <a:lnTo>
                      <a:pt x="132" y="2"/>
                    </a:lnTo>
                    <a:lnTo>
                      <a:pt x="122" y="0"/>
                    </a:lnTo>
                    <a:lnTo>
                      <a:pt x="112" y="0"/>
                    </a:lnTo>
                    <a:lnTo>
                      <a:pt x="101" y="1"/>
                    </a:lnTo>
                    <a:lnTo>
                      <a:pt x="90" y="2"/>
                    </a:lnTo>
                    <a:lnTo>
                      <a:pt x="79" y="5"/>
                    </a:lnTo>
                    <a:lnTo>
                      <a:pt x="69" y="9"/>
                    </a:lnTo>
                    <a:lnTo>
                      <a:pt x="59" y="14"/>
                    </a:lnTo>
                    <a:lnTo>
                      <a:pt x="49" y="19"/>
                    </a:lnTo>
                    <a:lnTo>
                      <a:pt x="41" y="26"/>
                    </a:lnTo>
                    <a:lnTo>
                      <a:pt x="33" y="33"/>
                    </a:lnTo>
                    <a:lnTo>
                      <a:pt x="26" y="41"/>
                    </a:lnTo>
                    <a:lnTo>
                      <a:pt x="19" y="49"/>
                    </a:lnTo>
                    <a:lnTo>
                      <a:pt x="14" y="59"/>
                    </a:lnTo>
                    <a:lnTo>
                      <a:pt x="9" y="69"/>
                    </a:lnTo>
                    <a:lnTo>
                      <a:pt x="5" y="79"/>
                    </a:lnTo>
                    <a:lnTo>
                      <a:pt x="2" y="90"/>
                    </a:lnTo>
                    <a:lnTo>
                      <a:pt x="1" y="101"/>
                    </a:lnTo>
                    <a:lnTo>
                      <a:pt x="0" y="112"/>
                    </a:lnTo>
                    <a:lnTo>
                      <a:pt x="1" y="124"/>
                    </a:lnTo>
                    <a:lnTo>
                      <a:pt x="2" y="135"/>
                    </a:lnTo>
                    <a:lnTo>
                      <a:pt x="5" y="146"/>
                    </a:lnTo>
                    <a:lnTo>
                      <a:pt x="9" y="156"/>
                    </a:lnTo>
                    <a:lnTo>
                      <a:pt x="14" y="166"/>
                    </a:lnTo>
                    <a:lnTo>
                      <a:pt x="19" y="176"/>
                    </a:lnTo>
                    <a:lnTo>
                      <a:pt x="26" y="184"/>
                    </a:lnTo>
                    <a:lnTo>
                      <a:pt x="33" y="193"/>
                    </a:lnTo>
                    <a:lnTo>
                      <a:pt x="41" y="199"/>
                    </a:lnTo>
                    <a:lnTo>
                      <a:pt x="49" y="206"/>
                    </a:lnTo>
                    <a:lnTo>
                      <a:pt x="59" y="212"/>
                    </a:lnTo>
                    <a:lnTo>
                      <a:pt x="69" y="216"/>
                    </a:lnTo>
                    <a:lnTo>
                      <a:pt x="79" y="221"/>
                    </a:lnTo>
                    <a:lnTo>
                      <a:pt x="90" y="223"/>
                    </a:lnTo>
                    <a:lnTo>
                      <a:pt x="101" y="225"/>
                    </a:lnTo>
                    <a:lnTo>
                      <a:pt x="112" y="225"/>
                    </a:lnTo>
                    <a:lnTo>
                      <a:pt x="122" y="225"/>
                    </a:lnTo>
                    <a:lnTo>
                      <a:pt x="132" y="224"/>
                    </a:lnTo>
                    <a:lnTo>
                      <a:pt x="141" y="222"/>
                    </a:lnTo>
                    <a:lnTo>
                      <a:pt x="150" y="219"/>
                    </a:lnTo>
                    <a:lnTo>
                      <a:pt x="158" y="215"/>
                    </a:lnTo>
                    <a:lnTo>
                      <a:pt x="167" y="211"/>
                    </a:lnTo>
                    <a:lnTo>
                      <a:pt x="175" y="207"/>
                    </a:lnTo>
                    <a:lnTo>
                      <a:pt x="182" y="201"/>
                    </a:lnTo>
                    <a:lnTo>
                      <a:pt x="189" y="195"/>
                    </a:lnTo>
                    <a:lnTo>
                      <a:pt x="196" y="189"/>
                    </a:lnTo>
                    <a:lnTo>
                      <a:pt x="201" y="182"/>
                    </a:lnTo>
                    <a:lnTo>
                      <a:pt x="207" y="175"/>
                    </a:lnTo>
                    <a:lnTo>
                      <a:pt x="212" y="166"/>
                    </a:lnTo>
                    <a:lnTo>
                      <a:pt x="215" y="159"/>
                    </a:lnTo>
                    <a:lnTo>
                      <a:pt x="219" y="150"/>
                    </a:lnTo>
                    <a:lnTo>
                      <a:pt x="222" y="140"/>
                    </a:lnTo>
                    <a:lnTo>
                      <a:pt x="2154" y="140"/>
                    </a:lnTo>
                    <a:lnTo>
                      <a:pt x="2235" y="140"/>
                    </a:lnTo>
                    <a:lnTo>
                      <a:pt x="2318" y="140"/>
                    </a:lnTo>
                    <a:lnTo>
                      <a:pt x="2399" y="140"/>
                    </a:lnTo>
                    <a:lnTo>
                      <a:pt x="2482" y="141"/>
                    </a:lnTo>
                    <a:lnTo>
                      <a:pt x="2563" y="141"/>
                    </a:lnTo>
                    <a:lnTo>
                      <a:pt x="2644" y="144"/>
                    </a:lnTo>
                    <a:lnTo>
                      <a:pt x="2727" y="146"/>
                    </a:lnTo>
                    <a:lnTo>
                      <a:pt x="2808" y="148"/>
                    </a:lnTo>
                    <a:lnTo>
                      <a:pt x="2907" y="153"/>
                    </a:lnTo>
                    <a:lnTo>
                      <a:pt x="3000" y="160"/>
                    </a:lnTo>
                    <a:lnTo>
                      <a:pt x="3045" y="164"/>
                    </a:lnTo>
                    <a:lnTo>
                      <a:pt x="3088" y="169"/>
                    </a:lnTo>
                    <a:lnTo>
                      <a:pt x="3130" y="175"/>
                    </a:lnTo>
                    <a:lnTo>
                      <a:pt x="3173" y="180"/>
                    </a:lnTo>
                    <a:lnTo>
                      <a:pt x="3214" y="186"/>
                    </a:lnTo>
                    <a:lnTo>
                      <a:pt x="3253" y="194"/>
                    </a:lnTo>
                    <a:lnTo>
                      <a:pt x="3293" y="202"/>
                    </a:lnTo>
                    <a:lnTo>
                      <a:pt x="3333" y="211"/>
                    </a:lnTo>
                    <a:lnTo>
                      <a:pt x="3370" y="221"/>
                    </a:lnTo>
                    <a:lnTo>
                      <a:pt x="3409" y="231"/>
                    </a:lnTo>
                    <a:lnTo>
                      <a:pt x="3445" y="243"/>
                    </a:lnTo>
                    <a:lnTo>
                      <a:pt x="3483" y="255"/>
                    </a:lnTo>
                    <a:lnTo>
                      <a:pt x="3519" y="269"/>
                    </a:lnTo>
                    <a:lnTo>
                      <a:pt x="3554" y="283"/>
                    </a:lnTo>
                    <a:lnTo>
                      <a:pt x="3591" y="298"/>
                    </a:lnTo>
                    <a:lnTo>
                      <a:pt x="3626" y="315"/>
                    </a:lnTo>
                    <a:lnTo>
                      <a:pt x="3662" y="332"/>
                    </a:lnTo>
                    <a:lnTo>
                      <a:pt x="3698" y="351"/>
                    </a:lnTo>
                    <a:lnTo>
                      <a:pt x="3733" y="371"/>
                    </a:lnTo>
                    <a:lnTo>
                      <a:pt x="3768" y="392"/>
                    </a:lnTo>
                    <a:lnTo>
                      <a:pt x="3805" y="415"/>
                    </a:lnTo>
                    <a:lnTo>
                      <a:pt x="3840" y="438"/>
                    </a:lnTo>
                    <a:lnTo>
                      <a:pt x="3877" y="464"/>
                    </a:lnTo>
                    <a:lnTo>
                      <a:pt x="3914" y="490"/>
                    </a:lnTo>
                    <a:lnTo>
                      <a:pt x="3950" y="517"/>
                    </a:lnTo>
                    <a:lnTo>
                      <a:pt x="3988" y="547"/>
                    </a:lnTo>
                    <a:lnTo>
                      <a:pt x="4026" y="577"/>
                    </a:lnTo>
                    <a:lnTo>
                      <a:pt x="4065" y="611"/>
                    </a:lnTo>
                    <a:lnTo>
                      <a:pt x="4100" y="641"/>
                    </a:lnTo>
                    <a:lnTo>
                      <a:pt x="4136" y="672"/>
                    </a:lnTo>
                    <a:lnTo>
                      <a:pt x="4170" y="704"/>
                    </a:lnTo>
                    <a:lnTo>
                      <a:pt x="4204" y="735"/>
                    </a:lnTo>
                    <a:lnTo>
                      <a:pt x="4238" y="767"/>
                    </a:lnTo>
                    <a:lnTo>
                      <a:pt x="4272" y="800"/>
                    </a:lnTo>
                    <a:lnTo>
                      <a:pt x="4305" y="832"/>
                    </a:lnTo>
                    <a:lnTo>
                      <a:pt x="4339" y="866"/>
                    </a:lnTo>
                    <a:close/>
                    <a:moveTo>
                      <a:pt x="169" y="112"/>
                    </a:moveTo>
                    <a:lnTo>
                      <a:pt x="169" y="119"/>
                    </a:lnTo>
                    <a:lnTo>
                      <a:pt x="168" y="124"/>
                    </a:lnTo>
                    <a:lnTo>
                      <a:pt x="166" y="130"/>
                    </a:lnTo>
                    <a:lnTo>
                      <a:pt x="165" y="135"/>
                    </a:lnTo>
                    <a:lnTo>
                      <a:pt x="160" y="145"/>
                    </a:lnTo>
                    <a:lnTo>
                      <a:pt x="152" y="152"/>
                    </a:lnTo>
                    <a:lnTo>
                      <a:pt x="145" y="160"/>
                    </a:lnTo>
                    <a:lnTo>
                      <a:pt x="135" y="165"/>
                    </a:lnTo>
                    <a:lnTo>
                      <a:pt x="130" y="166"/>
                    </a:lnTo>
                    <a:lnTo>
                      <a:pt x="124" y="168"/>
                    </a:lnTo>
                    <a:lnTo>
                      <a:pt x="119" y="169"/>
                    </a:lnTo>
                    <a:lnTo>
                      <a:pt x="112" y="169"/>
                    </a:lnTo>
                    <a:lnTo>
                      <a:pt x="107" y="169"/>
                    </a:lnTo>
                    <a:lnTo>
                      <a:pt x="102" y="168"/>
                    </a:lnTo>
                    <a:lnTo>
                      <a:pt x="96" y="166"/>
                    </a:lnTo>
                    <a:lnTo>
                      <a:pt x="91" y="165"/>
                    </a:lnTo>
                    <a:lnTo>
                      <a:pt x="81" y="160"/>
                    </a:lnTo>
                    <a:lnTo>
                      <a:pt x="73" y="152"/>
                    </a:lnTo>
                    <a:lnTo>
                      <a:pt x="66" y="145"/>
                    </a:lnTo>
                    <a:lnTo>
                      <a:pt x="61" y="135"/>
                    </a:lnTo>
                    <a:lnTo>
                      <a:pt x="59" y="130"/>
                    </a:lnTo>
                    <a:lnTo>
                      <a:pt x="58" y="124"/>
                    </a:lnTo>
                    <a:lnTo>
                      <a:pt x="57" y="119"/>
                    </a:lnTo>
                    <a:lnTo>
                      <a:pt x="57" y="112"/>
                    </a:lnTo>
                    <a:lnTo>
                      <a:pt x="57" y="107"/>
                    </a:lnTo>
                    <a:lnTo>
                      <a:pt x="58" y="102"/>
                    </a:lnTo>
                    <a:lnTo>
                      <a:pt x="59" y="96"/>
                    </a:lnTo>
                    <a:lnTo>
                      <a:pt x="61" y="91"/>
                    </a:lnTo>
                    <a:lnTo>
                      <a:pt x="66" y="81"/>
                    </a:lnTo>
                    <a:lnTo>
                      <a:pt x="73" y="73"/>
                    </a:lnTo>
                    <a:lnTo>
                      <a:pt x="81" y="66"/>
                    </a:lnTo>
                    <a:lnTo>
                      <a:pt x="91" y="61"/>
                    </a:lnTo>
                    <a:lnTo>
                      <a:pt x="96" y="59"/>
                    </a:lnTo>
                    <a:lnTo>
                      <a:pt x="102" y="58"/>
                    </a:lnTo>
                    <a:lnTo>
                      <a:pt x="107" y="57"/>
                    </a:lnTo>
                    <a:lnTo>
                      <a:pt x="112" y="57"/>
                    </a:lnTo>
                    <a:lnTo>
                      <a:pt x="119" y="57"/>
                    </a:lnTo>
                    <a:lnTo>
                      <a:pt x="124" y="58"/>
                    </a:lnTo>
                    <a:lnTo>
                      <a:pt x="130" y="59"/>
                    </a:lnTo>
                    <a:lnTo>
                      <a:pt x="135" y="61"/>
                    </a:lnTo>
                    <a:lnTo>
                      <a:pt x="145" y="66"/>
                    </a:lnTo>
                    <a:lnTo>
                      <a:pt x="152" y="73"/>
                    </a:lnTo>
                    <a:lnTo>
                      <a:pt x="160" y="81"/>
                    </a:lnTo>
                    <a:lnTo>
                      <a:pt x="165" y="91"/>
                    </a:lnTo>
                    <a:lnTo>
                      <a:pt x="166" y="96"/>
                    </a:lnTo>
                    <a:lnTo>
                      <a:pt x="168" y="102"/>
                    </a:lnTo>
                    <a:lnTo>
                      <a:pt x="169" y="107"/>
                    </a:lnTo>
                    <a:lnTo>
                      <a:pt x="169" y="112"/>
                    </a:lnTo>
                    <a:close/>
                  </a:path>
                </a:pathLst>
              </a:custGeom>
              <a:solidFill>
                <a:srgbClr val="85B5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s-ES">
                  <a:solidFill>
                    <a:prstClr val="black"/>
                  </a:solidFill>
                  <a:latin typeface="Helvetica"/>
                </a:endParaRPr>
              </a:p>
            </p:txBody>
          </p:sp>
          <p:sp>
            <p:nvSpPr>
              <p:cNvPr id="25" name="Freeform 14">
                <a:extLst>
                  <a:ext uri="{FF2B5EF4-FFF2-40B4-BE49-F238E27FC236}">
                    <a16:creationId xmlns:a16="http://schemas.microsoft.com/office/drawing/2014/main" id="{C5FD7060-C408-4366-A22D-4061BC469CC3}"/>
                  </a:ext>
                </a:extLst>
              </p:cNvPr>
              <p:cNvSpPr>
                <a:spLocks noEditPoints="1"/>
              </p:cNvSpPr>
              <p:nvPr/>
            </p:nvSpPr>
            <p:spPr bwMode="auto">
              <a:xfrm>
                <a:off x="4156075" y="4065588"/>
                <a:ext cx="587375" cy="50800"/>
              </a:xfrm>
              <a:custGeom>
                <a:avLst/>
                <a:gdLst>
                  <a:gd name="T0" fmla="*/ 2589 w 2589"/>
                  <a:gd name="T1" fmla="*/ 140 h 224"/>
                  <a:gd name="T2" fmla="*/ 222 w 2589"/>
                  <a:gd name="T3" fmla="*/ 84 h 224"/>
                  <a:gd name="T4" fmla="*/ 215 w 2589"/>
                  <a:gd name="T5" fmla="*/ 66 h 224"/>
                  <a:gd name="T6" fmla="*/ 207 w 2589"/>
                  <a:gd name="T7" fmla="*/ 50 h 224"/>
                  <a:gd name="T8" fmla="*/ 195 w 2589"/>
                  <a:gd name="T9" fmla="*/ 36 h 224"/>
                  <a:gd name="T10" fmla="*/ 182 w 2589"/>
                  <a:gd name="T11" fmla="*/ 23 h 224"/>
                  <a:gd name="T12" fmla="*/ 167 w 2589"/>
                  <a:gd name="T13" fmla="*/ 13 h 224"/>
                  <a:gd name="T14" fmla="*/ 150 w 2589"/>
                  <a:gd name="T15" fmla="*/ 6 h 224"/>
                  <a:gd name="T16" fmla="*/ 132 w 2589"/>
                  <a:gd name="T17" fmla="*/ 1 h 224"/>
                  <a:gd name="T18" fmla="*/ 113 w 2589"/>
                  <a:gd name="T19" fmla="*/ 0 h 224"/>
                  <a:gd name="T20" fmla="*/ 90 w 2589"/>
                  <a:gd name="T21" fmla="*/ 2 h 224"/>
                  <a:gd name="T22" fmla="*/ 69 w 2589"/>
                  <a:gd name="T23" fmla="*/ 8 h 224"/>
                  <a:gd name="T24" fmla="*/ 49 w 2589"/>
                  <a:gd name="T25" fmla="*/ 19 h 224"/>
                  <a:gd name="T26" fmla="*/ 33 w 2589"/>
                  <a:gd name="T27" fmla="*/ 33 h 224"/>
                  <a:gd name="T28" fmla="*/ 19 w 2589"/>
                  <a:gd name="T29" fmla="*/ 49 h 224"/>
                  <a:gd name="T30" fmla="*/ 9 w 2589"/>
                  <a:gd name="T31" fmla="*/ 68 h 224"/>
                  <a:gd name="T32" fmla="*/ 2 w 2589"/>
                  <a:gd name="T33" fmla="*/ 90 h 224"/>
                  <a:gd name="T34" fmla="*/ 0 w 2589"/>
                  <a:gd name="T35" fmla="*/ 112 h 224"/>
                  <a:gd name="T36" fmla="*/ 2 w 2589"/>
                  <a:gd name="T37" fmla="*/ 134 h 224"/>
                  <a:gd name="T38" fmla="*/ 9 w 2589"/>
                  <a:gd name="T39" fmla="*/ 156 h 224"/>
                  <a:gd name="T40" fmla="*/ 19 w 2589"/>
                  <a:gd name="T41" fmla="*/ 175 h 224"/>
                  <a:gd name="T42" fmla="*/ 33 w 2589"/>
                  <a:gd name="T43" fmla="*/ 191 h 224"/>
                  <a:gd name="T44" fmla="*/ 49 w 2589"/>
                  <a:gd name="T45" fmla="*/ 205 h 224"/>
                  <a:gd name="T46" fmla="*/ 69 w 2589"/>
                  <a:gd name="T47" fmla="*/ 216 h 224"/>
                  <a:gd name="T48" fmla="*/ 90 w 2589"/>
                  <a:gd name="T49" fmla="*/ 222 h 224"/>
                  <a:gd name="T50" fmla="*/ 113 w 2589"/>
                  <a:gd name="T51" fmla="*/ 224 h 224"/>
                  <a:gd name="T52" fmla="*/ 132 w 2589"/>
                  <a:gd name="T53" fmla="*/ 223 h 224"/>
                  <a:gd name="T54" fmla="*/ 150 w 2589"/>
                  <a:gd name="T55" fmla="*/ 218 h 224"/>
                  <a:gd name="T56" fmla="*/ 167 w 2589"/>
                  <a:gd name="T57" fmla="*/ 211 h 224"/>
                  <a:gd name="T58" fmla="*/ 182 w 2589"/>
                  <a:gd name="T59" fmla="*/ 201 h 224"/>
                  <a:gd name="T60" fmla="*/ 195 w 2589"/>
                  <a:gd name="T61" fmla="*/ 188 h 224"/>
                  <a:gd name="T62" fmla="*/ 207 w 2589"/>
                  <a:gd name="T63" fmla="*/ 174 h 224"/>
                  <a:gd name="T64" fmla="*/ 215 w 2589"/>
                  <a:gd name="T65" fmla="*/ 158 h 224"/>
                  <a:gd name="T66" fmla="*/ 222 w 2589"/>
                  <a:gd name="T67" fmla="*/ 140 h 224"/>
                  <a:gd name="T68" fmla="*/ 168 w 2589"/>
                  <a:gd name="T69" fmla="*/ 117 h 224"/>
                  <a:gd name="T70" fmla="*/ 166 w 2589"/>
                  <a:gd name="T71" fmla="*/ 129 h 224"/>
                  <a:gd name="T72" fmla="*/ 160 w 2589"/>
                  <a:gd name="T73" fmla="*/ 143 h 224"/>
                  <a:gd name="T74" fmla="*/ 144 w 2589"/>
                  <a:gd name="T75" fmla="*/ 159 h 224"/>
                  <a:gd name="T76" fmla="*/ 130 w 2589"/>
                  <a:gd name="T77" fmla="*/ 166 h 224"/>
                  <a:gd name="T78" fmla="*/ 118 w 2589"/>
                  <a:gd name="T79" fmla="*/ 168 h 224"/>
                  <a:gd name="T80" fmla="*/ 107 w 2589"/>
                  <a:gd name="T81" fmla="*/ 168 h 224"/>
                  <a:gd name="T82" fmla="*/ 95 w 2589"/>
                  <a:gd name="T83" fmla="*/ 166 h 224"/>
                  <a:gd name="T84" fmla="*/ 82 w 2589"/>
                  <a:gd name="T85" fmla="*/ 159 h 224"/>
                  <a:gd name="T86" fmla="*/ 65 w 2589"/>
                  <a:gd name="T87" fmla="*/ 143 h 224"/>
                  <a:gd name="T88" fmla="*/ 59 w 2589"/>
                  <a:gd name="T89" fmla="*/ 129 h 224"/>
                  <a:gd name="T90" fmla="*/ 57 w 2589"/>
                  <a:gd name="T91" fmla="*/ 117 h 224"/>
                  <a:gd name="T92" fmla="*/ 57 w 2589"/>
                  <a:gd name="T93" fmla="*/ 107 h 224"/>
                  <a:gd name="T94" fmla="*/ 59 w 2589"/>
                  <a:gd name="T95" fmla="*/ 95 h 224"/>
                  <a:gd name="T96" fmla="*/ 65 w 2589"/>
                  <a:gd name="T97" fmla="*/ 81 h 224"/>
                  <a:gd name="T98" fmla="*/ 82 w 2589"/>
                  <a:gd name="T99" fmla="*/ 65 h 224"/>
                  <a:gd name="T100" fmla="*/ 95 w 2589"/>
                  <a:gd name="T101" fmla="*/ 58 h 224"/>
                  <a:gd name="T102" fmla="*/ 107 w 2589"/>
                  <a:gd name="T103" fmla="*/ 56 h 224"/>
                  <a:gd name="T104" fmla="*/ 118 w 2589"/>
                  <a:gd name="T105" fmla="*/ 56 h 224"/>
                  <a:gd name="T106" fmla="*/ 130 w 2589"/>
                  <a:gd name="T107" fmla="*/ 58 h 224"/>
                  <a:gd name="T108" fmla="*/ 144 w 2589"/>
                  <a:gd name="T109" fmla="*/ 65 h 224"/>
                  <a:gd name="T110" fmla="*/ 160 w 2589"/>
                  <a:gd name="T111" fmla="*/ 81 h 224"/>
                  <a:gd name="T112" fmla="*/ 166 w 2589"/>
                  <a:gd name="T113" fmla="*/ 95 h 224"/>
                  <a:gd name="T114" fmla="*/ 168 w 2589"/>
                  <a:gd name="T115" fmla="*/ 10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89" h="224">
                    <a:moveTo>
                      <a:pt x="222" y="140"/>
                    </a:moveTo>
                    <a:lnTo>
                      <a:pt x="2589" y="140"/>
                    </a:lnTo>
                    <a:lnTo>
                      <a:pt x="2589" y="84"/>
                    </a:lnTo>
                    <a:lnTo>
                      <a:pt x="222" y="84"/>
                    </a:lnTo>
                    <a:lnTo>
                      <a:pt x="219" y="76"/>
                    </a:lnTo>
                    <a:lnTo>
                      <a:pt x="215" y="66"/>
                    </a:lnTo>
                    <a:lnTo>
                      <a:pt x="211" y="58"/>
                    </a:lnTo>
                    <a:lnTo>
                      <a:pt x="207" y="50"/>
                    </a:lnTo>
                    <a:lnTo>
                      <a:pt x="201" y="42"/>
                    </a:lnTo>
                    <a:lnTo>
                      <a:pt x="195" y="36"/>
                    </a:lnTo>
                    <a:lnTo>
                      <a:pt x="189" y="30"/>
                    </a:lnTo>
                    <a:lnTo>
                      <a:pt x="182" y="23"/>
                    </a:lnTo>
                    <a:lnTo>
                      <a:pt x="175" y="18"/>
                    </a:lnTo>
                    <a:lnTo>
                      <a:pt x="167" y="13"/>
                    </a:lnTo>
                    <a:lnTo>
                      <a:pt x="159" y="9"/>
                    </a:lnTo>
                    <a:lnTo>
                      <a:pt x="150" y="6"/>
                    </a:lnTo>
                    <a:lnTo>
                      <a:pt x="141" y="3"/>
                    </a:lnTo>
                    <a:lnTo>
                      <a:pt x="132" y="1"/>
                    </a:lnTo>
                    <a:lnTo>
                      <a:pt x="122" y="0"/>
                    </a:lnTo>
                    <a:lnTo>
                      <a:pt x="113" y="0"/>
                    </a:lnTo>
                    <a:lnTo>
                      <a:pt x="101" y="0"/>
                    </a:lnTo>
                    <a:lnTo>
                      <a:pt x="90" y="2"/>
                    </a:lnTo>
                    <a:lnTo>
                      <a:pt x="79" y="5"/>
                    </a:lnTo>
                    <a:lnTo>
                      <a:pt x="69" y="8"/>
                    </a:lnTo>
                    <a:lnTo>
                      <a:pt x="59" y="12"/>
                    </a:lnTo>
                    <a:lnTo>
                      <a:pt x="49" y="19"/>
                    </a:lnTo>
                    <a:lnTo>
                      <a:pt x="41" y="25"/>
                    </a:lnTo>
                    <a:lnTo>
                      <a:pt x="33" y="33"/>
                    </a:lnTo>
                    <a:lnTo>
                      <a:pt x="26" y="40"/>
                    </a:lnTo>
                    <a:lnTo>
                      <a:pt x="19" y="49"/>
                    </a:lnTo>
                    <a:lnTo>
                      <a:pt x="13" y="58"/>
                    </a:lnTo>
                    <a:lnTo>
                      <a:pt x="9" y="68"/>
                    </a:lnTo>
                    <a:lnTo>
                      <a:pt x="4" y="79"/>
                    </a:lnTo>
                    <a:lnTo>
                      <a:pt x="2" y="90"/>
                    </a:lnTo>
                    <a:lnTo>
                      <a:pt x="0" y="100"/>
                    </a:lnTo>
                    <a:lnTo>
                      <a:pt x="0" y="112"/>
                    </a:lnTo>
                    <a:lnTo>
                      <a:pt x="0" y="124"/>
                    </a:lnTo>
                    <a:lnTo>
                      <a:pt x="2" y="134"/>
                    </a:lnTo>
                    <a:lnTo>
                      <a:pt x="4" y="145"/>
                    </a:lnTo>
                    <a:lnTo>
                      <a:pt x="9" y="156"/>
                    </a:lnTo>
                    <a:lnTo>
                      <a:pt x="13" y="166"/>
                    </a:lnTo>
                    <a:lnTo>
                      <a:pt x="19" y="175"/>
                    </a:lnTo>
                    <a:lnTo>
                      <a:pt x="26" y="184"/>
                    </a:lnTo>
                    <a:lnTo>
                      <a:pt x="33" y="191"/>
                    </a:lnTo>
                    <a:lnTo>
                      <a:pt x="41" y="199"/>
                    </a:lnTo>
                    <a:lnTo>
                      <a:pt x="49" y="205"/>
                    </a:lnTo>
                    <a:lnTo>
                      <a:pt x="59" y="212"/>
                    </a:lnTo>
                    <a:lnTo>
                      <a:pt x="69" y="216"/>
                    </a:lnTo>
                    <a:lnTo>
                      <a:pt x="79" y="219"/>
                    </a:lnTo>
                    <a:lnTo>
                      <a:pt x="90" y="222"/>
                    </a:lnTo>
                    <a:lnTo>
                      <a:pt x="101" y="224"/>
                    </a:lnTo>
                    <a:lnTo>
                      <a:pt x="113" y="224"/>
                    </a:lnTo>
                    <a:lnTo>
                      <a:pt x="122" y="224"/>
                    </a:lnTo>
                    <a:lnTo>
                      <a:pt x="132" y="223"/>
                    </a:lnTo>
                    <a:lnTo>
                      <a:pt x="141" y="221"/>
                    </a:lnTo>
                    <a:lnTo>
                      <a:pt x="150" y="218"/>
                    </a:lnTo>
                    <a:lnTo>
                      <a:pt x="159" y="215"/>
                    </a:lnTo>
                    <a:lnTo>
                      <a:pt x="167" y="211"/>
                    </a:lnTo>
                    <a:lnTo>
                      <a:pt x="175" y="206"/>
                    </a:lnTo>
                    <a:lnTo>
                      <a:pt x="182" y="201"/>
                    </a:lnTo>
                    <a:lnTo>
                      <a:pt x="189" y="194"/>
                    </a:lnTo>
                    <a:lnTo>
                      <a:pt x="195" y="188"/>
                    </a:lnTo>
                    <a:lnTo>
                      <a:pt x="201" y="182"/>
                    </a:lnTo>
                    <a:lnTo>
                      <a:pt x="207" y="174"/>
                    </a:lnTo>
                    <a:lnTo>
                      <a:pt x="211" y="166"/>
                    </a:lnTo>
                    <a:lnTo>
                      <a:pt x="215" y="158"/>
                    </a:lnTo>
                    <a:lnTo>
                      <a:pt x="219" y="148"/>
                    </a:lnTo>
                    <a:lnTo>
                      <a:pt x="222" y="140"/>
                    </a:lnTo>
                    <a:close/>
                    <a:moveTo>
                      <a:pt x="169" y="112"/>
                    </a:moveTo>
                    <a:lnTo>
                      <a:pt x="168" y="117"/>
                    </a:lnTo>
                    <a:lnTo>
                      <a:pt x="167" y="124"/>
                    </a:lnTo>
                    <a:lnTo>
                      <a:pt x="166" y="129"/>
                    </a:lnTo>
                    <a:lnTo>
                      <a:pt x="164" y="133"/>
                    </a:lnTo>
                    <a:lnTo>
                      <a:pt x="160" y="143"/>
                    </a:lnTo>
                    <a:lnTo>
                      <a:pt x="152" y="152"/>
                    </a:lnTo>
                    <a:lnTo>
                      <a:pt x="144" y="159"/>
                    </a:lnTo>
                    <a:lnTo>
                      <a:pt x="134" y="163"/>
                    </a:lnTo>
                    <a:lnTo>
                      <a:pt x="130" y="166"/>
                    </a:lnTo>
                    <a:lnTo>
                      <a:pt x="124" y="168"/>
                    </a:lnTo>
                    <a:lnTo>
                      <a:pt x="118" y="168"/>
                    </a:lnTo>
                    <a:lnTo>
                      <a:pt x="113" y="169"/>
                    </a:lnTo>
                    <a:lnTo>
                      <a:pt x="107" y="168"/>
                    </a:lnTo>
                    <a:lnTo>
                      <a:pt x="101" y="168"/>
                    </a:lnTo>
                    <a:lnTo>
                      <a:pt x="95" y="166"/>
                    </a:lnTo>
                    <a:lnTo>
                      <a:pt x="90" y="163"/>
                    </a:lnTo>
                    <a:lnTo>
                      <a:pt x="82" y="159"/>
                    </a:lnTo>
                    <a:lnTo>
                      <a:pt x="73" y="152"/>
                    </a:lnTo>
                    <a:lnTo>
                      <a:pt x="65" y="143"/>
                    </a:lnTo>
                    <a:lnTo>
                      <a:pt x="60" y="133"/>
                    </a:lnTo>
                    <a:lnTo>
                      <a:pt x="59" y="129"/>
                    </a:lnTo>
                    <a:lnTo>
                      <a:pt x="57" y="124"/>
                    </a:lnTo>
                    <a:lnTo>
                      <a:pt x="57" y="117"/>
                    </a:lnTo>
                    <a:lnTo>
                      <a:pt x="56" y="112"/>
                    </a:lnTo>
                    <a:lnTo>
                      <a:pt x="57" y="107"/>
                    </a:lnTo>
                    <a:lnTo>
                      <a:pt x="57" y="100"/>
                    </a:lnTo>
                    <a:lnTo>
                      <a:pt x="59" y="95"/>
                    </a:lnTo>
                    <a:lnTo>
                      <a:pt x="60" y="91"/>
                    </a:lnTo>
                    <a:lnTo>
                      <a:pt x="65" y="81"/>
                    </a:lnTo>
                    <a:lnTo>
                      <a:pt x="73" y="72"/>
                    </a:lnTo>
                    <a:lnTo>
                      <a:pt x="82" y="65"/>
                    </a:lnTo>
                    <a:lnTo>
                      <a:pt x="90" y="61"/>
                    </a:lnTo>
                    <a:lnTo>
                      <a:pt x="95" y="58"/>
                    </a:lnTo>
                    <a:lnTo>
                      <a:pt x="101" y="56"/>
                    </a:lnTo>
                    <a:lnTo>
                      <a:pt x="107" y="56"/>
                    </a:lnTo>
                    <a:lnTo>
                      <a:pt x="113" y="55"/>
                    </a:lnTo>
                    <a:lnTo>
                      <a:pt x="118" y="56"/>
                    </a:lnTo>
                    <a:lnTo>
                      <a:pt x="124" y="56"/>
                    </a:lnTo>
                    <a:lnTo>
                      <a:pt x="130" y="58"/>
                    </a:lnTo>
                    <a:lnTo>
                      <a:pt x="134" y="61"/>
                    </a:lnTo>
                    <a:lnTo>
                      <a:pt x="144" y="65"/>
                    </a:lnTo>
                    <a:lnTo>
                      <a:pt x="152" y="72"/>
                    </a:lnTo>
                    <a:lnTo>
                      <a:pt x="160" y="81"/>
                    </a:lnTo>
                    <a:lnTo>
                      <a:pt x="164" y="91"/>
                    </a:lnTo>
                    <a:lnTo>
                      <a:pt x="166" y="95"/>
                    </a:lnTo>
                    <a:lnTo>
                      <a:pt x="167" y="100"/>
                    </a:lnTo>
                    <a:lnTo>
                      <a:pt x="168" y="107"/>
                    </a:lnTo>
                    <a:lnTo>
                      <a:pt x="169" y="112"/>
                    </a:lnTo>
                    <a:close/>
                  </a:path>
                </a:pathLst>
              </a:custGeom>
              <a:solidFill>
                <a:srgbClr val="0039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s-ES">
                  <a:solidFill>
                    <a:prstClr val="black"/>
                  </a:solidFill>
                  <a:latin typeface="Helvetica"/>
                </a:endParaRPr>
              </a:p>
            </p:txBody>
          </p:sp>
          <p:sp>
            <p:nvSpPr>
              <p:cNvPr id="26" name="Freeform 15">
                <a:extLst>
                  <a:ext uri="{FF2B5EF4-FFF2-40B4-BE49-F238E27FC236}">
                    <a16:creationId xmlns:a16="http://schemas.microsoft.com/office/drawing/2014/main" id="{48181CBA-755B-43AC-8EB4-E5E281A7F7FF}"/>
                  </a:ext>
                </a:extLst>
              </p:cNvPr>
              <p:cNvSpPr>
                <a:spLocks noEditPoints="1"/>
              </p:cNvSpPr>
              <p:nvPr/>
            </p:nvSpPr>
            <p:spPr bwMode="auto">
              <a:xfrm>
                <a:off x="4138613" y="5033963"/>
                <a:ext cx="1331912" cy="534988"/>
              </a:xfrm>
              <a:custGeom>
                <a:avLst/>
                <a:gdLst>
                  <a:gd name="T0" fmla="*/ 4339 w 5870"/>
                  <a:gd name="T1" fmla="*/ 1492 h 2358"/>
                  <a:gd name="T2" fmla="*/ 4158 w 5870"/>
                  <a:gd name="T3" fmla="*/ 1666 h 2358"/>
                  <a:gd name="T4" fmla="*/ 3965 w 5870"/>
                  <a:gd name="T5" fmla="*/ 1829 h 2358"/>
                  <a:gd name="T6" fmla="*/ 3759 w 5870"/>
                  <a:gd name="T7" fmla="*/ 1971 h 2358"/>
                  <a:gd name="T8" fmla="*/ 3650 w 5870"/>
                  <a:gd name="T9" fmla="*/ 2032 h 2358"/>
                  <a:gd name="T10" fmla="*/ 3535 w 5870"/>
                  <a:gd name="T11" fmla="*/ 2083 h 2358"/>
                  <a:gd name="T12" fmla="*/ 3425 w 5870"/>
                  <a:gd name="T13" fmla="*/ 2121 h 2358"/>
                  <a:gd name="T14" fmla="*/ 3197 w 5870"/>
                  <a:gd name="T15" fmla="*/ 2174 h 2358"/>
                  <a:gd name="T16" fmla="*/ 2963 w 5870"/>
                  <a:gd name="T17" fmla="*/ 2202 h 2358"/>
                  <a:gd name="T18" fmla="*/ 2729 w 5870"/>
                  <a:gd name="T19" fmla="*/ 2212 h 2358"/>
                  <a:gd name="T20" fmla="*/ 2498 w 5870"/>
                  <a:gd name="T21" fmla="*/ 2217 h 2358"/>
                  <a:gd name="T22" fmla="*/ 2269 w 5870"/>
                  <a:gd name="T23" fmla="*/ 2218 h 2358"/>
                  <a:gd name="T24" fmla="*/ 219 w 5870"/>
                  <a:gd name="T25" fmla="*/ 2208 h 2358"/>
                  <a:gd name="T26" fmla="*/ 201 w 5870"/>
                  <a:gd name="T27" fmla="*/ 2176 h 2358"/>
                  <a:gd name="T28" fmla="*/ 175 w 5870"/>
                  <a:gd name="T29" fmla="*/ 2151 h 2358"/>
                  <a:gd name="T30" fmla="*/ 141 w 5870"/>
                  <a:gd name="T31" fmla="*/ 2136 h 2358"/>
                  <a:gd name="T32" fmla="*/ 101 w 5870"/>
                  <a:gd name="T33" fmla="*/ 2133 h 2358"/>
                  <a:gd name="T34" fmla="*/ 59 w 5870"/>
                  <a:gd name="T35" fmla="*/ 2146 h 2358"/>
                  <a:gd name="T36" fmla="*/ 26 w 5870"/>
                  <a:gd name="T37" fmla="*/ 2174 h 2358"/>
                  <a:gd name="T38" fmla="*/ 5 w 5870"/>
                  <a:gd name="T39" fmla="*/ 2212 h 2358"/>
                  <a:gd name="T40" fmla="*/ 1 w 5870"/>
                  <a:gd name="T41" fmla="*/ 2257 h 2358"/>
                  <a:gd name="T42" fmla="*/ 14 w 5870"/>
                  <a:gd name="T43" fmla="*/ 2299 h 2358"/>
                  <a:gd name="T44" fmla="*/ 41 w 5870"/>
                  <a:gd name="T45" fmla="*/ 2332 h 2358"/>
                  <a:gd name="T46" fmla="*/ 79 w 5870"/>
                  <a:gd name="T47" fmla="*/ 2353 h 2358"/>
                  <a:gd name="T48" fmla="*/ 122 w 5870"/>
                  <a:gd name="T49" fmla="*/ 2358 h 2358"/>
                  <a:gd name="T50" fmla="*/ 158 w 5870"/>
                  <a:gd name="T51" fmla="*/ 2348 h 2358"/>
                  <a:gd name="T52" fmla="*/ 189 w 5870"/>
                  <a:gd name="T53" fmla="*/ 2328 h 2358"/>
                  <a:gd name="T54" fmla="*/ 212 w 5870"/>
                  <a:gd name="T55" fmla="*/ 2299 h 2358"/>
                  <a:gd name="T56" fmla="*/ 2154 w 5870"/>
                  <a:gd name="T57" fmla="*/ 2273 h 2358"/>
                  <a:gd name="T58" fmla="*/ 2487 w 5870"/>
                  <a:gd name="T59" fmla="*/ 2272 h 2358"/>
                  <a:gd name="T60" fmla="*/ 2820 w 5870"/>
                  <a:gd name="T61" fmla="*/ 2266 h 2358"/>
                  <a:gd name="T62" fmla="*/ 3015 w 5870"/>
                  <a:gd name="T63" fmla="*/ 2253 h 2358"/>
                  <a:gd name="T64" fmla="*/ 3191 w 5870"/>
                  <a:gd name="T65" fmla="*/ 2232 h 2358"/>
                  <a:gd name="T66" fmla="*/ 3354 w 5870"/>
                  <a:gd name="T67" fmla="*/ 2199 h 2358"/>
                  <a:gd name="T68" fmla="*/ 3507 w 5870"/>
                  <a:gd name="T69" fmla="*/ 2153 h 2358"/>
                  <a:gd name="T70" fmla="*/ 3654 w 5870"/>
                  <a:gd name="T71" fmla="*/ 2091 h 2358"/>
                  <a:gd name="T72" fmla="*/ 3799 w 5870"/>
                  <a:gd name="T73" fmla="*/ 2012 h 2358"/>
                  <a:gd name="T74" fmla="*/ 3947 w 5870"/>
                  <a:gd name="T75" fmla="*/ 1912 h 2358"/>
                  <a:gd name="T76" fmla="*/ 4101 w 5870"/>
                  <a:gd name="T77" fmla="*/ 1790 h 2358"/>
                  <a:gd name="T78" fmla="*/ 4242 w 5870"/>
                  <a:gd name="T79" fmla="*/ 1664 h 2358"/>
                  <a:gd name="T80" fmla="*/ 4378 w 5870"/>
                  <a:gd name="T81" fmla="*/ 1532 h 2358"/>
                  <a:gd name="T82" fmla="*/ 166 w 5870"/>
                  <a:gd name="T83" fmla="*/ 2262 h 2358"/>
                  <a:gd name="T84" fmla="*/ 145 w 5870"/>
                  <a:gd name="T85" fmla="*/ 2292 h 2358"/>
                  <a:gd name="T86" fmla="*/ 119 w 5870"/>
                  <a:gd name="T87" fmla="*/ 2301 h 2358"/>
                  <a:gd name="T88" fmla="*/ 96 w 5870"/>
                  <a:gd name="T89" fmla="*/ 2299 h 2358"/>
                  <a:gd name="T90" fmla="*/ 66 w 5870"/>
                  <a:gd name="T91" fmla="*/ 2277 h 2358"/>
                  <a:gd name="T92" fmla="*/ 57 w 5870"/>
                  <a:gd name="T93" fmla="*/ 2251 h 2358"/>
                  <a:gd name="T94" fmla="*/ 59 w 5870"/>
                  <a:gd name="T95" fmla="*/ 2228 h 2358"/>
                  <a:gd name="T96" fmla="*/ 81 w 5870"/>
                  <a:gd name="T97" fmla="*/ 2198 h 2358"/>
                  <a:gd name="T98" fmla="*/ 107 w 5870"/>
                  <a:gd name="T99" fmla="*/ 2189 h 2358"/>
                  <a:gd name="T100" fmla="*/ 130 w 5870"/>
                  <a:gd name="T101" fmla="*/ 2192 h 2358"/>
                  <a:gd name="T102" fmla="*/ 160 w 5870"/>
                  <a:gd name="T103" fmla="*/ 2213 h 2358"/>
                  <a:gd name="T104" fmla="*/ 169 w 5870"/>
                  <a:gd name="T105" fmla="*/ 2239 h 2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70" h="2358">
                    <a:moveTo>
                      <a:pt x="4378" y="1532"/>
                    </a:moveTo>
                    <a:lnTo>
                      <a:pt x="5870" y="40"/>
                    </a:lnTo>
                    <a:lnTo>
                      <a:pt x="5830" y="0"/>
                    </a:lnTo>
                    <a:lnTo>
                      <a:pt x="4339" y="1492"/>
                    </a:lnTo>
                    <a:lnTo>
                      <a:pt x="4294" y="1536"/>
                    </a:lnTo>
                    <a:lnTo>
                      <a:pt x="4249" y="1580"/>
                    </a:lnTo>
                    <a:lnTo>
                      <a:pt x="4204" y="1623"/>
                    </a:lnTo>
                    <a:lnTo>
                      <a:pt x="4158" y="1666"/>
                    </a:lnTo>
                    <a:lnTo>
                      <a:pt x="4111" y="1708"/>
                    </a:lnTo>
                    <a:lnTo>
                      <a:pt x="4064" y="1750"/>
                    </a:lnTo>
                    <a:lnTo>
                      <a:pt x="4016" y="1790"/>
                    </a:lnTo>
                    <a:lnTo>
                      <a:pt x="3965" y="1829"/>
                    </a:lnTo>
                    <a:lnTo>
                      <a:pt x="3916" y="1867"/>
                    </a:lnTo>
                    <a:lnTo>
                      <a:pt x="3865" y="1904"/>
                    </a:lnTo>
                    <a:lnTo>
                      <a:pt x="3812" y="1938"/>
                    </a:lnTo>
                    <a:lnTo>
                      <a:pt x="3759" y="1971"/>
                    </a:lnTo>
                    <a:lnTo>
                      <a:pt x="3732" y="1987"/>
                    </a:lnTo>
                    <a:lnTo>
                      <a:pt x="3705" y="2002"/>
                    </a:lnTo>
                    <a:lnTo>
                      <a:pt x="3677" y="2017"/>
                    </a:lnTo>
                    <a:lnTo>
                      <a:pt x="3650" y="2032"/>
                    </a:lnTo>
                    <a:lnTo>
                      <a:pt x="3622" y="2045"/>
                    </a:lnTo>
                    <a:lnTo>
                      <a:pt x="3593" y="2059"/>
                    </a:lnTo>
                    <a:lnTo>
                      <a:pt x="3564" y="2071"/>
                    </a:lnTo>
                    <a:lnTo>
                      <a:pt x="3535" y="2083"/>
                    </a:lnTo>
                    <a:lnTo>
                      <a:pt x="3508" y="2093"/>
                    </a:lnTo>
                    <a:lnTo>
                      <a:pt x="3480" y="2104"/>
                    </a:lnTo>
                    <a:lnTo>
                      <a:pt x="3453" y="2113"/>
                    </a:lnTo>
                    <a:lnTo>
                      <a:pt x="3425" y="2121"/>
                    </a:lnTo>
                    <a:lnTo>
                      <a:pt x="3368" y="2137"/>
                    </a:lnTo>
                    <a:lnTo>
                      <a:pt x="3311" y="2151"/>
                    </a:lnTo>
                    <a:lnTo>
                      <a:pt x="3255" y="2164"/>
                    </a:lnTo>
                    <a:lnTo>
                      <a:pt x="3197" y="2174"/>
                    </a:lnTo>
                    <a:lnTo>
                      <a:pt x="3139" y="2183"/>
                    </a:lnTo>
                    <a:lnTo>
                      <a:pt x="3081" y="2191"/>
                    </a:lnTo>
                    <a:lnTo>
                      <a:pt x="3022" y="2196"/>
                    </a:lnTo>
                    <a:lnTo>
                      <a:pt x="2963" y="2202"/>
                    </a:lnTo>
                    <a:lnTo>
                      <a:pt x="2906" y="2206"/>
                    </a:lnTo>
                    <a:lnTo>
                      <a:pt x="2847" y="2209"/>
                    </a:lnTo>
                    <a:lnTo>
                      <a:pt x="2788" y="2211"/>
                    </a:lnTo>
                    <a:lnTo>
                      <a:pt x="2729" y="2212"/>
                    </a:lnTo>
                    <a:lnTo>
                      <a:pt x="2671" y="2214"/>
                    </a:lnTo>
                    <a:lnTo>
                      <a:pt x="2612" y="2216"/>
                    </a:lnTo>
                    <a:lnTo>
                      <a:pt x="2555" y="2217"/>
                    </a:lnTo>
                    <a:lnTo>
                      <a:pt x="2498" y="2217"/>
                    </a:lnTo>
                    <a:lnTo>
                      <a:pt x="2441" y="2217"/>
                    </a:lnTo>
                    <a:lnTo>
                      <a:pt x="2383" y="2218"/>
                    </a:lnTo>
                    <a:lnTo>
                      <a:pt x="2326" y="2218"/>
                    </a:lnTo>
                    <a:lnTo>
                      <a:pt x="2269" y="2218"/>
                    </a:lnTo>
                    <a:lnTo>
                      <a:pt x="2212" y="2218"/>
                    </a:lnTo>
                    <a:lnTo>
                      <a:pt x="2154" y="2218"/>
                    </a:lnTo>
                    <a:lnTo>
                      <a:pt x="222" y="2218"/>
                    </a:lnTo>
                    <a:lnTo>
                      <a:pt x="219" y="2208"/>
                    </a:lnTo>
                    <a:lnTo>
                      <a:pt x="215" y="2199"/>
                    </a:lnTo>
                    <a:lnTo>
                      <a:pt x="212" y="2192"/>
                    </a:lnTo>
                    <a:lnTo>
                      <a:pt x="207" y="2183"/>
                    </a:lnTo>
                    <a:lnTo>
                      <a:pt x="201" y="2176"/>
                    </a:lnTo>
                    <a:lnTo>
                      <a:pt x="196" y="2169"/>
                    </a:lnTo>
                    <a:lnTo>
                      <a:pt x="189" y="2163"/>
                    </a:lnTo>
                    <a:lnTo>
                      <a:pt x="182" y="2157"/>
                    </a:lnTo>
                    <a:lnTo>
                      <a:pt x="175" y="2151"/>
                    </a:lnTo>
                    <a:lnTo>
                      <a:pt x="167" y="2147"/>
                    </a:lnTo>
                    <a:lnTo>
                      <a:pt x="158" y="2143"/>
                    </a:lnTo>
                    <a:lnTo>
                      <a:pt x="150" y="2139"/>
                    </a:lnTo>
                    <a:lnTo>
                      <a:pt x="141" y="2136"/>
                    </a:lnTo>
                    <a:lnTo>
                      <a:pt x="132" y="2134"/>
                    </a:lnTo>
                    <a:lnTo>
                      <a:pt x="122" y="2133"/>
                    </a:lnTo>
                    <a:lnTo>
                      <a:pt x="112" y="2133"/>
                    </a:lnTo>
                    <a:lnTo>
                      <a:pt x="101" y="2133"/>
                    </a:lnTo>
                    <a:lnTo>
                      <a:pt x="90" y="2135"/>
                    </a:lnTo>
                    <a:lnTo>
                      <a:pt x="79" y="2137"/>
                    </a:lnTo>
                    <a:lnTo>
                      <a:pt x="69" y="2142"/>
                    </a:lnTo>
                    <a:lnTo>
                      <a:pt x="59" y="2146"/>
                    </a:lnTo>
                    <a:lnTo>
                      <a:pt x="49" y="2152"/>
                    </a:lnTo>
                    <a:lnTo>
                      <a:pt x="41" y="2159"/>
                    </a:lnTo>
                    <a:lnTo>
                      <a:pt x="33" y="2165"/>
                    </a:lnTo>
                    <a:lnTo>
                      <a:pt x="26" y="2174"/>
                    </a:lnTo>
                    <a:lnTo>
                      <a:pt x="19" y="2182"/>
                    </a:lnTo>
                    <a:lnTo>
                      <a:pt x="14" y="2192"/>
                    </a:lnTo>
                    <a:lnTo>
                      <a:pt x="9" y="2202"/>
                    </a:lnTo>
                    <a:lnTo>
                      <a:pt x="5" y="2212"/>
                    </a:lnTo>
                    <a:lnTo>
                      <a:pt x="2" y="2223"/>
                    </a:lnTo>
                    <a:lnTo>
                      <a:pt x="1" y="2234"/>
                    </a:lnTo>
                    <a:lnTo>
                      <a:pt x="0" y="2246"/>
                    </a:lnTo>
                    <a:lnTo>
                      <a:pt x="1" y="2257"/>
                    </a:lnTo>
                    <a:lnTo>
                      <a:pt x="2" y="2268"/>
                    </a:lnTo>
                    <a:lnTo>
                      <a:pt x="5" y="2279"/>
                    </a:lnTo>
                    <a:lnTo>
                      <a:pt x="9" y="2289"/>
                    </a:lnTo>
                    <a:lnTo>
                      <a:pt x="14" y="2299"/>
                    </a:lnTo>
                    <a:lnTo>
                      <a:pt x="19" y="2309"/>
                    </a:lnTo>
                    <a:lnTo>
                      <a:pt x="26" y="2317"/>
                    </a:lnTo>
                    <a:lnTo>
                      <a:pt x="33" y="2325"/>
                    </a:lnTo>
                    <a:lnTo>
                      <a:pt x="41" y="2332"/>
                    </a:lnTo>
                    <a:lnTo>
                      <a:pt x="49" y="2339"/>
                    </a:lnTo>
                    <a:lnTo>
                      <a:pt x="59" y="2344"/>
                    </a:lnTo>
                    <a:lnTo>
                      <a:pt x="69" y="2349"/>
                    </a:lnTo>
                    <a:lnTo>
                      <a:pt x="79" y="2353"/>
                    </a:lnTo>
                    <a:lnTo>
                      <a:pt x="90" y="2356"/>
                    </a:lnTo>
                    <a:lnTo>
                      <a:pt x="101" y="2357"/>
                    </a:lnTo>
                    <a:lnTo>
                      <a:pt x="112" y="2358"/>
                    </a:lnTo>
                    <a:lnTo>
                      <a:pt x="122" y="2358"/>
                    </a:lnTo>
                    <a:lnTo>
                      <a:pt x="132" y="2356"/>
                    </a:lnTo>
                    <a:lnTo>
                      <a:pt x="141" y="2355"/>
                    </a:lnTo>
                    <a:lnTo>
                      <a:pt x="150" y="2352"/>
                    </a:lnTo>
                    <a:lnTo>
                      <a:pt x="158" y="2348"/>
                    </a:lnTo>
                    <a:lnTo>
                      <a:pt x="167" y="2344"/>
                    </a:lnTo>
                    <a:lnTo>
                      <a:pt x="175" y="2339"/>
                    </a:lnTo>
                    <a:lnTo>
                      <a:pt x="182" y="2333"/>
                    </a:lnTo>
                    <a:lnTo>
                      <a:pt x="189" y="2328"/>
                    </a:lnTo>
                    <a:lnTo>
                      <a:pt x="196" y="2322"/>
                    </a:lnTo>
                    <a:lnTo>
                      <a:pt x="201" y="2314"/>
                    </a:lnTo>
                    <a:lnTo>
                      <a:pt x="207" y="2307"/>
                    </a:lnTo>
                    <a:lnTo>
                      <a:pt x="212" y="2299"/>
                    </a:lnTo>
                    <a:lnTo>
                      <a:pt x="215" y="2291"/>
                    </a:lnTo>
                    <a:lnTo>
                      <a:pt x="219" y="2282"/>
                    </a:lnTo>
                    <a:lnTo>
                      <a:pt x="222" y="2273"/>
                    </a:lnTo>
                    <a:lnTo>
                      <a:pt x="2154" y="2273"/>
                    </a:lnTo>
                    <a:lnTo>
                      <a:pt x="2237" y="2273"/>
                    </a:lnTo>
                    <a:lnTo>
                      <a:pt x="2321" y="2273"/>
                    </a:lnTo>
                    <a:lnTo>
                      <a:pt x="2403" y="2273"/>
                    </a:lnTo>
                    <a:lnTo>
                      <a:pt x="2487" y="2272"/>
                    </a:lnTo>
                    <a:lnTo>
                      <a:pt x="2570" y="2272"/>
                    </a:lnTo>
                    <a:lnTo>
                      <a:pt x="2654" y="2270"/>
                    </a:lnTo>
                    <a:lnTo>
                      <a:pt x="2737" y="2268"/>
                    </a:lnTo>
                    <a:lnTo>
                      <a:pt x="2820" y="2266"/>
                    </a:lnTo>
                    <a:lnTo>
                      <a:pt x="2871" y="2263"/>
                    </a:lnTo>
                    <a:lnTo>
                      <a:pt x="2920" y="2261"/>
                    </a:lnTo>
                    <a:lnTo>
                      <a:pt x="2968" y="2256"/>
                    </a:lnTo>
                    <a:lnTo>
                      <a:pt x="3015" y="2253"/>
                    </a:lnTo>
                    <a:lnTo>
                      <a:pt x="3061" y="2249"/>
                    </a:lnTo>
                    <a:lnTo>
                      <a:pt x="3105" y="2243"/>
                    </a:lnTo>
                    <a:lnTo>
                      <a:pt x="3149" y="2238"/>
                    </a:lnTo>
                    <a:lnTo>
                      <a:pt x="3191" y="2232"/>
                    </a:lnTo>
                    <a:lnTo>
                      <a:pt x="3233" y="2224"/>
                    </a:lnTo>
                    <a:lnTo>
                      <a:pt x="3274" y="2217"/>
                    </a:lnTo>
                    <a:lnTo>
                      <a:pt x="3314" y="2208"/>
                    </a:lnTo>
                    <a:lnTo>
                      <a:pt x="3354" y="2199"/>
                    </a:lnTo>
                    <a:lnTo>
                      <a:pt x="3394" y="2189"/>
                    </a:lnTo>
                    <a:lnTo>
                      <a:pt x="3431" y="2178"/>
                    </a:lnTo>
                    <a:lnTo>
                      <a:pt x="3470" y="2166"/>
                    </a:lnTo>
                    <a:lnTo>
                      <a:pt x="3507" y="2153"/>
                    </a:lnTo>
                    <a:lnTo>
                      <a:pt x="3545" y="2139"/>
                    </a:lnTo>
                    <a:lnTo>
                      <a:pt x="3581" y="2124"/>
                    </a:lnTo>
                    <a:lnTo>
                      <a:pt x="3617" y="2108"/>
                    </a:lnTo>
                    <a:lnTo>
                      <a:pt x="3654" y="2091"/>
                    </a:lnTo>
                    <a:lnTo>
                      <a:pt x="3690" y="2074"/>
                    </a:lnTo>
                    <a:lnTo>
                      <a:pt x="3727" y="2055"/>
                    </a:lnTo>
                    <a:lnTo>
                      <a:pt x="3763" y="2035"/>
                    </a:lnTo>
                    <a:lnTo>
                      <a:pt x="3799" y="2012"/>
                    </a:lnTo>
                    <a:lnTo>
                      <a:pt x="3836" y="1990"/>
                    </a:lnTo>
                    <a:lnTo>
                      <a:pt x="3873" y="1965"/>
                    </a:lnTo>
                    <a:lnTo>
                      <a:pt x="3910" y="1939"/>
                    </a:lnTo>
                    <a:lnTo>
                      <a:pt x="3947" y="1912"/>
                    </a:lnTo>
                    <a:lnTo>
                      <a:pt x="3985" y="1885"/>
                    </a:lnTo>
                    <a:lnTo>
                      <a:pt x="4023" y="1855"/>
                    </a:lnTo>
                    <a:lnTo>
                      <a:pt x="4062" y="1823"/>
                    </a:lnTo>
                    <a:lnTo>
                      <a:pt x="4101" y="1790"/>
                    </a:lnTo>
                    <a:lnTo>
                      <a:pt x="4137" y="1759"/>
                    </a:lnTo>
                    <a:lnTo>
                      <a:pt x="4172" y="1728"/>
                    </a:lnTo>
                    <a:lnTo>
                      <a:pt x="4207" y="1696"/>
                    </a:lnTo>
                    <a:lnTo>
                      <a:pt x="4242" y="1664"/>
                    </a:lnTo>
                    <a:lnTo>
                      <a:pt x="4277" y="1632"/>
                    </a:lnTo>
                    <a:lnTo>
                      <a:pt x="4310" y="1599"/>
                    </a:lnTo>
                    <a:lnTo>
                      <a:pt x="4344" y="1565"/>
                    </a:lnTo>
                    <a:lnTo>
                      <a:pt x="4378" y="1532"/>
                    </a:lnTo>
                    <a:close/>
                    <a:moveTo>
                      <a:pt x="169" y="2246"/>
                    </a:moveTo>
                    <a:lnTo>
                      <a:pt x="169" y="2251"/>
                    </a:lnTo>
                    <a:lnTo>
                      <a:pt x="168" y="2256"/>
                    </a:lnTo>
                    <a:lnTo>
                      <a:pt x="166" y="2262"/>
                    </a:lnTo>
                    <a:lnTo>
                      <a:pt x="165" y="2267"/>
                    </a:lnTo>
                    <a:lnTo>
                      <a:pt x="160" y="2277"/>
                    </a:lnTo>
                    <a:lnTo>
                      <a:pt x="152" y="2285"/>
                    </a:lnTo>
                    <a:lnTo>
                      <a:pt x="145" y="2292"/>
                    </a:lnTo>
                    <a:lnTo>
                      <a:pt x="135" y="2297"/>
                    </a:lnTo>
                    <a:lnTo>
                      <a:pt x="130" y="2299"/>
                    </a:lnTo>
                    <a:lnTo>
                      <a:pt x="124" y="2300"/>
                    </a:lnTo>
                    <a:lnTo>
                      <a:pt x="119" y="2301"/>
                    </a:lnTo>
                    <a:lnTo>
                      <a:pt x="112" y="2301"/>
                    </a:lnTo>
                    <a:lnTo>
                      <a:pt x="107" y="2301"/>
                    </a:lnTo>
                    <a:lnTo>
                      <a:pt x="102" y="2300"/>
                    </a:lnTo>
                    <a:lnTo>
                      <a:pt x="96" y="2299"/>
                    </a:lnTo>
                    <a:lnTo>
                      <a:pt x="91" y="2297"/>
                    </a:lnTo>
                    <a:lnTo>
                      <a:pt x="81" y="2292"/>
                    </a:lnTo>
                    <a:lnTo>
                      <a:pt x="73" y="2285"/>
                    </a:lnTo>
                    <a:lnTo>
                      <a:pt x="66" y="2277"/>
                    </a:lnTo>
                    <a:lnTo>
                      <a:pt x="61" y="2267"/>
                    </a:lnTo>
                    <a:lnTo>
                      <a:pt x="59" y="2262"/>
                    </a:lnTo>
                    <a:lnTo>
                      <a:pt x="58" y="2256"/>
                    </a:lnTo>
                    <a:lnTo>
                      <a:pt x="57" y="2251"/>
                    </a:lnTo>
                    <a:lnTo>
                      <a:pt x="57" y="2246"/>
                    </a:lnTo>
                    <a:lnTo>
                      <a:pt x="57" y="2239"/>
                    </a:lnTo>
                    <a:lnTo>
                      <a:pt x="58" y="2234"/>
                    </a:lnTo>
                    <a:lnTo>
                      <a:pt x="59" y="2228"/>
                    </a:lnTo>
                    <a:lnTo>
                      <a:pt x="61" y="2223"/>
                    </a:lnTo>
                    <a:lnTo>
                      <a:pt x="66" y="2213"/>
                    </a:lnTo>
                    <a:lnTo>
                      <a:pt x="73" y="2206"/>
                    </a:lnTo>
                    <a:lnTo>
                      <a:pt x="81" y="2198"/>
                    </a:lnTo>
                    <a:lnTo>
                      <a:pt x="91" y="2193"/>
                    </a:lnTo>
                    <a:lnTo>
                      <a:pt x="96" y="2192"/>
                    </a:lnTo>
                    <a:lnTo>
                      <a:pt x="102" y="2190"/>
                    </a:lnTo>
                    <a:lnTo>
                      <a:pt x="107" y="2189"/>
                    </a:lnTo>
                    <a:lnTo>
                      <a:pt x="112" y="2189"/>
                    </a:lnTo>
                    <a:lnTo>
                      <a:pt x="119" y="2189"/>
                    </a:lnTo>
                    <a:lnTo>
                      <a:pt x="124" y="2190"/>
                    </a:lnTo>
                    <a:lnTo>
                      <a:pt x="130" y="2192"/>
                    </a:lnTo>
                    <a:lnTo>
                      <a:pt x="135" y="2193"/>
                    </a:lnTo>
                    <a:lnTo>
                      <a:pt x="145" y="2198"/>
                    </a:lnTo>
                    <a:lnTo>
                      <a:pt x="152" y="2206"/>
                    </a:lnTo>
                    <a:lnTo>
                      <a:pt x="160" y="2213"/>
                    </a:lnTo>
                    <a:lnTo>
                      <a:pt x="165" y="2223"/>
                    </a:lnTo>
                    <a:lnTo>
                      <a:pt x="166" y="2228"/>
                    </a:lnTo>
                    <a:lnTo>
                      <a:pt x="168" y="2234"/>
                    </a:lnTo>
                    <a:lnTo>
                      <a:pt x="169" y="2239"/>
                    </a:lnTo>
                    <a:lnTo>
                      <a:pt x="169" y="2246"/>
                    </a:lnTo>
                    <a:close/>
                  </a:path>
                </a:pathLst>
              </a:custGeom>
              <a:solidFill>
                <a:srgbClr val="EAAE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s-ES">
                  <a:solidFill>
                    <a:prstClr val="black"/>
                  </a:solidFill>
                  <a:latin typeface="Helvetica"/>
                </a:endParaRPr>
              </a:p>
            </p:txBody>
          </p:sp>
          <p:sp>
            <p:nvSpPr>
              <p:cNvPr id="27" name="Freeform 16">
                <a:extLst>
                  <a:ext uri="{FF2B5EF4-FFF2-40B4-BE49-F238E27FC236}">
                    <a16:creationId xmlns:a16="http://schemas.microsoft.com/office/drawing/2014/main" id="{6EAE18C2-D58C-4B86-A8FA-55B43B694A5D}"/>
                  </a:ext>
                </a:extLst>
              </p:cNvPr>
              <p:cNvSpPr>
                <a:spLocks noEditPoints="1"/>
              </p:cNvSpPr>
              <p:nvPr/>
            </p:nvSpPr>
            <p:spPr bwMode="auto">
              <a:xfrm>
                <a:off x="6691313" y="2613025"/>
                <a:ext cx="1331912" cy="534988"/>
              </a:xfrm>
              <a:custGeom>
                <a:avLst/>
                <a:gdLst>
                  <a:gd name="T0" fmla="*/ 1531 w 5870"/>
                  <a:gd name="T1" fmla="*/ 866 h 2358"/>
                  <a:gd name="T2" fmla="*/ 1712 w 5870"/>
                  <a:gd name="T3" fmla="*/ 692 h 2358"/>
                  <a:gd name="T4" fmla="*/ 1905 w 5870"/>
                  <a:gd name="T5" fmla="*/ 529 h 2358"/>
                  <a:gd name="T6" fmla="*/ 2111 w 5870"/>
                  <a:gd name="T7" fmla="*/ 387 h 2358"/>
                  <a:gd name="T8" fmla="*/ 2220 w 5870"/>
                  <a:gd name="T9" fmla="*/ 326 h 2358"/>
                  <a:gd name="T10" fmla="*/ 2335 w 5870"/>
                  <a:gd name="T11" fmla="*/ 275 h 2358"/>
                  <a:gd name="T12" fmla="*/ 2445 w 5870"/>
                  <a:gd name="T13" fmla="*/ 237 h 2358"/>
                  <a:gd name="T14" fmla="*/ 2673 w 5870"/>
                  <a:gd name="T15" fmla="*/ 184 h 2358"/>
                  <a:gd name="T16" fmla="*/ 2907 w 5870"/>
                  <a:gd name="T17" fmla="*/ 156 h 2358"/>
                  <a:gd name="T18" fmla="*/ 3141 w 5870"/>
                  <a:gd name="T19" fmla="*/ 146 h 2358"/>
                  <a:gd name="T20" fmla="*/ 3372 w 5870"/>
                  <a:gd name="T21" fmla="*/ 141 h 2358"/>
                  <a:gd name="T22" fmla="*/ 3601 w 5870"/>
                  <a:gd name="T23" fmla="*/ 140 h 2358"/>
                  <a:gd name="T24" fmla="*/ 5651 w 5870"/>
                  <a:gd name="T25" fmla="*/ 150 h 2358"/>
                  <a:gd name="T26" fmla="*/ 5669 w 5870"/>
                  <a:gd name="T27" fmla="*/ 182 h 2358"/>
                  <a:gd name="T28" fmla="*/ 5695 w 5870"/>
                  <a:gd name="T29" fmla="*/ 207 h 2358"/>
                  <a:gd name="T30" fmla="*/ 5729 w 5870"/>
                  <a:gd name="T31" fmla="*/ 222 h 2358"/>
                  <a:gd name="T32" fmla="*/ 5769 w 5870"/>
                  <a:gd name="T33" fmla="*/ 225 h 2358"/>
                  <a:gd name="T34" fmla="*/ 5811 w 5870"/>
                  <a:gd name="T35" fmla="*/ 212 h 2358"/>
                  <a:gd name="T36" fmla="*/ 5844 w 5870"/>
                  <a:gd name="T37" fmla="*/ 184 h 2358"/>
                  <a:gd name="T38" fmla="*/ 5865 w 5870"/>
                  <a:gd name="T39" fmla="*/ 146 h 2358"/>
                  <a:gd name="T40" fmla="*/ 5869 w 5870"/>
                  <a:gd name="T41" fmla="*/ 101 h 2358"/>
                  <a:gd name="T42" fmla="*/ 5856 w 5870"/>
                  <a:gd name="T43" fmla="*/ 59 h 2358"/>
                  <a:gd name="T44" fmla="*/ 5829 w 5870"/>
                  <a:gd name="T45" fmla="*/ 26 h 2358"/>
                  <a:gd name="T46" fmla="*/ 5791 w 5870"/>
                  <a:gd name="T47" fmla="*/ 5 h 2358"/>
                  <a:gd name="T48" fmla="*/ 5748 w 5870"/>
                  <a:gd name="T49" fmla="*/ 0 h 2358"/>
                  <a:gd name="T50" fmla="*/ 5712 w 5870"/>
                  <a:gd name="T51" fmla="*/ 10 h 2358"/>
                  <a:gd name="T52" fmla="*/ 5681 w 5870"/>
                  <a:gd name="T53" fmla="*/ 30 h 2358"/>
                  <a:gd name="T54" fmla="*/ 5658 w 5870"/>
                  <a:gd name="T55" fmla="*/ 59 h 2358"/>
                  <a:gd name="T56" fmla="*/ 3716 w 5870"/>
                  <a:gd name="T57" fmla="*/ 85 h 2358"/>
                  <a:gd name="T58" fmla="*/ 3383 w 5870"/>
                  <a:gd name="T59" fmla="*/ 86 h 2358"/>
                  <a:gd name="T60" fmla="*/ 3050 w 5870"/>
                  <a:gd name="T61" fmla="*/ 92 h 2358"/>
                  <a:gd name="T62" fmla="*/ 2855 w 5870"/>
                  <a:gd name="T63" fmla="*/ 105 h 2358"/>
                  <a:gd name="T64" fmla="*/ 2679 w 5870"/>
                  <a:gd name="T65" fmla="*/ 126 h 2358"/>
                  <a:gd name="T66" fmla="*/ 2516 w 5870"/>
                  <a:gd name="T67" fmla="*/ 159 h 2358"/>
                  <a:gd name="T68" fmla="*/ 2363 w 5870"/>
                  <a:gd name="T69" fmla="*/ 205 h 2358"/>
                  <a:gd name="T70" fmla="*/ 2216 w 5870"/>
                  <a:gd name="T71" fmla="*/ 267 h 2358"/>
                  <a:gd name="T72" fmla="*/ 2071 w 5870"/>
                  <a:gd name="T73" fmla="*/ 346 h 2358"/>
                  <a:gd name="T74" fmla="*/ 1923 w 5870"/>
                  <a:gd name="T75" fmla="*/ 446 h 2358"/>
                  <a:gd name="T76" fmla="*/ 1769 w 5870"/>
                  <a:gd name="T77" fmla="*/ 568 h 2358"/>
                  <a:gd name="T78" fmla="*/ 1628 w 5870"/>
                  <a:gd name="T79" fmla="*/ 694 h 2358"/>
                  <a:gd name="T80" fmla="*/ 1492 w 5870"/>
                  <a:gd name="T81" fmla="*/ 826 h 2358"/>
                  <a:gd name="T82" fmla="*/ 5704 w 5870"/>
                  <a:gd name="T83" fmla="*/ 96 h 2358"/>
                  <a:gd name="T84" fmla="*/ 5725 w 5870"/>
                  <a:gd name="T85" fmla="*/ 66 h 2358"/>
                  <a:gd name="T86" fmla="*/ 5751 w 5870"/>
                  <a:gd name="T87" fmla="*/ 57 h 2358"/>
                  <a:gd name="T88" fmla="*/ 5774 w 5870"/>
                  <a:gd name="T89" fmla="*/ 59 h 2358"/>
                  <a:gd name="T90" fmla="*/ 5804 w 5870"/>
                  <a:gd name="T91" fmla="*/ 81 h 2358"/>
                  <a:gd name="T92" fmla="*/ 5813 w 5870"/>
                  <a:gd name="T93" fmla="*/ 107 h 2358"/>
                  <a:gd name="T94" fmla="*/ 5811 w 5870"/>
                  <a:gd name="T95" fmla="*/ 130 h 2358"/>
                  <a:gd name="T96" fmla="*/ 5789 w 5870"/>
                  <a:gd name="T97" fmla="*/ 160 h 2358"/>
                  <a:gd name="T98" fmla="*/ 5763 w 5870"/>
                  <a:gd name="T99" fmla="*/ 169 h 2358"/>
                  <a:gd name="T100" fmla="*/ 5740 w 5870"/>
                  <a:gd name="T101" fmla="*/ 166 h 2358"/>
                  <a:gd name="T102" fmla="*/ 5710 w 5870"/>
                  <a:gd name="T103" fmla="*/ 145 h 2358"/>
                  <a:gd name="T104" fmla="*/ 5701 w 5870"/>
                  <a:gd name="T105" fmla="*/ 119 h 2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70" h="2358">
                    <a:moveTo>
                      <a:pt x="1492" y="826"/>
                    </a:moveTo>
                    <a:lnTo>
                      <a:pt x="0" y="2318"/>
                    </a:lnTo>
                    <a:lnTo>
                      <a:pt x="40" y="2358"/>
                    </a:lnTo>
                    <a:lnTo>
                      <a:pt x="1531" y="866"/>
                    </a:lnTo>
                    <a:lnTo>
                      <a:pt x="1576" y="822"/>
                    </a:lnTo>
                    <a:lnTo>
                      <a:pt x="1621" y="778"/>
                    </a:lnTo>
                    <a:lnTo>
                      <a:pt x="1666" y="735"/>
                    </a:lnTo>
                    <a:lnTo>
                      <a:pt x="1712" y="692"/>
                    </a:lnTo>
                    <a:lnTo>
                      <a:pt x="1759" y="650"/>
                    </a:lnTo>
                    <a:lnTo>
                      <a:pt x="1806" y="608"/>
                    </a:lnTo>
                    <a:lnTo>
                      <a:pt x="1854" y="568"/>
                    </a:lnTo>
                    <a:lnTo>
                      <a:pt x="1905" y="529"/>
                    </a:lnTo>
                    <a:lnTo>
                      <a:pt x="1954" y="491"/>
                    </a:lnTo>
                    <a:lnTo>
                      <a:pt x="2005" y="454"/>
                    </a:lnTo>
                    <a:lnTo>
                      <a:pt x="2058" y="420"/>
                    </a:lnTo>
                    <a:lnTo>
                      <a:pt x="2111" y="387"/>
                    </a:lnTo>
                    <a:lnTo>
                      <a:pt x="2138" y="371"/>
                    </a:lnTo>
                    <a:lnTo>
                      <a:pt x="2165" y="356"/>
                    </a:lnTo>
                    <a:lnTo>
                      <a:pt x="2193" y="341"/>
                    </a:lnTo>
                    <a:lnTo>
                      <a:pt x="2220" y="326"/>
                    </a:lnTo>
                    <a:lnTo>
                      <a:pt x="2248" y="313"/>
                    </a:lnTo>
                    <a:lnTo>
                      <a:pt x="2277" y="299"/>
                    </a:lnTo>
                    <a:lnTo>
                      <a:pt x="2306" y="287"/>
                    </a:lnTo>
                    <a:lnTo>
                      <a:pt x="2335" y="275"/>
                    </a:lnTo>
                    <a:lnTo>
                      <a:pt x="2362" y="265"/>
                    </a:lnTo>
                    <a:lnTo>
                      <a:pt x="2390" y="254"/>
                    </a:lnTo>
                    <a:lnTo>
                      <a:pt x="2417" y="245"/>
                    </a:lnTo>
                    <a:lnTo>
                      <a:pt x="2445" y="237"/>
                    </a:lnTo>
                    <a:lnTo>
                      <a:pt x="2502" y="221"/>
                    </a:lnTo>
                    <a:lnTo>
                      <a:pt x="2559" y="207"/>
                    </a:lnTo>
                    <a:lnTo>
                      <a:pt x="2615" y="194"/>
                    </a:lnTo>
                    <a:lnTo>
                      <a:pt x="2673" y="184"/>
                    </a:lnTo>
                    <a:lnTo>
                      <a:pt x="2731" y="175"/>
                    </a:lnTo>
                    <a:lnTo>
                      <a:pt x="2789" y="167"/>
                    </a:lnTo>
                    <a:lnTo>
                      <a:pt x="2848" y="162"/>
                    </a:lnTo>
                    <a:lnTo>
                      <a:pt x="2907" y="156"/>
                    </a:lnTo>
                    <a:lnTo>
                      <a:pt x="2964" y="152"/>
                    </a:lnTo>
                    <a:lnTo>
                      <a:pt x="3023" y="150"/>
                    </a:lnTo>
                    <a:lnTo>
                      <a:pt x="3082" y="147"/>
                    </a:lnTo>
                    <a:lnTo>
                      <a:pt x="3141" y="146"/>
                    </a:lnTo>
                    <a:lnTo>
                      <a:pt x="3199" y="144"/>
                    </a:lnTo>
                    <a:lnTo>
                      <a:pt x="3258" y="142"/>
                    </a:lnTo>
                    <a:lnTo>
                      <a:pt x="3315" y="141"/>
                    </a:lnTo>
                    <a:lnTo>
                      <a:pt x="3372" y="141"/>
                    </a:lnTo>
                    <a:lnTo>
                      <a:pt x="3429" y="141"/>
                    </a:lnTo>
                    <a:lnTo>
                      <a:pt x="3487" y="140"/>
                    </a:lnTo>
                    <a:lnTo>
                      <a:pt x="3544" y="140"/>
                    </a:lnTo>
                    <a:lnTo>
                      <a:pt x="3601" y="140"/>
                    </a:lnTo>
                    <a:lnTo>
                      <a:pt x="3658" y="140"/>
                    </a:lnTo>
                    <a:lnTo>
                      <a:pt x="3716" y="140"/>
                    </a:lnTo>
                    <a:lnTo>
                      <a:pt x="5648" y="140"/>
                    </a:lnTo>
                    <a:lnTo>
                      <a:pt x="5651" y="150"/>
                    </a:lnTo>
                    <a:lnTo>
                      <a:pt x="5655" y="159"/>
                    </a:lnTo>
                    <a:lnTo>
                      <a:pt x="5658" y="166"/>
                    </a:lnTo>
                    <a:lnTo>
                      <a:pt x="5663" y="175"/>
                    </a:lnTo>
                    <a:lnTo>
                      <a:pt x="5669" y="182"/>
                    </a:lnTo>
                    <a:lnTo>
                      <a:pt x="5674" y="189"/>
                    </a:lnTo>
                    <a:lnTo>
                      <a:pt x="5681" y="195"/>
                    </a:lnTo>
                    <a:lnTo>
                      <a:pt x="5688" y="201"/>
                    </a:lnTo>
                    <a:lnTo>
                      <a:pt x="5695" y="207"/>
                    </a:lnTo>
                    <a:lnTo>
                      <a:pt x="5703" y="211"/>
                    </a:lnTo>
                    <a:lnTo>
                      <a:pt x="5712" y="215"/>
                    </a:lnTo>
                    <a:lnTo>
                      <a:pt x="5720" y="219"/>
                    </a:lnTo>
                    <a:lnTo>
                      <a:pt x="5729" y="222"/>
                    </a:lnTo>
                    <a:lnTo>
                      <a:pt x="5738" y="224"/>
                    </a:lnTo>
                    <a:lnTo>
                      <a:pt x="5748" y="225"/>
                    </a:lnTo>
                    <a:lnTo>
                      <a:pt x="5758" y="225"/>
                    </a:lnTo>
                    <a:lnTo>
                      <a:pt x="5769" y="225"/>
                    </a:lnTo>
                    <a:lnTo>
                      <a:pt x="5780" y="223"/>
                    </a:lnTo>
                    <a:lnTo>
                      <a:pt x="5791" y="221"/>
                    </a:lnTo>
                    <a:lnTo>
                      <a:pt x="5801" y="216"/>
                    </a:lnTo>
                    <a:lnTo>
                      <a:pt x="5811" y="212"/>
                    </a:lnTo>
                    <a:lnTo>
                      <a:pt x="5821" y="206"/>
                    </a:lnTo>
                    <a:lnTo>
                      <a:pt x="5829" y="199"/>
                    </a:lnTo>
                    <a:lnTo>
                      <a:pt x="5837" y="193"/>
                    </a:lnTo>
                    <a:lnTo>
                      <a:pt x="5844" y="184"/>
                    </a:lnTo>
                    <a:lnTo>
                      <a:pt x="5851" y="176"/>
                    </a:lnTo>
                    <a:lnTo>
                      <a:pt x="5856" y="166"/>
                    </a:lnTo>
                    <a:lnTo>
                      <a:pt x="5861" y="156"/>
                    </a:lnTo>
                    <a:lnTo>
                      <a:pt x="5865" y="146"/>
                    </a:lnTo>
                    <a:lnTo>
                      <a:pt x="5868" y="135"/>
                    </a:lnTo>
                    <a:lnTo>
                      <a:pt x="5869" y="124"/>
                    </a:lnTo>
                    <a:lnTo>
                      <a:pt x="5870" y="112"/>
                    </a:lnTo>
                    <a:lnTo>
                      <a:pt x="5869" y="101"/>
                    </a:lnTo>
                    <a:lnTo>
                      <a:pt x="5868" y="90"/>
                    </a:lnTo>
                    <a:lnTo>
                      <a:pt x="5865" y="79"/>
                    </a:lnTo>
                    <a:lnTo>
                      <a:pt x="5861" y="69"/>
                    </a:lnTo>
                    <a:lnTo>
                      <a:pt x="5856" y="59"/>
                    </a:lnTo>
                    <a:lnTo>
                      <a:pt x="5851" y="49"/>
                    </a:lnTo>
                    <a:lnTo>
                      <a:pt x="5844" y="41"/>
                    </a:lnTo>
                    <a:lnTo>
                      <a:pt x="5837" y="33"/>
                    </a:lnTo>
                    <a:lnTo>
                      <a:pt x="5829" y="26"/>
                    </a:lnTo>
                    <a:lnTo>
                      <a:pt x="5821" y="19"/>
                    </a:lnTo>
                    <a:lnTo>
                      <a:pt x="5811" y="14"/>
                    </a:lnTo>
                    <a:lnTo>
                      <a:pt x="5801" y="9"/>
                    </a:lnTo>
                    <a:lnTo>
                      <a:pt x="5791" y="5"/>
                    </a:lnTo>
                    <a:lnTo>
                      <a:pt x="5780" y="2"/>
                    </a:lnTo>
                    <a:lnTo>
                      <a:pt x="5769" y="1"/>
                    </a:lnTo>
                    <a:lnTo>
                      <a:pt x="5758" y="0"/>
                    </a:lnTo>
                    <a:lnTo>
                      <a:pt x="5748" y="0"/>
                    </a:lnTo>
                    <a:lnTo>
                      <a:pt x="5738" y="2"/>
                    </a:lnTo>
                    <a:lnTo>
                      <a:pt x="5729" y="3"/>
                    </a:lnTo>
                    <a:lnTo>
                      <a:pt x="5720" y="6"/>
                    </a:lnTo>
                    <a:lnTo>
                      <a:pt x="5712" y="10"/>
                    </a:lnTo>
                    <a:lnTo>
                      <a:pt x="5703" y="14"/>
                    </a:lnTo>
                    <a:lnTo>
                      <a:pt x="5695" y="19"/>
                    </a:lnTo>
                    <a:lnTo>
                      <a:pt x="5688" y="25"/>
                    </a:lnTo>
                    <a:lnTo>
                      <a:pt x="5681" y="30"/>
                    </a:lnTo>
                    <a:lnTo>
                      <a:pt x="5674" y="36"/>
                    </a:lnTo>
                    <a:lnTo>
                      <a:pt x="5669" y="44"/>
                    </a:lnTo>
                    <a:lnTo>
                      <a:pt x="5663" y="51"/>
                    </a:lnTo>
                    <a:lnTo>
                      <a:pt x="5658" y="59"/>
                    </a:lnTo>
                    <a:lnTo>
                      <a:pt x="5655" y="67"/>
                    </a:lnTo>
                    <a:lnTo>
                      <a:pt x="5651" y="76"/>
                    </a:lnTo>
                    <a:lnTo>
                      <a:pt x="5648" y="85"/>
                    </a:lnTo>
                    <a:lnTo>
                      <a:pt x="3716" y="85"/>
                    </a:lnTo>
                    <a:lnTo>
                      <a:pt x="3633" y="85"/>
                    </a:lnTo>
                    <a:lnTo>
                      <a:pt x="3549" y="85"/>
                    </a:lnTo>
                    <a:lnTo>
                      <a:pt x="3467" y="85"/>
                    </a:lnTo>
                    <a:lnTo>
                      <a:pt x="3383" y="86"/>
                    </a:lnTo>
                    <a:lnTo>
                      <a:pt x="3300" y="86"/>
                    </a:lnTo>
                    <a:lnTo>
                      <a:pt x="3216" y="88"/>
                    </a:lnTo>
                    <a:lnTo>
                      <a:pt x="3133" y="90"/>
                    </a:lnTo>
                    <a:lnTo>
                      <a:pt x="3050" y="92"/>
                    </a:lnTo>
                    <a:lnTo>
                      <a:pt x="2999" y="95"/>
                    </a:lnTo>
                    <a:lnTo>
                      <a:pt x="2950" y="97"/>
                    </a:lnTo>
                    <a:lnTo>
                      <a:pt x="2902" y="102"/>
                    </a:lnTo>
                    <a:lnTo>
                      <a:pt x="2855" y="105"/>
                    </a:lnTo>
                    <a:lnTo>
                      <a:pt x="2809" y="109"/>
                    </a:lnTo>
                    <a:lnTo>
                      <a:pt x="2765" y="115"/>
                    </a:lnTo>
                    <a:lnTo>
                      <a:pt x="2721" y="120"/>
                    </a:lnTo>
                    <a:lnTo>
                      <a:pt x="2679" y="126"/>
                    </a:lnTo>
                    <a:lnTo>
                      <a:pt x="2637" y="134"/>
                    </a:lnTo>
                    <a:lnTo>
                      <a:pt x="2596" y="141"/>
                    </a:lnTo>
                    <a:lnTo>
                      <a:pt x="2556" y="150"/>
                    </a:lnTo>
                    <a:lnTo>
                      <a:pt x="2516" y="159"/>
                    </a:lnTo>
                    <a:lnTo>
                      <a:pt x="2476" y="169"/>
                    </a:lnTo>
                    <a:lnTo>
                      <a:pt x="2439" y="180"/>
                    </a:lnTo>
                    <a:lnTo>
                      <a:pt x="2400" y="192"/>
                    </a:lnTo>
                    <a:lnTo>
                      <a:pt x="2363" y="205"/>
                    </a:lnTo>
                    <a:lnTo>
                      <a:pt x="2325" y="219"/>
                    </a:lnTo>
                    <a:lnTo>
                      <a:pt x="2289" y="234"/>
                    </a:lnTo>
                    <a:lnTo>
                      <a:pt x="2253" y="250"/>
                    </a:lnTo>
                    <a:lnTo>
                      <a:pt x="2216" y="267"/>
                    </a:lnTo>
                    <a:lnTo>
                      <a:pt x="2180" y="284"/>
                    </a:lnTo>
                    <a:lnTo>
                      <a:pt x="2143" y="303"/>
                    </a:lnTo>
                    <a:lnTo>
                      <a:pt x="2107" y="323"/>
                    </a:lnTo>
                    <a:lnTo>
                      <a:pt x="2071" y="346"/>
                    </a:lnTo>
                    <a:lnTo>
                      <a:pt x="2034" y="368"/>
                    </a:lnTo>
                    <a:lnTo>
                      <a:pt x="1997" y="393"/>
                    </a:lnTo>
                    <a:lnTo>
                      <a:pt x="1960" y="419"/>
                    </a:lnTo>
                    <a:lnTo>
                      <a:pt x="1923" y="446"/>
                    </a:lnTo>
                    <a:lnTo>
                      <a:pt x="1885" y="473"/>
                    </a:lnTo>
                    <a:lnTo>
                      <a:pt x="1847" y="503"/>
                    </a:lnTo>
                    <a:lnTo>
                      <a:pt x="1808" y="535"/>
                    </a:lnTo>
                    <a:lnTo>
                      <a:pt x="1769" y="568"/>
                    </a:lnTo>
                    <a:lnTo>
                      <a:pt x="1733" y="599"/>
                    </a:lnTo>
                    <a:lnTo>
                      <a:pt x="1698" y="630"/>
                    </a:lnTo>
                    <a:lnTo>
                      <a:pt x="1663" y="662"/>
                    </a:lnTo>
                    <a:lnTo>
                      <a:pt x="1628" y="694"/>
                    </a:lnTo>
                    <a:lnTo>
                      <a:pt x="1593" y="726"/>
                    </a:lnTo>
                    <a:lnTo>
                      <a:pt x="1560" y="759"/>
                    </a:lnTo>
                    <a:lnTo>
                      <a:pt x="1526" y="793"/>
                    </a:lnTo>
                    <a:lnTo>
                      <a:pt x="1492" y="826"/>
                    </a:lnTo>
                    <a:close/>
                    <a:moveTo>
                      <a:pt x="5701" y="112"/>
                    </a:moveTo>
                    <a:lnTo>
                      <a:pt x="5701" y="107"/>
                    </a:lnTo>
                    <a:lnTo>
                      <a:pt x="5702" y="102"/>
                    </a:lnTo>
                    <a:lnTo>
                      <a:pt x="5704" y="96"/>
                    </a:lnTo>
                    <a:lnTo>
                      <a:pt x="5705" y="91"/>
                    </a:lnTo>
                    <a:lnTo>
                      <a:pt x="5710" y="81"/>
                    </a:lnTo>
                    <a:lnTo>
                      <a:pt x="5718" y="73"/>
                    </a:lnTo>
                    <a:lnTo>
                      <a:pt x="5725" y="66"/>
                    </a:lnTo>
                    <a:lnTo>
                      <a:pt x="5735" y="61"/>
                    </a:lnTo>
                    <a:lnTo>
                      <a:pt x="5740" y="59"/>
                    </a:lnTo>
                    <a:lnTo>
                      <a:pt x="5746" y="58"/>
                    </a:lnTo>
                    <a:lnTo>
                      <a:pt x="5751" y="57"/>
                    </a:lnTo>
                    <a:lnTo>
                      <a:pt x="5758" y="57"/>
                    </a:lnTo>
                    <a:lnTo>
                      <a:pt x="5763" y="57"/>
                    </a:lnTo>
                    <a:lnTo>
                      <a:pt x="5768" y="58"/>
                    </a:lnTo>
                    <a:lnTo>
                      <a:pt x="5774" y="59"/>
                    </a:lnTo>
                    <a:lnTo>
                      <a:pt x="5779" y="61"/>
                    </a:lnTo>
                    <a:lnTo>
                      <a:pt x="5789" y="66"/>
                    </a:lnTo>
                    <a:lnTo>
                      <a:pt x="5797" y="73"/>
                    </a:lnTo>
                    <a:lnTo>
                      <a:pt x="5804" y="81"/>
                    </a:lnTo>
                    <a:lnTo>
                      <a:pt x="5809" y="91"/>
                    </a:lnTo>
                    <a:lnTo>
                      <a:pt x="5811" y="96"/>
                    </a:lnTo>
                    <a:lnTo>
                      <a:pt x="5812" y="102"/>
                    </a:lnTo>
                    <a:lnTo>
                      <a:pt x="5813" y="107"/>
                    </a:lnTo>
                    <a:lnTo>
                      <a:pt x="5813" y="112"/>
                    </a:lnTo>
                    <a:lnTo>
                      <a:pt x="5813" y="119"/>
                    </a:lnTo>
                    <a:lnTo>
                      <a:pt x="5812" y="124"/>
                    </a:lnTo>
                    <a:lnTo>
                      <a:pt x="5811" y="130"/>
                    </a:lnTo>
                    <a:lnTo>
                      <a:pt x="5809" y="135"/>
                    </a:lnTo>
                    <a:lnTo>
                      <a:pt x="5804" y="145"/>
                    </a:lnTo>
                    <a:lnTo>
                      <a:pt x="5797" y="152"/>
                    </a:lnTo>
                    <a:lnTo>
                      <a:pt x="5789" y="160"/>
                    </a:lnTo>
                    <a:lnTo>
                      <a:pt x="5779" y="165"/>
                    </a:lnTo>
                    <a:lnTo>
                      <a:pt x="5774" y="166"/>
                    </a:lnTo>
                    <a:lnTo>
                      <a:pt x="5768" y="168"/>
                    </a:lnTo>
                    <a:lnTo>
                      <a:pt x="5763" y="169"/>
                    </a:lnTo>
                    <a:lnTo>
                      <a:pt x="5758" y="169"/>
                    </a:lnTo>
                    <a:lnTo>
                      <a:pt x="5751" y="169"/>
                    </a:lnTo>
                    <a:lnTo>
                      <a:pt x="5746" y="168"/>
                    </a:lnTo>
                    <a:lnTo>
                      <a:pt x="5740" y="166"/>
                    </a:lnTo>
                    <a:lnTo>
                      <a:pt x="5735" y="165"/>
                    </a:lnTo>
                    <a:lnTo>
                      <a:pt x="5725" y="160"/>
                    </a:lnTo>
                    <a:lnTo>
                      <a:pt x="5718" y="152"/>
                    </a:lnTo>
                    <a:lnTo>
                      <a:pt x="5710" y="145"/>
                    </a:lnTo>
                    <a:lnTo>
                      <a:pt x="5705" y="135"/>
                    </a:lnTo>
                    <a:lnTo>
                      <a:pt x="5704" y="130"/>
                    </a:lnTo>
                    <a:lnTo>
                      <a:pt x="5702" y="124"/>
                    </a:lnTo>
                    <a:lnTo>
                      <a:pt x="5701" y="119"/>
                    </a:lnTo>
                    <a:lnTo>
                      <a:pt x="5701" y="112"/>
                    </a:lnTo>
                    <a:close/>
                  </a:path>
                </a:pathLst>
              </a:custGeom>
              <a:solidFill>
                <a:srgbClr val="EAAE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s-ES">
                  <a:solidFill>
                    <a:prstClr val="black"/>
                  </a:solidFill>
                  <a:latin typeface="Helvetica"/>
                </a:endParaRPr>
              </a:p>
            </p:txBody>
          </p:sp>
          <p:sp>
            <p:nvSpPr>
              <p:cNvPr id="28" name="Freeform 17">
                <a:extLst>
                  <a:ext uri="{FF2B5EF4-FFF2-40B4-BE49-F238E27FC236}">
                    <a16:creationId xmlns:a16="http://schemas.microsoft.com/office/drawing/2014/main" id="{7DA938B0-2632-4F53-8D81-F88866BF9564}"/>
                  </a:ext>
                </a:extLst>
              </p:cNvPr>
              <p:cNvSpPr>
                <a:spLocks noEditPoints="1"/>
              </p:cNvSpPr>
              <p:nvPr/>
            </p:nvSpPr>
            <p:spPr bwMode="auto">
              <a:xfrm>
                <a:off x="7418388" y="4065588"/>
                <a:ext cx="587375" cy="50800"/>
              </a:xfrm>
              <a:custGeom>
                <a:avLst/>
                <a:gdLst>
                  <a:gd name="T0" fmla="*/ 0 w 2589"/>
                  <a:gd name="T1" fmla="*/ 84 h 224"/>
                  <a:gd name="T2" fmla="*/ 2367 w 2589"/>
                  <a:gd name="T3" fmla="*/ 140 h 224"/>
                  <a:gd name="T4" fmla="*/ 2374 w 2589"/>
                  <a:gd name="T5" fmla="*/ 158 h 224"/>
                  <a:gd name="T6" fmla="*/ 2382 w 2589"/>
                  <a:gd name="T7" fmla="*/ 174 h 224"/>
                  <a:gd name="T8" fmla="*/ 2394 w 2589"/>
                  <a:gd name="T9" fmla="*/ 188 h 224"/>
                  <a:gd name="T10" fmla="*/ 2407 w 2589"/>
                  <a:gd name="T11" fmla="*/ 201 h 224"/>
                  <a:gd name="T12" fmla="*/ 2422 w 2589"/>
                  <a:gd name="T13" fmla="*/ 211 h 224"/>
                  <a:gd name="T14" fmla="*/ 2439 w 2589"/>
                  <a:gd name="T15" fmla="*/ 218 h 224"/>
                  <a:gd name="T16" fmla="*/ 2457 w 2589"/>
                  <a:gd name="T17" fmla="*/ 223 h 224"/>
                  <a:gd name="T18" fmla="*/ 2476 w 2589"/>
                  <a:gd name="T19" fmla="*/ 224 h 224"/>
                  <a:gd name="T20" fmla="*/ 2499 w 2589"/>
                  <a:gd name="T21" fmla="*/ 222 h 224"/>
                  <a:gd name="T22" fmla="*/ 2520 w 2589"/>
                  <a:gd name="T23" fmla="*/ 216 h 224"/>
                  <a:gd name="T24" fmla="*/ 2540 w 2589"/>
                  <a:gd name="T25" fmla="*/ 205 h 224"/>
                  <a:gd name="T26" fmla="*/ 2556 w 2589"/>
                  <a:gd name="T27" fmla="*/ 191 h 224"/>
                  <a:gd name="T28" fmla="*/ 2570 w 2589"/>
                  <a:gd name="T29" fmla="*/ 175 h 224"/>
                  <a:gd name="T30" fmla="*/ 2580 w 2589"/>
                  <a:gd name="T31" fmla="*/ 156 h 224"/>
                  <a:gd name="T32" fmla="*/ 2587 w 2589"/>
                  <a:gd name="T33" fmla="*/ 134 h 224"/>
                  <a:gd name="T34" fmla="*/ 2589 w 2589"/>
                  <a:gd name="T35" fmla="*/ 112 h 224"/>
                  <a:gd name="T36" fmla="*/ 2587 w 2589"/>
                  <a:gd name="T37" fmla="*/ 90 h 224"/>
                  <a:gd name="T38" fmla="*/ 2580 w 2589"/>
                  <a:gd name="T39" fmla="*/ 68 h 224"/>
                  <a:gd name="T40" fmla="*/ 2570 w 2589"/>
                  <a:gd name="T41" fmla="*/ 49 h 224"/>
                  <a:gd name="T42" fmla="*/ 2556 w 2589"/>
                  <a:gd name="T43" fmla="*/ 33 h 224"/>
                  <a:gd name="T44" fmla="*/ 2540 w 2589"/>
                  <a:gd name="T45" fmla="*/ 19 h 224"/>
                  <a:gd name="T46" fmla="*/ 2520 w 2589"/>
                  <a:gd name="T47" fmla="*/ 8 h 224"/>
                  <a:gd name="T48" fmla="*/ 2499 w 2589"/>
                  <a:gd name="T49" fmla="*/ 2 h 224"/>
                  <a:gd name="T50" fmla="*/ 2476 w 2589"/>
                  <a:gd name="T51" fmla="*/ 0 h 224"/>
                  <a:gd name="T52" fmla="*/ 2457 w 2589"/>
                  <a:gd name="T53" fmla="*/ 1 h 224"/>
                  <a:gd name="T54" fmla="*/ 2439 w 2589"/>
                  <a:gd name="T55" fmla="*/ 6 h 224"/>
                  <a:gd name="T56" fmla="*/ 2422 w 2589"/>
                  <a:gd name="T57" fmla="*/ 13 h 224"/>
                  <a:gd name="T58" fmla="*/ 2407 w 2589"/>
                  <a:gd name="T59" fmla="*/ 23 h 224"/>
                  <a:gd name="T60" fmla="*/ 2394 w 2589"/>
                  <a:gd name="T61" fmla="*/ 36 h 224"/>
                  <a:gd name="T62" fmla="*/ 2382 w 2589"/>
                  <a:gd name="T63" fmla="*/ 50 h 224"/>
                  <a:gd name="T64" fmla="*/ 2374 w 2589"/>
                  <a:gd name="T65" fmla="*/ 66 h 224"/>
                  <a:gd name="T66" fmla="*/ 2367 w 2589"/>
                  <a:gd name="T67" fmla="*/ 84 h 224"/>
                  <a:gd name="T68" fmla="*/ 2421 w 2589"/>
                  <a:gd name="T69" fmla="*/ 107 h 224"/>
                  <a:gd name="T70" fmla="*/ 2423 w 2589"/>
                  <a:gd name="T71" fmla="*/ 95 h 224"/>
                  <a:gd name="T72" fmla="*/ 2429 w 2589"/>
                  <a:gd name="T73" fmla="*/ 81 h 224"/>
                  <a:gd name="T74" fmla="*/ 2445 w 2589"/>
                  <a:gd name="T75" fmla="*/ 65 h 224"/>
                  <a:gd name="T76" fmla="*/ 2459 w 2589"/>
                  <a:gd name="T77" fmla="*/ 58 h 224"/>
                  <a:gd name="T78" fmla="*/ 2471 w 2589"/>
                  <a:gd name="T79" fmla="*/ 56 h 224"/>
                  <a:gd name="T80" fmla="*/ 2482 w 2589"/>
                  <a:gd name="T81" fmla="*/ 56 h 224"/>
                  <a:gd name="T82" fmla="*/ 2494 w 2589"/>
                  <a:gd name="T83" fmla="*/ 58 h 224"/>
                  <a:gd name="T84" fmla="*/ 2507 w 2589"/>
                  <a:gd name="T85" fmla="*/ 65 h 224"/>
                  <a:gd name="T86" fmla="*/ 2524 w 2589"/>
                  <a:gd name="T87" fmla="*/ 81 h 224"/>
                  <a:gd name="T88" fmla="*/ 2530 w 2589"/>
                  <a:gd name="T89" fmla="*/ 95 h 224"/>
                  <a:gd name="T90" fmla="*/ 2532 w 2589"/>
                  <a:gd name="T91" fmla="*/ 107 h 224"/>
                  <a:gd name="T92" fmla="*/ 2532 w 2589"/>
                  <a:gd name="T93" fmla="*/ 117 h 224"/>
                  <a:gd name="T94" fmla="*/ 2530 w 2589"/>
                  <a:gd name="T95" fmla="*/ 129 h 224"/>
                  <a:gd name="T96" fmla="*/ 2524 w 2589"/>
                  <a:gd name="T97" fmla="*/ 143 h 224"/>
                  <a:gd name="T98" fmla="*/ 2507 w 2589"/>
                  <a:gd name="T99" fmla="*/ 159 h 224"/>
                  <a:gd name="T100" fmla="*/ 2494 w 2589"/>
                  <a:gd name="T101" fmla="*/ 166 h 224"/>
                  <a:gd name="T102" fmla="*/ 2482 w 2589"/>
                  <a:gd name="T103" fmla="*/ 168 h 224"/>
                  <a:gd name="T104" fmla="*/ 2471 w 2589"/>
                  <a:gd name="T105" fmla="*/ 168 h 224"/>
                  <a:gd name="T106" fmla="*/ 2459 w 2589"/>
                  <a:gd name="T107" fmla="*/ 166 h 224"/>
                  <a:gd name="T108" fmla="*/ 2445 w 2589"/>
                  <a:gd name="T109" fmla="*/ 159 h 224"/>
                  <a:gd name="T110" fmla="*/ 2429 w 2589"/>
                  <a:gd name="T111" fmla="*/ 143 h 224"/>
                  <a:gd name="T112" fmla="*/ 2423 w 2589"/>
                  <a:gd name="T113" fmla="*/ 129 h 224"/>
                  <a:gd name="T114" fmla="*/ 2421 w 2589"/>
                  <a:gd name="T115"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89" h="224">
                    <a:moveTo>
                      <a:pt x="2367" y="84"/>
                    </a:moveTo>
                    <a:lnTo>
                      <a:pt x="0" y="84"/>
                    </a:lnTo>
                    <a:lnTo>
                      <a:pt x="0" y="140"/>
                    </a:lnTo>
                    <a:lnTo>
                      <a:pt x="2367" y="140"/>
                    </a:lnTo>
                    <a:lnTo>
                      <a:pt x="2370" y="148"/>
                    </a:lnTo>
                    <a:lnTo>
                      <a:pt x="2374" y="158"/>
                    </a:lnTo>
                    <a:lnTo>
                      <a:pt x="2378" y="166"/>
                    </a:lnTo>
                    <a:lnTo>
                      <a:pt x="2382" y="174"/>
                    </a:lnTo>
                    <a:lnTo>
                      <a:pt x="2388" y="182"/>
                    </a:lnTo>
                    <a:lnTo>
                      <a:pt x="2394" y="188"/>
                    </a:lnTo>
                    <a:lnTo>
                      <a:pt x="2400" y="194"/>
                    </a:lnTo>
                    <a:lnTo>
                      <a:pt x="2407" y="201"/>
                    </a:lnTo>
                    <a:lnTo>
                      <a:pt x="2414" y="206"/>
                    </a:lnTo>
                    <a:lnTo>
                      <a:pt x="2422" y="211"/>
                    </a:lnTo>
                    <a:lnTo>
                      <a:pt x="2430" y="215"/>
                    </a:lnTo>
                    <a:lnTo>
                      <a:pt x="2439" y="218"/>
                    </a:lnTo>
                    <a:lnTo>
                      <a:pt x="2448" y="221"/>
                    </a:lnTo>
                    <a:lnTo>
                      <a:pt x="2457" y="223"/>
                    </a:lnTo>
                    <a:lnTo>
                      <a:pt x="2467" y="224"/>
                    </a:lnTo>
                    <a:lnTo>
                      <a:pt x="2476" y="224"/>
                    </a:lnTo>
                    <a:lnTo>
                      <a:pt x="2488" y="224"/>
                    </a:lnTo>
                    <a:lnTo>
                      <a:pt x="2499" y="222"/>
                    </a:lnTo>
                    <a:lnTo>
                      <a:pt x="2510" y="219"/>
                    </a:lnTo>
                    <a:lnTo>
                      <a:pt x="2520" y="216"/>
                    </a:lnTo>
                    <a:lnTo>
                      <a:pt x="2530" y="212"/>
                    </a:lnTo>
                    <a:lnTo>
                      <a:pt x="2540" y="205"/>
                    </a:lnTo>
                    <a:lnTo>
                      <a:pt x="2548" y="199"/>
                    </a:lnTo>
                    <a:lnTo>
                      <a:pt x="2556" y="191"/>
                    </a:lnTo>
                    <a:lnTo>
                      <a:pt x="2563" y="184"/>
                    </a:lnTo>
                    <a:lnTo>
                      <a:pt x="2570" y="175"/>
                    </a:lnTo>
                    <a:lnTo>
                      <a:pt x="2576" y="166"/>
                    </a:lnTo>
                    <a:lnTo>
                      <a:pt x="2580" y="156"/>
                    </a:lnTo>
                    <a:lnTo>
                      <a:pt x="2585" y="145"/>
                    </a:lnTo>
                    <a:lnTo>
                      <a:pt x="2587" y="134"/>
                    </a:lnTo>
                    <a:lnTo>
                      <a:pt x="2589" y="124"/>
                    </a:lnTo>
                    <a:lnTo>
                      <a:pt x="2589" y="112"/>
                    </a:lnTo>
                    <a:lnTo>
                      <a:pt x="2589" y="100"/>
                    </a:lnTo>
                    <a:lnTo>
                      <a:pt x="2587" y="90"/>
                    </a:lnTo>
                    <a:lnTo>
                      <a:pt x="2585" y="79"/>
                    </a:lnTo>
                    <a:lnTo>
                      <a:pt x="2580" y="68"/>
                    </a:lnTo>
                    <a:lnTo>
                      <a:pt x="2576" y="58"/>
                    </a:lnTo>
                    <a:lnTo>
                      <a:pt x="2570" y="49"/>
                    </a:lnTo>
                    <a:lnTo>
                      <a:pt x="2563" y="40"/>
                    </a:lnTo>
                    <a:lnTo>
                      <a:pt x="2556" y="33"/>
                    </a:lnTo>
                    <a:lnTo>
                      <a:pt x="2548" y="25"/>
                    </a:lnTo>
                    <a:lnTo>
                      <a:pt x="2540" y="19"/>
                    </a:lnTo>
                    <a:lnTo>
                      <a:pt x="2530" y="12"/>
                    </a:lnTo>
                    <a:lnTo>
                      <a:pt x="2520" y="8"/>
                    </a:lnTo>
                    <a:lnTo>
                      <a:pt x="2510" y="5"/>
                    </a:lnTo>
                    <a:lnTo>
                      <a:pt x="2499" y="2"/>
                    </a:lnTo>
                    <a:lnTo>
                      <a:pt x="2488" y="0"/>
                    </a:lnTo>
                    <a:lnTo>
                      <a:pt x="2476" y="0"/>
                    </a:lnTo>
                    <a:lnTo>
                      <a:pt x="2467" y="0"/>
                    </a:lnTo>
                    <a:lnTo>
                      <a:pt x="2457" y="1"/>
                    </a:lnTo>
                    <a:lnTo>
                      <a:pt x="2448" y="3"/>
                    </a:lnTo>
                    <a:lnTo>
                      <a:pt x="2439" y="6"/>
                    </a:lnTo>
                    <a:lnTo>
                      <a:pt x="2430" y="9"/>
                    </a:lnTo>
                    <a:lnTo>
                      <a:pt x="2422" y="13"/>
                    </a:lnTo>
                    <a:lnTo>
                      <a:pt x="2414" y="18"/>
                    </a:lnTo>
                    <a:lnTo>
                      <a:pt x="2407" y="23"/>
                    </a:lnTo>
                    <a:lnTo>
                      <a:pt x="2400" y="30"/>
                    </a:lnTo>
                    <a:lnTo>
                      <a:pt x="2394" y="36"/>
                    </a:lnTo>
                    <a:lnTo>
                      <a:pt x="2388" y="42"/>
                    </a:lnTo>
                    <a:lnTo>
                      <a:pt x="2382" y="50"/>
                    </a:lnTo>
                    <a:lnTo>
                      <a:pt x="2378" y="58"/>
                    </a:lnTo>
                    <a:lnTo>
                      <a:pt x="2374" y="66"/>
                    </a:lnTo>
                    <a:lnTo>
                      <a:pt x="2370" y="76"/>
                    </a:lnTo>
                    <a:lnTo>
                      <a:pt x="2367" y="84"/>
                    </a:lnTo>
                    <a:close/>
                    <a:moveTo>
                      <a:pt x="2420" y="112"/>
                    </a:moveTo>
                    <a:lnTo>
                      <a:pt x="2421" y="107"/>
                    </a:lnTo>
                    <a:lnTo>
                      <a:pt x="2422" y="100"/>
                    </a:lnTo>
                    <a:lnTo>
                      <a:pt x="2423" y="95"/>
                    </a:lnTo>
                    <a:lnTo>
                      <a:pt x="2425" y="91"/>
                    </a:lnTo>
                    <a:lnTo>
                      <a:pt x="2429" y="81"/>
                    </a:lnTo>
                    <a:lnTo>
                      <a:pt x="2437" y="72"/>
                    </a:lnTo>
                    <a:lnTo>
                      <a:pt x="2445" y="65"/>
                    </a:lnTo>
                    <a:lnTo>
                      <a:pt x="2455" y="61"/>
                    </a:lnTo>
                    <a:lnTo>
                      <a:pt x="2459" y="58"/>
                    </a:lnTo>
                    <a:lnTo>
                      <a:pt x="2465" y="56"/>
                    </a:lnTo>
                    <a:lnTo>
                      <a:pt x="2471" y="56"/>
                    </a:lnTo>
                    <a:lnTo>
                      <a:pt x="2476" y="55"/>
                    </a:lnTo>
                    <a:lnTo>
                      <a:pt x="2482" y="56"/>
                    </a:lnTo>
                    <a:lnTo>
                      <a:pt x="2488" y="56"/>
                    </a:lnTo>
                    <a:lnTo>
                      <a:pt x="2494" y="58"/>
                    </a:lnTo>
                    <a:lnTo>
                      <a:pt x="2499" y="61"/>
                    </a:lnTo>
                    <a:lnTo>
                      <a:pt x="2507" y="65"/>
                    </a:lnTo>
                    <a:lnTo>
                      <a:pt x="2516" y="72"/>
                    </a:lnTo>
                    <a:lnTo>
                      <a:pt x="2524" y="81"/>
                    </a:lnTo>
                    <a:lnTo>
                      <a:pt x="2529" y="91"/>
                    </a:lnTo>
                    <a:lnTo>
                      <a:pt x="2530" y="95"/>
                    </a:lnTo>
                    <a:lnTo>
                      <a:pt x="2532" y="100"/>
                    </a:lnTo>
                    <a:lnTo>
                      <a:pt x="2532" y="107"/>
                    </a:lnTo>
                    <a:lnTo>
                      <a:pt x="2533" y="112"/>
                    </a:lnTo>
                    <a:lnTo>
                      <a:pt x="2532" y="117"/>
                    </a:lnTo>
                    <a:lnTo>
                      <a:pt x="2532" y="124"/>
                    </a:lnTo>
                    <a:lnTo>
                      <a:pt x="2530" y="129"/>
                    </a:lnTo>
                    <a:lnTo>
                      <a:pt x="2529" y="133"/>
                    </a:lnTo>
                    <a:lnTo>
                      <a:pt x="2524" y="143"/>
                    </a:lnTo>
                    <a:lnTo>
                      <a:pt x="2516" y="152"/>
                    </a:lnTo>
                    <a:lnTo>
                      <a:pt x="2507" y="159"/>
                    </a:lnTo>
                    <a:lnTo>
                      <a:pt x="2499" y="163"/>
                    </a:lnTo>
                    <a:lnTo>
                      <a:pt x="2494" y="166"/>
                    </a:lnTo>
                    <a:lnTo>
                      <a:pt x="2488" y="168"/>
                    </a:lnTo>
                    <a:lnTo>
                      <a:pt x="2482" y="168"/>
                    </a:lnTo>
                    <a:lnTo>
                      <a:pt x="2476" y="169"/>
                    </a:lnTo>
                    <a:lnTo>
                      <a:pt x="2471" y="168"/>
                    </a:lnTo>
                    <a:lnTo>
                      <a:pt x="2465" y="168"/>
                    </a:lnTo>
                    <a:lnTo>
                      <a:pt x="2459" y="166"/>
                    </a:lnTo>
                    <a:lnTo>
                      <a:pt x="2455" y="163"/>
                    </a:lnTo>
                    <a:lnTo>
                      <a:pt x="2445" y="159"/>
                    </a:lnTo>
                    <a:lnTo>
                      <a:pt x="2437" y="152"/>
                    </a:lnTo>
                    <a:lnTo>
                      <a:pt x="2429" y="143"/>
                    </a:lnTo>
                    <a:lnTo>
                      <a:pt x="2425" y="133"/>
                    </a:lnTo>
                    <a:lnTo>
                      <a:pt x="2423" y="129"/>
                    </a:lnTo>
                    <a:lnTo>
                      <a:pt x="2422" y="124"/>
                    </a:lnTo>
                    <a:lnTo>
                      <a:pt x="2421" y="117"/>
                    </a:lnTo>
                    <a:lnTo>
                      <a:pt x="2420" y="112"/>
                    </a:lnTo>
                    <a:close/>
                  </a:path>
                </a:pathLst>
              </a:custGeom>
              <a:solidFill>
                <a:srgbClr val="0039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s-ES">
                  <a:solidFill>
                    <a:prstClr val="black"/>
                  </a:solidFill>
                  <a:latin typeface="Helvetica"/>
                </a:endParaRPr>
              </a:p>
            </p:txBody>
          </p:sp>
          <p:sp>
            <p:nvSpPr>
              <p:cNvPr id="29" name="Freeform 18">
                <a:extLst>
                  <a:ext uri="{FF2B5EF4-FFF2-40B4-BE49-F238E27FC236}">
                    <a16:creationId xmlns:a16="http://schemas.microsoft.com/office/drawing/2014/main" id="{29E8CA32-F0F2-4625-A832-3999B8634982}"/>
                  </a:ext>
                </a:extLst>
              </p:cNvPr>
              <p:cNvSpPr>
                <a:spLocks noEditPoints="1"/>
              </p:cNvSpPr>
              <p:nvPr/>
            </p:nvSpPr>
            <p:spPr bwMode="auto">
              <a:xfrm>
                <a:off x="6691313" y="5033963"/>
                <a:ext cx="1331912" cy="534988"/>
              </a:xfrm>
              <a:custGeom>
                <a:avLst/>
                <a:gdLst>
                  <a:gd name="T0" fmla="*/ 1492 w 5870"/>
                  <a:gd name="T1" fmla="*/ 1532 h 2358"/>
                  <a:gd name="T2" fmla="*/ 1684 w 5870"/>
                  <a:gd name="T3" fmla="*/ 1716 h 2358"/>
                  <a:gd name="T4" fmla="*/ 1889 w 5870"/>
                  <a:gd name="T5" fmla="*/ 1888 h 2358"/>
                  <a:gd name="T6" fmla="*/ 2052 w 5870"/>
                  <a:gd name="T7" fmla="*/ 2001 h 2358"/>
                  <a:gd name="T8" fmla="*/ 2168 w 5870"/>
                  <a:gd name="T9" fmla="*/ 2068 h 2358"/>
                  <a:gd name="T10" fmla="*/ 2288 w 5870"/>
                  <a:gd name="T11" fmla="*/ 2124 h 2358"/>
                  <a:gd name="T12" fmla="*/ 2408 w 5870"/>
                  <a:gd name="T13" fmla="*/ 2168 h 2358"/>
                  <a:gd name="T14" fmla="*/ 2584 w 5870"/>
                  <a:gd name="T15" fmla="*/ 2214 h 2358"/>
                  <a:gd name="T16" fmla="*/ 2825 w 5870"/>
                  <a:gd name="T17" fmla="*/ 2251 h 2358"/>
                  <a:gd name="T18" fmla="*/ 3069 w 5870"/>
                  <a:gd name="T19" fmla="*/ 2267 h 2358"/>
                  <a:gd name="T20" fmla="*/ 3311 w 5870"/>
                  <a:gd name="T21" fmla="*/ 2272 h 2358"/>
                  <a:gd name="T22" fmla="*/ 3514 w 5870"/>
                  <a:gd name="T23" fmla="*/ 2273 h 2358"/>
                  <a:gd name="T24" fmla="*/ 3716 w 5870"/>
                  <a:gd name="T25" fmla="*/ 2273 h 2358"/>
                  <a:gd name="T26" fmla="*/ 5658 w 5870"/>
                  <a:gd name="T27" fmla="*/ 2299 h 2358"/>
                  <a:gd name="T28" fmla="*/ 5681 w 5870"/>
                  <a:gd name="T29" fmla="*/ 2328 h 2358"/>
                  <a:gd name="T30" fmla="*/ 5712 w 5870"/>
                  <a:gd name="T31" fmla="*/ 2348 h 2358"/>
                  <a:gd name="T32" fmla="*/ 5748 w 5870"/>
                  <a:gd name="T33" fmla="*/ 2358 h 2358"/>
                  <a:gd name="T34" fmla="*/ 5791 w 5870"/>
                  <a:gd name="T35" fmla="*/ 2353 h 2358"/>
                  <a:gd name="T36" fmla="*/ 5829 w 5870"/>
                  <a:gd name="T37" fmla="*/ 2332 h 2358"/>
                  <a:gd name="T38" fmla="*/ 5856 w 5870"/>
                  <a:gd name="T39" fmla="*/ 2299 h 2358"/>
                  <a:gd name="T40" fmla="*/ 5869 w 5870"/>
                  <a:gd name="T41" fmla="*/ 2257 h 2358"/>
                  <a:gd name="T42" fmla="*/ 5865 w 5870"/>
                  <a:gd name="T43" fmla="*/ 2212 h 2358"/>
                  <a:gd name="T44" fmla="*/ 5844 w 5870"/>
                  <a:gd name="T45" fmla="*/ 2174 h 2358"/>
                  <a:gd name="T46" fmla="*/ 5811 w 5870"/>
                  <a:gd name="T47" fmla="*/ 2146 h 2358"/>
                  <a:gd name="T48" fmla="*/ 5769 w 5870"/>
                  <a:gd name="T49" fmla="*/ 2133 h 2358"/>
                  <a:gd name="T50" fmla="*/ 5729 w 5870"/>
                  <a:gd name="T51" fmla="*/ 2136 h 2358"/>
                  <a:gd name="T52" fmla="*/ 5695 w 5870"/>
                  <a:gd name="T53" fmla="*/ 2151 h 2358"/>
                  <a:gd name="T54" fmla="*/ 5669 w 5870"/>
                  <a:gd name="T55" fmla="*/ 2176 h 2358"/>
                  <a:gd name="T56" fmla="*/ 5651 w 5870"/>
                  <a:gd name="T57" fmla="*/ 2208 h 2358"/>
                  <a:gd name="T58" fmla="*/ 3552 w 5870"/>
                  <a:gd name="T59" fmla="*/ 2218 h 2358"/>
                  <a:gd name="T60" fmla="*/ 3226 w 5870"/>
                  <a:gd name="T61" fmla="*/ 2214 h 2358"/>
                  <a:gd name="T62" fmla="*/ 2870 w 5870"/>
                  <a:gd name="T63" fmla="*/ 2198 h 2358"/>
                  <a:gd name="T64" fmla="*/ 2697 w 5870"/>
                  <a:gd name="T65" fmla="*/ 2178 h 2358"/>
                  <a:gd name="T66" fmla="*/ 2537 w 5870"/>
                  <a:gd name="T67" fmla="*/ 2147 h 2358"/>
                  <a:gd name="T68" fmla="*/ 2387 w 5870"/>
                  <a:gd name="T69" fmla="*/ 2103 h 2358"/>
                  <a:gd name="T70" fmla="*/ 2244 w 5870"/>
                  <a:gd name="T71" fmla="*/ 2043 h 2358"/>
                  <a:gd name="T72" fmla="*/ 2102 w 5870"/>
                  <a:gd name="T73" fmla="*/ 1966 h 2358"/>
                  <a:gd name="T74" fmla="*/ 1956 w 5870"/>
                  <a:gd name="T75" fmla="*/ 1868 h 2358"/>
                  <a:gd name="T76" fmla="*/ 1805 w 5870"/>
                  <a:gd name="T77" fmla="*/ 1747 h 2358"/>
                  <a:gd name="T78" fmla="*/ 1666 w 5870"/>
                  <a:gd name="T79" fmla="*/ 1623 h 2358"/>
                  <a:gd name="T80" fmla="*/ 1531 w 5870"/>
                  <a:gd name="T81" fmla="*/ 1492 h 2358"/>
                  <a:gd name="T82" fmla="*/ 5704 w 5870"/>
                  <a:gd name="T83" fmla="*/ 2228 h 2358"/>
                  <a:gd name="T84" fmla="*/ 5725 w 5870"/>
                  <a:gd name="T85" fmla="*/ 2198 h 2358"/>
                  <a:gd name="T86" fmla="*/ 5751 w 5870"/>
                  <a:gd name="T87" fmla="*/ 2189 h 2358"/>
                  <a:gd name="T88" fmla="*/ 5774 w 5870"/>
                  <a:gd name="T89" fmla="*/ 2192 h 2358"/>
                  <a:gd name="T90" fmla="*/ 5804 w 5870"/>
                  <a:gd name="T91" fmla="*/ 2213 h 2358"/>
                  <a:gd name="T92" fmla="*/ 5813 w 5870"/>
                  <a:gd name="T93" fmla="*/ 2239 h 2358"/>
                  <a:gd name="T94" fmla="*/ 5811 w 5870"/>
                  <a:gd name="T95" fmla="*/ 2262 h 2358"/>
                  <a:gd name="T96" fmla="*/ 5789 w 5870"/>
                  <a:gd name="T97" fmla="*/ 2292 h 2358"/>
                  <a:gd name="T98" fmla="*/ 5763 w 5870"/>
                  <a:gd name="T99" fmla="*/ 2301 h 2358"/>
                  <a:gd name="T100" fmla="*/ 5740 w 5870"/>
                  <a:gd name="T101" fmla="*/ 2299 h 2358"/>
                  <a:gd name="T102" fmla="*/ 5710 w 5870"/>
                  <a:gd name="T103" fmla="*/ 2277 h 2358"/>
                  <a:gd name="T104" fmla="*/ 5701 w 5870"/>
                  <a:gd name="T105" fmla="*/ 2251 h 2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70" h="2358">
                    <a:moveTo>
                      <a:pt x="1531" y="1492"/>
                    </a:moveTo>
                    <a:lnTo>
                      <a:pt x="40" y="0"/>
                    </a:lnTo>
                    <a:lnTo>
                      <a:pt x="0" y="40"/>
                    </a:lnTo>
                    <a:lnTo>
                      <a:pt x="1492" y="1532"/>
                    </a:lnTo>
                    <a:lnTo>
                      <a:pt x="1540" y="1579"/>
                    </a:lnTo>
                    <a:lnTo>
                      <a:pt x="1587" y="1625"/>
                    </a:lnTo>
                    <a:lnTo>
                      <a:pt x="1635" y="1671"/>
                    </a:lnTo>
                    <a:lnTo>
                      <a:pt x="1684" y="1716"/>
                    </a:lnTo>
                    <a:lnTo>
                      <a:pt x="1734" y="1761"/>
                    </a:lnTo>
                    <a:lnTo>
                      <a:pt x="1785" y="1804"/>
                    </a:lnTo>
                    <a:lnTo>
                      <a:pt x="1836" y="1847"/>
                    </a:lnTo>
                    <a:lnTo>
                      <a:pt x="1889" y="1888"/>
                    </a:lnTo>
                    <a:lnTo>
                      <a:pt x="1942" y="1927"/>
                    </a:lnTo>
                    <a:lnTo>
                      <a:pt x="1997" y="1965"/>
                    </a:lnTo>
                    <a:lnTo>
                      <a:pt x="2025" y="1984"/>
                    </a:lnTo>
                    <a:lnTo>
                      <a:pt x="2052" y="2001"/>
                    </a:lnTo>
                    <a:lnTo>
                      <a:pt x="2081" y="2018"/>
                    </a:lnTo>
                    <a:lnTo>
                      <a:pt x="2109" y="2036"/>
                    </a:lnTo>
                    <a:lnTo>
                      <a:pt x="2138" y="2052"/>
                    </a:lnTo>
                    <a:lnTo>
                      <a:pt x="2168" y="2068"/>
                    </a:lnTo>
                    <a:lnTo>
                      <a:pt x="2197" y="2083"/>
                    </a:lnTo>
                    <a:lnTo>
                      <a:pt x="2227" y="2098"/>
                    </a:lnTo>
                    <a:lnTo>
                      <a:pt x="2258" y="2112"/>
                    </a:lnTo>
                    <a:lnTo>
                      <a:pt x="2288" y="2124"/>
                    </a:lnTo>
                    <a:lnTo>
                      <a:pt x="2319" y="2137"/>
                    </a:lnTo>
                    <a:lnTo>
                      <a:pt x="2351" y="2149"/>
                    </a:lnTo>
                    <a:lnTo>
                      <a:pt x="2379" y="2159"/>
                    </a:lnTo>
                    <a:lnTo>
                      <a:pt x="2408" y="2168"/>
                    </a:lnTo>
                    <a:lnTo>
                      <a:pt x="2437" y="2178"/>
                    </a:lnTo>
                    <a:lnTo>
                      <a:pt x="2467" y="2186"/>
                    </a:lnTo>
                    <a:lnTo>
                      <a:pt x="2524" y="2202"/>
                    </a:lnTo>
                    <a:lnTo>
                      <a:pt x="2584" y="2214"/>
                    </a:lnTo>
                    <a:lnTo>
                      <a:pt x="2644" y="2226"/>
                    </a:lnTo>
                    <a:lnTo>
                      <a:pt x="2704" y="2236"/>
                    </a:lnTo>
                    <a:lnTo>
                      <a:pt x="2764" y="2243"/>
                    </a:lnTo>
                    <a:lnTo>
                      <a:pt x="2825" y="2251"/>
                    </a:lnTo>
                    <a:lnTo>
                      <a:pt x="2886" y="2256"/>
                    </a:lnTo>
                    <a:lnTo>
                      <a:pt x="2947" y="2261"/>
                    </a:lnTo>
                    <a:lnTo>
                      <a:pt x="3008" y="2264"/>
                    </a:lnTo>
                    <a:lnTo>
                      <a:pt x="3069" y="2267"/>
                    </a:lnTo>
                    <a:lnTo>
                      <a:pt x="3130" y="2269"/>
                    </a:lnTo>
                    <a:lnTo>
                      <a:pt x="3190" y="2270"/>
                    </a:lnTo>
                    <a:lnTo>
                      <a:pt x="3251" y="2271"/>
                    </a:lnTo>
                    <a:lnTo>
                      <a:pt x="3311" y="2272"/>
                    </a:lnTo>
                    <a:lnTo>
                      <a:pt x="3363" y="2272"/>
                    </a:lnTo>
                    <a:lnTo>
                      <a:pt x="3413" y="2272"/>
                    </a:lnTo>
                    <a:lnTo>
                      <a:pt x="3463" y="2273"/>
                    </a:lnTo>
                    <a:lnTo>
                      <a:pt x="3514" y="2273"/>
                    </a:lnTo>
                    <a:lnTo>
                      <a:pt x="3564" y="2273"/>
                    </a:lnTo>
                    <a:lnTo>
                      <a:pt x="3615" y="2273"/>
                    </a:lnTo>
                    <a:lnTo>
                      <a:pt x="3666" y="2273"/>
                    </a:lnTo>
                    <a:lnTo>
                      <a:pt x="3716" y="2273"/>
                    </a:lnTo>
                    <a:lnTo>
                      <a:pt x="5648" y="2273"/>
                    </a:lnTo>
                    <a:lnTo>
                      <a:pt x="5651" y="2282"/>
                    </a:lnTo>
                    <a:lnTo>
                      <a:pt x="5655" y="2291"/>
                    </a:lnTo>
                    <a:lnTo>
                      <a:pt x="5658" y="2299"/>
                    </a:lnTo>
                    <a:lnTo>
                      <a:pt x="5663" y="2307"/>
                    </a:lnTo>
                    <a:lnTo>
                      <a:pt x="5669" y="2314"/>
                    </a:lnTo>
                    <a:lnTo>
                      <a:pt x="5674" y="2322"/>
                    </a:lnTo>
                    <a:lnTo>
                      <a:pt x="5681" y="2328"/>
                    </a:lnTo>
                    <a:lnTo>
                      <a:pt x="5688" y="2333"/>
                    </a:lnTo>
                    <a:lnTo>
                      <a:pt x="5695" y="2339"/>
                    </a:lnTo>
                    <a:lnTo>
                      <a:pt x="5703" y="2344"/>
                    </a:lnTo>
                    <a:lnTo>
                      <a:pt x="5712" y="2348"/>
                    </a:lnTo>
                    <a:lnTo>
                      <a:pt x="5720" y="2352"/>
                    </a:lnTo>
                    <a:lnTo>
                      <a:pt x="5729" y="2355"/>
                    </a:lnTo>
                    <a:lnTo>
                      <a:pt x="5738" y="2356"/>
                    </a:lnTo>
                    <a:lnTo>
                      <a:pt x="5748" y="2358"/>
                    </a:lnTo>
                    <a:lnTo>
                      <a:pt x="5758" y="2358"/>
                    </a:lnTo>
                    <a:lnTo>
                      <a:pt x="5769" y="2357"/>
                    </a:lnTo>
                    <a:lnTo>
                      <a:pt x="5780" y="2356"/>
                    </a:lnTo>
                    <a:lnTo>
                      <a:pt x="5791" y="2353"/>
                    </a:lnTo>
                    <a:lnTo>
                      <a:pt x="5801" y="2349"/>
                    </a:lnTo>
                    <a:lnTo>
                      <a:pt x="5811" y="2344"/>
                    </a:lnTo>
                    <a:lnTo>
                      <a:pt x="5821" y="2339"/>
                    </a:lnTo>
                    <a:lnTo>
                      <a:pt x="5829" y="2332"/>
                    </a:lnTo>
                    <a:lnTo>
                      <a:pt x="5837" y="2325"/>
                    </a:lnTo>
                    <a:lnTo>
                      <a:pt x="5844" y="2317"/>
                    </a:lnTo>
                    <a:lnTo>
                      <a:pt x="5851" y="2309"/>
                    </a:lnTo>
                    <a:lnTo>
                      <a:pt x="5856" y="2299"/>
                    </a:lnTo>
                    <a:lnTo>
                      <a:pt x="5861" y="2289"/>
                    </a:lnTo>
                    <a:lnTo>
                      <a:pt x="5865" y="2279"/>
                    </a:lnTo>
                    <a:lnTo>
                      <a:pt x="5868" y="2268"/>
                    </a:lnTo>
                    <a:lnTo>
                      <a:pt x="5869" y="2257"/>
                    </a:lnTo>
                    <a:lnTo>
                      <a:pt x="5870" y="2246"/>
                    </a:lnTo>
                    <a:lnTo>
                      <a:pt x="5869" y="2234"/>
                    </a:lnTo>
                    <a:lnTo>
                      <a:pt x="5868" y="2223"/>
                    </a:lnTo>
                    <a:lnTo>
                      <a:pt x="5865" y="2212"/>
                    </a:lnTo>
                    <a:lnTo>
                      <a:pt x="5861" y="2202"/>
                    </a:lnTo>
                    <a:lnTo>
                      <a:pt x="5856" y="2192"/>
                    </a:lnTo>
                    <a:lnTo>
                      <a:pt x="5851" y="2182"/>
                    </a:lnTo>
                    <a:lnTo>
                      <a:pt x="5844" y="2174"/>
                    </a:lnTo>
                    <a:lnTo>
                      <a:pt x="5837" y="2165"/>
                    </a:lnTo>
                    <a:lnTo>
                      <a:pt x="5829" y="2159"/>
                    </a:lnTo>
                    <a:lnTo>
                      <a:pt x="5821" y="2152"/>
                    </a:lnTo>
                    <a:lnTo>
                      <a:pt x="5811" y="2146"/>
                    </a:lnTo>
                    <a:lnTo>
                      <a:pt x="5801" y="2142"/>
                    </a:lnTo>
                    <a:lnTo>
                      <a:pt x="5791" y="2137"/>
                    </a:lnTo>
                    <a:lnTo>
                      <a:pt x="5780" y="2135"/>
                    </a:lnTo>
                    <a:lnTo>
                      <a:pt x="5769" y="2133"/>
                    </a:lnTo>
                    <a:lnTo>
                      <a:pt x="5758" y="2133"/>
                    </a:lnTo>
                    <a:lnTo>
                      <a:pt x="5748" y="2133"/>
                    </a:lnTo>
                    <a:lnTo>
                      <a:pt x="5738" y="2134"/>
                    </a:lnTo>
                    <a:lnTo>
                      <a:pt x="5729" y="2136"/>
                    </a:lnTo>
                    <a:lnTo>
                      <a:pt x="5720" y="2139"/>
                    </a:lnTo>
                    <a:lnTo>
                      <a:pt x="5712" y="2143"/>
                    </a:lnTo>
                    <a:lnTo>
                      <a:pt x="5703" y="2147"/>
                    </a:lnTo>
                    <a:lnTo>
                      <a:pt x="5695" y="2151"/>
                    </a:lnTo>
                    <a:lnTo>
                      <a:pt x="5688" y="2157"/>
                    </a:lnTo>
                    <a:lnTo>
                      <a:pt x="5681" y="2163"/>
                    </a:lnTo>
                    <a:lnTo>
                      <a:pt x="5674" y="2169"/>
                    </a:lnTo>
                    <a:lnTo>
                      <a:pt x="5669" y="2176"/>
                    </a:lnTo>
                    <a:lnTo>
                      <a:pt x="5663" y="2183"/>
                    </a:lnTo>
                    <a:lnTo>
                      <a:pt x="5658" y="2192"/>
                    </a:lnTo>
                    <a:lnTo>
                      <a:pt x="5655" y="2199"/>
                    </a:lnTo>
                    <a:lnTo>
                      <a:pt x="5651" y="2208"/>
                    </a:lnTo>
                    <a:lnTo>
                      <a:pt x="5648" y="2218"/>
                    </a:lnTo>
                    <a:lnTo>
                      <a:pt x="3716" y="2218"/>
                    </a:lnTo>
                    <a:lnTo>
                      <a:pt x="3635" y="2218"/>
                    </a:lnTo>
                    <a:lnTo>
                      <a:pt x="3552" y="2218"/>
                    </a:lnTo>
                    <a:lnTo>
                      <a:pt x="3471" y="2218"/>
                    </a:lnTo>
                    <a:lnTo>
                      <a:pt x="3388" y="2217"/>
                    </a:lnTo>
                    <a:lnTo>
                      <a:pt x="3307" y="2217"/>
                    </a:lnTo>
                    <a:lnTo>
                      <a:pt x="3226" y="2214"/>
                    </a:lnTo>
                    <a:lnTo>
                      <a:pt x="3143" y="2212"/>
                    </a:lnTo>
                    <a:lnTo>
                      <a:pt x="3062" y="2210"/>
                    </a:lnTo>
                    <a:lnTo>
                      <a:pt x="2963" y="2205"/>
                    </a:lnTo>
                    <a:lnTo>
                      <a:pt x="2870" y="2198"/>
                    </a:lnTo>
                    <a:lnTo>
                      <a:pt x="2825" y="2194"/>
                    </a:lnTo>
                    <a:lnTo>
                      <a:pt x="2782" y="2189"/>
                    </a:lnTo>
                    <a:lnTo>
                      <a:pt x="2740" y="2183"/>
                    </a:lnTo>
                    <a:lnTo>
                      <a:pt x="2697" y="2178"/>
                    </a:lnTo>
                    <a:lnTo>
                      <a:pt x="2656" y="2172"/>
                    </a:lnTo>
                    <a:lnTo>
                      <a:pt x="2617" y="2164"/>
                    </a:lnTo>
                    <a:lnTo>
                      <a:pt x="2577" y="2156"/>
                    </a:lnTo>
                    <a:lnTo>
                      <a:pt x="2537" y="2147"/>
                    </a:lnTo>
                    <a:lnTo>
                      <a:pt x="2500" y="2137"/>
                    </a:lnTo>
                    <a:lnTo>
                      <a:pt x="2461" y="2127"/>
                    </a:lnTo>
                    <a:lnTo>
                      <a:pt x="2425" y="2115"/>
                    </a:lnTo>
                    <a:lnTo>
                      <a:pt x="2387" y="2103"/>
                    </a:lnTo>
                    <a:lnTo>
                      <a:pt x="2351" y="2089"/>
                    </a:lnTo>
                    <a:lnTo>
                      <a:pt x="2316" y="2075"/>
                    </a:lnTo>
                    <a:lnTo>
                      <a:pt x="2279" y="2060"/>
                    </a:lnTo>
                    <a:lnTo>
                      <a:pt x="2244" y="2043"/>
                    </a:lnTo>
                    <a:lnTo>
                      <a:pt x="2208" y="2026"/>
                    </a:lnTo>
                    <a:lnTo>
                      <a:pt x="2172" y="2007"/>
                    </a:lnTo>
                    <a:lnTo>
                      <a:pt x="2137" y="1987"/>
                    </a:lnTo>
                    <a:lnTo>
                      <a:pt x="2102" y="1966"/>
                    </a:lnTo>
                    <a:lnTo>
                      <a:pt x="2065" y="1943"/>
                    </a:lnTo>
                    <a:lnTo>
                      <a:pt x="2030" y="1920"/>
                    </a:lnTo>
                    <a:lnTo>
                      <a:pt x="1993" y="1894"/>
                    </a:lnTo>
                    <a:lnTo>
                      <a:pt x="1956" y="1868"/>
                    </a:lnTo>
                    <a:lnTo>
                      <a:pt x="1920" y="1841"/>
                    </a:lnTo>
                    <a:lnTo>
                      <a:pt x="1882" y="1811"/>
                    </a:lnTo>
                    <a:lnTo>
                      <a:pt x="1844" y="1781"/>
                    </a:lnTo>
                    <a:lnTo>
                      <a:pt x="1805" y="1747"/>
                    </a:lnTo>
                    <a:lnTo>
                      <a:pt x="1770" y="1717"/>
                    </a:lnTo>
                    <a:lnTo>
                      <a:pt x="1734" y="1686"/>
                    </a:lnTo>
                    <a:lnTo>
                      <a:pt x="1700" y="1654"/>
                    </a:lnTo>
                    <a:lnTo>
                      <a:pt x="1666" y="1623"/>
                    </a:lnTo>
                    <a:lnTo>
                      <a:pt x="1632" y="1591"/>
                    </a:lnTo>
                    <a:lnTo>
                      <a:pt x="1598" y="1558"/>
                    </a:lnTo>
                    <a:lnTo>
                      <a:pt x="1565" y="1526"/>
                    </a:lnTo>
                    <a:lnTo>
                      <a:pt x="1531" y="1492"/>
                    </a:lnTo>
                    <a:close/>
                    <a:moveTo>
                      <a:pt x="5701" y="2246"/>
                    </a:moveTo>
                    <a:lnTo>
                      <a:pt x="5701" y="2239"/>
                    </a:lnTo>
                    <a:lnTo>
                      <a:pt x="5702" y="2234"/>
                    </a:lnTo>
                    <a:lnTo>
                      <a:pt x="5704" y="2228"/>
                    </a:lnTo>
                    <a:lnTo>
                      <a:pt x="5705" y="2223"/>
                    </a:lnTo>
                    <a:lnTo>
                      <a:pt x="5710" y="2213"/>
                    </a:lnTo>
                    <a:lnTo>
                      <a:pt x="5718" y="2206"/>
                    </a:lnTo>
                    <a:lnTo>
                      <a:pt x="5725" y="2198"/>
                    </a:lnTo>
                    <a:lnTo>
                      <a:pt x="5735" y="2193"/>
                    </a:lnTo>
                    <a:lnTo>
                      <a:pt x="5740" y="2192"/>
                    </a:lnTo>
                    <a:lnTo>
                      <a:pt x="5746" y="2190"/>
                    </a:lnTo>
                    <a:lnTo>
                      <a:pt x="5751" y="2189"/>
                    </a:lnTo>
                    <a:lnTo>
                      <a:pt x="5758" y="2189"/>
                    </a:lnTo>
                    <a:lnTo>
                      <a:pt x="5763" y="2189"/>
                    </a:lnTo>
                    <a:lnTo>
                      <a:pt x="5768" y="2190"/>
                    </a:lnTo>
                    <a:lnTo>
                      <a:pt x="5774" y="2192"/>
                    </a:lnTo>
                    <a:lnTo>
                      <a:pt x="5779" y="2193"/>
                    </a:lnTo>
                    <a:lnTo>
                      <a:pt x="5789" y="2198"/>
                    </a:lnTo>
                    <a:lnTo>
                      <a:pt x="5797" y="2206"/>
                    </a:lnTo>
                    <a:lnTo>
                      <a:pt x="5804" y="2213"/>
                    </a:lnTo>
                    <a:lnTo>
                      <a:pt x="5809" y="2223"/>
                    </a:lnTo>
                    <a:lnTo>
                      <a:pt x="5811" y="2228"/>
                    </a:lnTo>
                    <a:lnTo>
                      <a:pt x="5812" y="2234"/>
                    </a:lnTo>
                    <a:lnTo>
                      <a:pt x="5813" y="2239"/>
                    </a:lnTo>
                    <a:lnTo>
                      <a:pt x="5813" y="2246"/>
                    </a:lnTo>
                    <a:lnTo>
                      <a:pt x="5813" y="2251"/>
                    </a:lnTo>
                    <a:lnTo>
                      <a:pt x="5812" y="2256"/>
                    </a:lnTo>
                    <a:lnTo>
                      <a:pt x="5811" y="2262"/>
                    </a:lnTo>
                    <a:lnTo>
                      <a:pt x="5809" y="2267"/>
                    </a:lnTo>
                    <a:lnTo>
                      <a:pt x="5804" y="2277"/>
                    </a:lnTo>
                    <a:lnTo>
                      <a:pt x="5797" y="2285"/>
                    </a:lnTo>
                    <a:lnTo>
                      <a:pt x="5789" y="2292"/>
                    </a:lnTo>
                    <a:lnTo>
                      <a:pt x="5779" y="2297"/>
                    </a:lnTo>
                    <a:lnTo>
                      <a:pt x="5774" y="2299"/>
                    </a:lnTo>
                    <a:lnTo>
                      <a:pt x="5768" y="2300"/>
                    </a:lnTo>
                    <a:lnTo>
                      <a:pt x="5763" y="2301"/>
                    </a:lnTo>
                    <a:lnTo>
                      <a:pt x="5758" y="2301"/>
                    </a:lnTo>
                    <a:lnTo>
                      <a:pt x="5751" y="2301"/>
                    </a:lnTo>
                    <a:lnTo>
                      <a:pt x="5746" y="2300"/>
                    </a:lnTo>
                    <a:lnTo>
                      <a:pt x="5740" y="2299"/>
                    </a:lnTo>
                    <a:lnTo>
                      <a:pt x="5735" y="2297"/>
                    </a:lnTo>
                    <a:lnTo>
                      <a:pt x="5725" y="2292"/>
                    </a:lnTo>
                    <a:lnTo>
                      <a:pt x="5718" y="2285"/>
                    </a:lnTo>
                    <a:lnTo>
                      <a:pt x="5710" y="2277"/>
                    </a:lnTo>
                    <a:lnTo>
                      <a:pt x="5705" y="2267"/>
                    </a:lnTo>
                    <a:lnTo>
                      <a:pt x="5704" y="2262"/>
                    </a:lnTo>
                    <a:lnTo>
                      <a:pt x="5702" y="2256"/>
                    </a:lnTo>
                    <a:lnTo>
                      <a:pt x="5701" y="2251"/>
                    </a:lnTo>
                    <a:lnTo>
                      <a:pt x="5701" y="2246"/>
                    </a:lnTo>
                    <a:close/>
                  </a:path>
                </a:pathLst>
              </a:custGeom>
              <a:solidFill>
                <a:srgbClr val="85B5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s-ES">
                  <a:solidFill>
                    <a:prstClr val="black"/>
                  </a:solidFill>
                  <a:latin typeface="Helvetica"/>
                </a:endParaRPr>
              </a:p>
            </p:txBody>
          </p:sp>
        </p:grpSp>
      </p:grpSp>
      <p:sp>
        <p:nvSpPr>
          <p:cNvPr id="30" name="Título 1">
            <a:extLst>
              <a:ext uri="{FF2B5EF4-FFF2-40B4-BE49-F238E27FC236}">
                <a16:creationId xmlns:a16="http://schemas.microsoft.com/office/drawing/2014/main" id="{3A7FB4F3-9701-4BE7-9F6B-47769CED61A2}"/>
              </a:ext>
            </a:extLst>
          </p:cNvPr>
          <p:cNvSpPr txBox="1">
            <a:spLocks/>
          </p:cNvSpPr>
          <p:nvPr/>
        </p:nvSpPr>
        <p:spPr>
          <a:xfrm>
            <a:off x="487681" y="233899"/>
            <a:ext cx="8953500" cy="1205057"/>
          </a:xfrm>
          <a:prstGeom prst="rect">
            <a:avLst/>
          </a:prstGeom>
        </p:spPr>
        <p:txBody>
          <a:bodyPr vert="horz" lIns="91440" tIns="45720" rIns="91440" bIns="45720" rtlCol="0" anchor="ctr">
            <a:noAutofit/>
          </a:bodyPr>
          <a:lstStyle>
            <a:lvl1pPr algn="l" defTabSz="914377" rtl="0" eaLnBrk="1" latinLnBrk="0" hangingPunct="1">
              <a:lnSpc>
                <a:spcPct val="90000"/>
              </a:lnSpc>
              <a:spcBef>
                <a:spcPct val="0"/>
              </a:spcBef>
              <a:buNone/>
              <a:defRPr sz="3400" b="1" kern="1200">
                <a:solidFill>
                  <a:schemeClr val="tx1">
                    <a:lumMod val="50000"/>
                    <a:lumOff val="50000"/>
                  </a:schemeClr>
                </a:solidFill>
                <a:latin typeface="GIZ Gravur TT Cond" panose="02010506010101020102" pitchFamily="2" charset="0"/>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s-ES" sz="3400" b="1" i="0" u="none" strike="noStrike" kern="1200" cap="none" spc="0" normalizeH="0" baseline="0" noProof="0" dirty="0">
                <a:ln>
                  <a:noFill/>
                </a:ln>
                <a:solidFill>
                  <a:sysClr val="windowText" lastClr="000000">
                    <a:lumMod val="50000"/>
                    <a:lumOff val="50000"/>
                  </a:sysClr>
                </a:solidFill>
                <a:effectLst/>
                <a:uLnTx/>
                <a:uFillTx/>
                <a:latin typeface="GIZ Gravur TT Cond" panose="02010506010101020102" pitchFamily="2" charset="0"/>
                <a:ea typeface="+mj-ea"/>
                <a:cs typeface="+mj-cs"/>
              </a:rPr>
              <a:t>¿Cuáles son los objetivos del Clúster de Cambio Climático?</a:t>
            </a:r>
          </a:p>
        </p:txBody>
      </p:sp>
      <p:sp>
        <p:nvSpPr>
          <p:cNvPr id="31" name="Marcador de texto 2">
            <a:extLst>
              <a:ext uri="{FF2B5EF4-FFF2-40B4-BE49-F238E27FC236}">
                <a16:creationId xmlns:a16="http://schemas.microsoft.com/office/drawing/2014/main" id="{B9B38509-3D3B-4F10-8516-752208E3BFD8}"/>
              </a:ext>
            </a:extLst>
          </p:cNvPr>
          <p:cNvSpPr txBox="1">
            <a:spLocks/>
          </p:cNvSpPr>
          <p:nvPr/>
        </p:nvSpPr>
        <p:spPr>
          <a:xfrm>
            <a:off x="251313" y="1593961"/>
            <a:ext cx="3454621" cy="1266917"/>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Helvetica Condensed"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pPr>
            <a:r>
              <a:rPr lang="es-ES" sz="2400" b="1" dirty="0">
                <a:solidFill>
                  <a:schemeClr val="bg1">
                    <a:lumMod val="50000"/>
                  </a:schemeClr>
                </a:solidFill>
                <a:latin typeface="GIZ Gravur Pro Cond" panose="02010506010101020102" pitchFamily="50" charset="0"/>
              </a:rPr>
              <a:t>Políticas eficaces de mitigación y adaptación</a:t>
            </a:r>
          </a:p>
        </p:txBody>
      </p:sp>
      <p:sp>
        <p:nvSpPr>
          <p:cNvPr id="32" name="Marcador de texto 2">
            <a:extLst>
              <a:ext uri="{FF2B5EF4-FFF2-40B4-BE49-F238E27FC236}">
                <a16:creationId xmlns:a16="http://schemas.microsoft.com/office/drawing/2014/main" id="{C0B18C0D-B21B-4C36-BB63-62533321CAF1}"/>
              </a:ext>
            </a:extLst>
          </p:cNvPr>
          <p:cNvSpPr txBox="1">
            <a:spLocks/>
          </p:cNvSpPr>
          <p:nvPr/>
        </p:nvSpPr>
        <p:spPr>
          <a:xfrm>
            <a:off x="431985" y="3047988"/>
            <a:ext cx="3203393" cy="936327"/>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Helvetica Condensed"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pPr>
            <a:r>
              <a:rPr lang="es-ES" sz="2400" b="1" dirty="0">
                <a:solidFill>
                  <a:schemeClr val="bg1">
                    <a:lumMod val="50000"/>
                  </a:schemeClr>
                </a:solidFill>
                <a:latin typeface="GIZ Gravur Pro Cond" panose="02010506010101020102" pitchFamily="50" charset="0"/>
              </a:rPr>
              <a:t>Acción climática en políticas locales</a:t>
            </a:r>
            <a:endParaRPr lang="es-ES" sz="2400" dirty="0">
              <a:solidFill>
                <a:schemeClr val="bg1">
                  <a:lumMod val="50000"/>
                </a:schemeClr>
              </a:solidFill>
              <a:latin typeface="GIZ Gravur Pro Cond" panose="02010506010101020102" pitchFamily="50" charset="0"/>
            </a:endParaRPr>
          </a:p>
        </p:txBody>
      </p:sp>
      <p:sp>
        <p:nvSpPr>
          <p:cNvPr id="33" name="Marcador de texto 2">
            <a:extLst>
              <a:ext uri="{FF2B5EF4-FFF2-40B4-BE49-F238E27FC236}">
                <a16:creationId xmlns:a16="http://schemas.microsoft.com/office/drawing/2014/main" id="{0F75820A-1873-4BB9-84B6-E5C447FA49F0}"/>
              </a:ext>
            </a:extLst>
          </p:cNvPr>
          <p:cNvSpPr txBox="1">
            <a:spLocks/>
          </p:cNvSpPr>
          <p:nvPr/>
        </p:nvSpPr>
        <p:spPr>
          <a:xfrm>
            <a:off x="109800" y="4376266"/>
            <a:ext cx="3690674" cy="1147809"/>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Helvetica Condensed"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s-ES" sz="2400" b="1" dirty="0">
                <a:solidFill>
                  <a:schemeClr val="bg1">
                    <a:lumMod val="50000"/>
                  </a:schemeClr>
                </a:solidFill>
                <a:latin typeface="GIZ Gravur Pro Cond" panose="02010506010101020102" pitchFamily="50" charset="0"/>
              </a:rPr>
              <a:t>Acelerar uso eficiente de la energía y energías limpias</a:t>
            </a:r>
          </a:p>
        </p:txBody>
      </p:sp>
      <p:sp>
        <p:nvSpPr>
          <p:cNvPr id="34" name="Marcador de texto 2">
            <a:extLst>
              <a:ext uri="{FF2B5EF4-FFF2-40B4-BE49-F238E27FC236}">
                <a16:creationId xmlns:a16="http://schemas.microsoft.com/office/drawing/2014/main" id="{9C23D0EC-1098-4604-96FD-2212E78FC5C7}"/>
              </a:ext>
            </a:extLst>
          </p:cNvPr>
          <p:cNvSpPr txBox="1">
            <a:spLocks/>
          </p:cNvSpPr>
          <p:nvPr/>
        </p:nvSpPr>
        <p:spPr>
          <a:xfrm>
            <a:off x="8463835" y="1587709"/>
            <a:ext cx="3117006" cy="1266917"/>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Helvetica Condensed"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s-ES" sz="2400" b="1" dirty="0">
                <a:solidFill>
                  <a:schemeClr val="bg1">
                    <a:lumMod val="50000"/>
                  </a:schemeClr>
                </a:solidFill>
                <a:latin typeface="GIZ Gravur Pro Cond" panose="02010506010101020102" pitchFamily="50" charset="0"/>
              </a:rPr>
              <a:t>Procesos productivos bajos en emisiones</a:t>
            </a:r>
            <a:endParaRPr lang="es-ES" sz="2400" dirty="0">
              <a:solidFill>
                <a:schemeClr val="bg1">
                  <a:lumMod val="50000"/>
                </a:schemeClr>
              </a:solidFill>
              <a:latin typeface="GIZ Gravur Pro Cond" panose="02010506010101020102" pitchFamily="50" charset="0"/>
            </a:endParaRPr>
          </a:p>
        </p:txBody>
      </p:sp>
      <p:sp>
        <p:nvSpPr>
          <p:cNvPr id="35" name="Marcador de texto 2">
            <a:extLst>
              <a:ext uri="{FF2B5EF4-FFF2-40B4-BE49-F238E27FC236}">
                <a16:creationId xmlns:a16="http://schemas.microsoft.com/office/drawing/2014/main" id="{93D0C7F4-C95D-4A04-810D-95902F98D276}"/>
              </a:ext>
            </a:extLst>
          </p:cNvPr>
          <p:cNvSpPr txBox="1">
            <a:spLocks/>
          </p:cNvSpPr>
          <p:nvPr/>
        </p:nvSpPr>
        <p:spPr>
          <a:xfrm>
            <a:off x="8599102" y="3088803"/>
            <a:ext cx="3369781" cy="1266917"/>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Helvetica Condensed"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s-ES" sz="2400" b="1" dirty="0">
                <a:solidFill>
                  <a:schemeClr val="bg1">
                    <a:lumMod val="50000"/>
                  </a:schemeClr>
                </a:solidFill>
                <a:latin typeface="GIZ Gravur Pro Cond" panose="02010506010101020102" pitchFamily="50" charset="0"/>
              </a:rPr>
              <a:t>Reducir riesgo climático en actividad económica</a:t>
            </a:r>
          </a:p>
        </p:txBody>
      </p:sp>
      <p:sp>
        <p:nvSpPr>
          <p:cNvPr id="36" name="Marcador de texto 2">
            <a:extLst>
              <a:ext uri="{FF2B5EF4-FFF2-40B4-BE49-F238E27FC236}">
                <a16:creationId xmlns:a16="http://schemas.microsoft.com/office/drawing/2014/main" id="{E954A2F3-FE37-4F39-8084-A1BB72B2ED0D}"/>
              </a:ext>
            </a:extLst>
          </p:cNvPr>
          <p:cNvSpPr txBox="1">
            <a:spLocks/>
          </p:cNvSpPr>
          <p:nvPr/>
        </p:nvSpPr>
        <p:spPr>
          <a:xfrm>
            <a:off x="8637589" y="4523903"/>
            <a:ext cx="3369781" cy="1266917"/>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Helvetica Condensed"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s-ES" sz="2400" b="1" dirty="0">
                <a:solidFill>
                  <a:schemeClr val="bg1">
                    <a:lumMod val="50000"/>
                  </a:schemeClr>
                </a:solidFill>
                <a:latin typeface="GIZ Gravur Pro Cond" panose="02010506010101020102" pitchFamily="50" charset="0"/>
              </a:rPr>
              <a:t>México continúe siendo líder climático</a:t>
            </a:r>
            <a:endParaRPr lang="es-ES" sz="2400" dirty="0">
              <a:solidFill>
                <a:schemeClr val="bg1">
                  <a:lumMod val="50000"/>
                </a:schemeClr>
              </a:solidFill>
              <a:latin typeface="GIZ Gravur Pro Cond" panose="02010506010101020102" pitchFamily="50" charset="0"/>
            </a:endParaRPr>
          </a:p>
        </p:txBody>
      </p:sp>
      <p:sp>
        <p:nvSpPr>
          <p:cNvPr id="37" name="CuadroTexto 36">
            <a:extLst>
              <a:ext uri="{FF2B5EF4-FFF2-40B4-BE49-F238E27FC236}">
                <a16:creationId xmlns:a16="http://schemas.microsoft.com/office/drawing/2014/main" id="{35083DD2-6065-4503-9F92-7778F73AC877}"/>
              </a:ext>
            </a:extLst>
          </p:cNvPr>
          <p:cNvSpPr txBox="1"/>
          <p:nvPr/>
        </p:nvSpPr>
        <p:spPr>
          <a:xfrm>
            <a:off x="3722188" y="1910233"/>
            <a:ext cx="544605" cy="523220"/>
          </a:xfrm>
          <a:prstGeom prst="rect">
            <a:avLst/>
          </a:prstGeom>
          <a:noFill/>
        </p:spPr>
        <p:txBody>
          <a:bodyPr wrap="square" rtlCol="0">
            <a:spAutoFit/>
          </a:bodyPr>
          <a:lstStyle/>
          <a:p>
            <a:pPr algn="ctr" defTabSz="914400"/>
            <a:r>
              <a:rPr lang="es-ES" sz="2800" b="1" dirty="0">
                <a:solidFill>
                  <a:srgbClr val="85B545"/>
                </a:solidFill>
                <a:latin typeface="GIZ Gravur Pro Cond" panose="02010506010101020102" pitchFamily="50" charset="0"/>
              </a:rPr>
              <a:t>1</a:t>
            </a:r>
          </a:p>
        </p:txBody>
      </p:sp>
      <p:sp>
        <p:nvSpPr>
          <p:cNvPr id="38" name="CuadroTexto 37">
            <a:extLst>
              <a:ext uri="{FF2B5EF4-FFF2-40B4-BE49-F238E27FC236}">
                <a16:creationId xmlns:a16="http://schemas.microsoft.com/office/drawing/2014/main" id="{2F5D6F40-55D9-45D6-A79C-0C2016F81EA7}"/>
              </a:ext>
            </a:extLst>
          </p:cNvPr>
          <p:cNvSpPr txBox="1"/>
          <p:nvPr/>
        </p:nvSpPr>
        <p:spPr>
          <a:xfrm>
            <a:off x="3722188" y="3362298"/>
            <a:ext cx="544605" cy="523220"/>
          </a:xfrm>
          <a:prstGeom prst="rect">
            <a:avLst/>
          </a:prstGeom>
          <a:noFill/>
        </p:spPr>
        <p:txBody>
          <a:bodyPr wrap="square" rtlCol="0">
            <a:spAutoFit/>
          </a:bodyPr>
          <a:lstStyle/>
          <a:p>
            <a:pPr algn="ctr" defTabSz="914400"/>
            <a:r>
              <a:rPr lang="es-ES" sz="2800" b="1" dirty="0">
                <a:solidFill>
                  <a:srgbClr val="00396C"/>
                </a:solidFill>
                <a:latin typeface="GIZ Gravur Pro Cond" panose="02010506010101020102" pitchFamily="50" charset="0"/>
              </a:rPr>
              <a:t>2</a:t>
            </a:r>
          </a:p>
        </p:txBody>
      </p:sp>
      <p:sp>
        <p:nvSpPr>
          <p:cNvPr id="39" name="CuadroTexto 38">
            <a:extLst>
              <a:ext uri="{FF2B5EF4-FFF2-40B4-BE49-F238E27FC236}">
                <a16:creationId xmlns:a16="http://schemas.microsoft.com/office/drawing/2014/main" id="{E20D2D45-397A-4449-A9BB-50FF6445A8B3}"/>
              </a:ext>
            </a:extLst>
          </p:cNvPr>
          <p:cNvSpPr txBox="1"/>
          <p:nvPr/>
        </p:nvSpPr>
        <p:spPr>
          <a:xfrm>
            <a:off x="3722188" y="4814365"/>
            <a:ext cx="544605" cy="523220"/>
          </a:xfrm>
          <a:prstGeom prst="rect">
            <a:avLst/>
          </a:prstGeom>
          <a:noFill/>
        </p:spPr>
        <p:txBody>
          <a:bodyPr wrap="square" rtlCol="0">
            <a:spAutoFit/>
          </a:bodyPr>
          <a:lstStyle/>
          <a:p>
            <a:pPr algn="ctr" defTabSz="914400"/>
            <a:r>
              <a:rPr lang="es-ES" sz="2800" b="1" dirty="0">
                <a:solidFill>
                  <a:srgbClr val="EAAE0D"/>
                </a:solidFill>
                <a:latin typeface="GIZ Gravur Pro Cond" panose="02010506010101020102" pitchFamily="50" charset="0"/>
              </a:rPr>
              <a:t>3</a:t>
            </a:r>
          </a:p>
        </p:txBody>
      </p:sp>
      <p:sp>
        <p:nvSpPr>
          <p:cNvPr id="40" name="CuadroTexto 39">
            <a:extLst>
              <a:ext uri="{FF2B5EF4-FFF2-40B4-BE49-F238E27FC236}">
                <a16:creationId xmlns:a16="http://schemas.microsoft.com/office/drawing/2014/main" id="{194F7A50-74E5-4D09-AEC1-37FBBFED1151}"/>
              </a:ext>
            </a:extLst>
          </p:cNvPr>
          <p:cNvSpPr txBox="1"/>
          <p:nvPr/>
        </p:nvSpPr>
        <p:spPr>
          <a:xfrm>
            <a:off x="7945866" y="1910230"/>
            <a:ext cx="495095" cy="523220"/>
          </a:xfrm>
          <a:prstGeom prst="rect">
            <a:avLst/>
          </a:prstGeom>
          <a:noFill/>
        </p:spPr>
        <p:txBody>
          <a:bodyPr wrap="square" rtlCol="0">
            <a:spAutoFit/>
          </a:bodyPr>
          <a:lstStyle/>
          <a:p>
            <a:pPr algn="ctr" defTabSz="914400"/>
            <a:r>
              <a:rPr lang="es-ES" sz="2800" b="1" dirty="0">
                <a:solidFill>
                  <a:srgbClr val="EAAE0D"/>
                </a:solidFill>
                <a:latin typeface="GIZ Gravur Pro Cond" panose="02010506010101020102" pitchFamily="50" charset="0"/>
              </a:rPr>
              <a:t>4</a:t>
            </a:r>
          </a:p>
        </p:txBody>
      </p:sp>
      <p:sp>
        <p:nvSpPr>
          <p:cNvPr id="41" name="CuadroTexto 40">
            <a:extLst>
              <a:ext uri="{FF2B5EF4-FFF2-40B4-BE49-F238E27FC236}">
                <a16:creationId xmlns:a16="http://schemas.microsoft.com/office/drawing/2014/main" id="{7ABFE974-8C6D-4BA5-88C9-6B526A5AD8DF}"/>
              </a:ext>
            </a:extLst>
          </p:cNvPr>
          <p:cNvSpPr txBox="1"/>
          <p:nvPr/>
        </p:nvSpPr>
        <p:spPr>
          <a:xfrm>
            <a:off x="7945866" y="3365956"/>
            <a:ext cx="495095" cy="523220"/>
          </a:xfrm>
          <a:prstGeom prst="rect">
            <a:avLst/>
          </a:prstGeom>
          <a:noFill/>
        </p:spPr>
        <p:txBody>
          <a:bodyPr wrap="square" rtlCol="0">
            <a:spAutoFit/>
          </a:bodyPr>
          <a:lstStyle/>
          <a:p>
            <a:pPr algn="ctr" defTabSz="914400"/>
            <a:r>
              <a:rPr lang="es-ES" sz="2800" b="1" dirty="0">
                <a:solidFill>
                  <a:srgbClr val="00396C"/>
                </a:solidFill>
                <a:latin typeface="GIZ Gravur Pro Cond" panose="02010506010101020102" pitchFamily="50" charset="0"/>
              </a:rPr>
              <a:t>5</a:t>
            </a:r>
          </a:p>
        </p:txBody>
      </p:sp>
      <p:sp>
        <p:nvSpPr>
          <p:cNvPr id="42" name="CuadroTexto 41">
            <a:extLst>
              <a:ext uri="{FF2B5EF4-FFF2-40B4-BE49-F238E27FC236}">
                <a16:creationId xmlns:a16="http://schemas.microsoft.com/office/drawing/2014/main" id="{F393EAE6-7AD9-4154-B181-2A6E4C959782}"/>
              </a:ext>
            </a:extLst>
          </p:cNvPr>
          <p:cNvSpPr txBox="1"/>
          <p:nvPr/>
        </p:nvSpPr>
        <p:spPr>
          <a:xfrm>
            <a:off x="7945866" y="4821681"/>
            <a:ext cx="495095" cy="523220"/>
          </a:xfrm>
          <a:prstGeom prst="rect">
            <a:avLst/>
          </a:prstGeom>
          <a:noFill/>
        </p:spPr>
        <p:txBody>
          <a:bodyPr wrap="square" rtlCol="0">
            <a:spAutoFit/>
          </a:bodyPr>
          <a:lstStyle/>
          <a:p>
            <a:pPr algn="ctr" defTabSz="914400"/>
            <a:r>
              <a:rPr lang="es-ES" sz="2800" b="1" dirty="0">
                <a:solidFill>
                  <a:srgbClr val="85B545"/>
                </a:solidFill>
                <a:latin typeface="GIZ Gravur Pro Cond" panose="02010506010101020102" pitchFamily="50" charset="0"/>
              </a:rPr>
              <a:t>6</a:t>
            </a:r>
          </a:p>
        </p:txBody>
      </p:sp>
      <p:sp>
        <p:nvSpPr>
          <p:cNvPr id="43" name="Título 1">
            <a:extLst>
              <a:ext uri="{FF2B5EF4-FFF2-40B4-BE49-F238E27FC236}">
                <a16:creationId xmlns:a16="http://schemas.microsoft.com/office/drawing/2014/main" id="{ED138E51-26EF-4AEC-ACEA-8BB7402CDEA1}"/>
              </a:ext>
            </a:extLst>
          </p:cNvPr>
          <p:cNvSpPr txBox="1">
            <a:spLocks/>
          </p:cNvSpPr>
          <p:nvPr/>
        </p:nvSpPr>
        <p:spPr>
          <a:xfrm>
            <a:off x="5217273" y="3008078"/>
            <a:ext cx="1787859" cy="136818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1800"/>
              </a:lnSpc>
            </a:pPr>
            <a:r>
              <a:rPr lang="es-ES" sz="1700" b="1" dirty="0">
                <a:solidFill>
                  <a:srgbClr val="00396C"/>
                </a:solidFill>
                <a:latin typeface="GIZ Gravur TT Cond" panose="02010506010101020102" pitchFamily="2" charset="0"/>
              </a:rPr>
              <a:t>Impulsar el desarrollo sostenible frente al cambio climático</a:t>
            </a:r>
          </a:p>
        </p:txBody>
      </p:sp>
      <p:sp>
        <p:nvSpPr>
          <p:cNvPr id="44" name="Título 1">
            <a:extLst>
              <a:ext uri="{FF2B5EF4-FFF2-40B4-BE49-F238E27FC236}">
                <a16:creationId xmlns:a16="http://schemas.microsoft.com/office/drawing/2014/main" id="{EBF54EBA-3BE8-4E48-8658-015A83300FFF}"/>
              </a:ext>
            </a:extLst>
          </p:cNvPr>
          <p:cNvSpPr txBox="1">
            <a:spLocks/>
          </p:cNvSpPr>
          <p:nvPr/>
        </p:nvSpPr>
        <p:spPr>
          <a:xfrm>
            <a:off x="3912043" y="5841607"/>
            <a:ext cx="4532243" cy="36209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ES" sz="1400" b="1" dirty="0">
                <a:solidFill>
                  <a:prstClr val="white"/>
                </a:solidFill>
                <a:latin typeface="GIZ Gravur TT Cond" panose="02010506010101020102" pitchFamily="2" charset="0"/>
              </a:rPr>
              <a:t>Alianzas estratégicas entre sectores y territorios </a:t>
            </a:r>
          </a:p>
        </p:txBody>
      </p:sp>
    </p:spTree>
    <p:extLst>
      <p:ext uri="{BB962C8B-B14F-4D97-AF65-F5344CB8AC3E}">
        <p14:creationId xmlns:p14="http://schemas.microsoft.com/office/powerpoint/2010/main" val="398823322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umsplatzhalter 7">
            <a:extLst>
              <a:ext uri="{FF2B5EF4-FFF2-40B4-BE49-F238E27FC236}">
                <a16:creationId xmlns:a16="http://schemas.microsoft.com/office/drawing/2014/main" id="{1BDEAAC8-7AF1-4B59-B6C6-7968DEAC9702}"/>
              </a:ext>
            </a:extLst>
          </p:cNvPr>
          <p:cNvSpPr>
            <a:spLocks noGrp="1"/>
          </p:cNvSpPr>
          <p:nvPr>
            <p:ph type="dt" sz="half" idx="10"/>
          </p:nvPr>
        </p:nvSpPr>
        <p:spPr>
          <a:xfrm>
            <a:off x="1379738" y="6475058"/>
            <a:ext cx="2743200" cy="365125"/>
          </a:xfrm>
        </p:spPr>
        <p:txBody>
          <a:bodyPr/>
          <a:lstStyle/>
          <a:p>
            <a:r>
              <a:rPr lang="es-ES" dirty="0"/>
              <a:t>14.02.2019</a:t>
            </a:r>
          </a:p>
        </p:txBody>
      </p:sp>
      <p:sp>
        <p:nvSpPr>
          <p:cNvPr id="9" name="Fußzeilenplatzhalter 8">
            <a:extLst>
              <a:ext uri="{FF2B5EF4-FFF2-40B4-BE49-F238E27FC236}">
                <a16:creationId xmlns:a16="http://schemas.microsoft.com/office/drawing/2014/main" id="{1BEF9E05-563A-4A39-9005-D02CBC237040}"/>
              </a:ext>
            </a:extLst>
          </p:cNvPr>
          <p:cNvSpPr>
            <a:spLocks noGrp="1"/>
          </p:cNvSpPr>
          <p:nvPr>
            <p:ph type="ftr" sz="quarter" idx="11"/>
          </p:nvPr>
        </p:nvSpPr>
        <p:spPr/>
        <p:txBody>
          <a:bodyPr/>
          <a:lstStyle/>
          <a:p>
            <a:r>
              <a:rPr lang="es-ES" dirty="0"/>
              <a:t>Clúster de Cambio Climático | GIZ MX </a:t>
            </a:r>
          </a:p>
        </p:txBody>
      </p:sp>
      <p:sp>
        <p:nvSpPr>
          <p:cNvPr id="10" name="Foliennummernplatzhalter 9">
            <a:extLst>
              <a:ext uri="{FF2B5EF4-FFF2-40B4-BE49-F238E27FC236}">
                <a16:creationId xmlns:a16="http://schemas.microsoft.com/office/drawing/2014/main" id="{DFFDD7F2-C7BA-455F-91D2-374A8599BA6F}"/>
              </a:ext>
            </a:extLst>
          </p:cNvPr>
          <p:cNvSpPr>
            <a:spLocks noGrp="1"/>
          </p:cNvSpPr>
          <p:nvPr>
            <p:ph type="sldNum" sz="quarter" idx="12"/>
          </p:nvPr>
        </p:nvSpPr>
        <p:spPr/>
        <p:txBody>
          <a:bodyPr/>
          <a:lstStyle/>
          <a:p>
            <a:r>
              <a:rPr lang="es-ES"/>
              <a:t>Página </a:t>
            </a:r>
            <a:fld id="{3A8B5DB7-81A8-4ED4-916B-6B23CD603687}" type="slidenum">
              <a:rPr lang="es-ES" smtClean="0"/>
              <a:pPr/>
              <a:t>6</a:t>
            </a:fld>
            <a:endParaRPr lang="es-ES" dirty="0"/>
          </a:p>
        </p:txBody>
      </p:sp>
      <p:sp>
        <p:nvSpPr>
          <p:cNvPr id="2" name="Rectángulo 1">
            <a:extLst>
              <a:ext uri="{FF2B5EF4-FFF2-40B4-BE49-F238E27FC236}">
                <a16:creationId xmlns:a16="http://schemas.microsoft.com/office/drawing/2014/main" id="{ECFC2AC6-E4CA-461B-95F2-268AC0867427}"/>
              </a:ext>
            </a:extLst>
          </p:cNvPr>
          <p:cNvSpPr/>
          <p:nvPr/>
        </p:nvSpPr>
        <p:spPr>
          <a:xfrm>
            <a:off x="10884138" y="6125592"/>
            <a:ext cx="1260000" cy="71021"/>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3" name="Rectángulo 2">
            <a:extLst>
              <a:ext uri="{FF2B5EF4-FFF2-40B4-BE49-F238E27FC236}">
                <a16:creationId xmlns:a16="http://schemas.microsoft.com/office/drawing/2014/main" id="{B964C7BA-654A-4EBC-A52E-FEDBEB5A1380}"/>
              </a:ext>
            </a:extLst>
          </p:cNvPr>
          <p:cNvSpPr/>
          <p:nvPr/>
        </p:nvSpPr>
        <p:spPr>
          <a:xfrm>
            <a:off x="647700" y="6533302"/>
            <a:ext cx="2743200" cy="2486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7" name="Título 1">
            <a:extLst>
              <a:ext uri="{FF2B5EF4-FFF2-40B4-BE49-F238E27FC236}">
                <a16:creationId xmlns:a16="http://schemas.microsoft.com/office/drawing/2014/main" id="{25E8C60A-1260-4B94-ABFC-5A1858D0B0F0}"/>
              </a:ext>
            </a:extLst>
          </p:cNvPr>
          <p:cNvSpPr txBox="1">
            <a:spLocks/>
          </p:cNvSpPr>
          <p:nvPr/>
        </p:nvSpPr>
        <p:spPr>
          <a:xfrm>
            <a:off x="260685" y="308024"/>
            <a:ext cx="9364579" cy="1205057"/>
          </a:xfrm>
          <a:prstGeom prst="rect">
            <a:avLst/>
          </a:prstGeom>
        </p:spPr>
        <p:txBody>
          <a:bodyPr vert="horz" lIns="91440" tIns="45720" rIns="91440" bIns="45720" rtlCol="0" anchor="ctr">
            <a:noAutofit/>
          </a:bodyPr>
          <a:lstStyle>
            <a:lvl1pPr algn="l" defTabSz="914377" rtl="0" eaLnBrk="1" latinLnBrk="0" hangingPunct="1">
              <a:lnSpc>
                <a:spcPct val="90000"/>
              </a:lnSpc>
              <a:spcBef>
                <a:spcPct val="0"/>
              </a:spcBef>
              <a:buNone/>
              <a:defRPr sz="3400" b="1" kern="1200">
                <a:solidFill>
                  <a:schemeClr val="tx1">
                    <a:lumMod val="50000"/>
                    <a:lumOff val="50000"/>
                  </a:schemeClr>
                </a:solidFill>
                <a:latin typeface="GIZ Gravur TT Cond" panose="02010506010101020102" pitchFamily="2" charset="0"/>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s-MX" sz="3400" b="1" i="0" u="none" strike="noStrike" kern="1200" cap="none" spc="0" normalizeH="0" baseline="0" noProof="0" dirty="0">
                <a:ln>
                  <a:noFill/>
                </a:ln>
                <a:solidFill>
                  <a:sysClr val="windowText" lastClr="000000">
                    <a:lumMod val="50000"/>
                    <a:lumOff val="50000"/>
                  </a:sysClr>
                </a:solidFill>
                <a:effectLst/>
                <a:uLnTx/>
                <a:uFillTx/>
                <a:latin typeface="GIZ Gravur TT Cond" panose="02010506010101020102" pitchFamily="2" charset="0"/>
                <a:ea typeface="+mj-ea"/>
                <a:cs typeface="+mj-cs"/>
              </a:rPr>
              <a:t>Difundimos los casos de éxito y los impactos </a:t>
            </a:r>
            <a:br>
              <a:rPr kumimoji="0" lang="es-MX" sz="3400" b="1" i="0" u="none" strike="noStrike" kern="1200" cap="none" spc="0" normalizeH="0" baseline="0" noProof="0" dirty="0">
                <a:ln>
                  <a:noFill/>
                </a:ln>
                <a:solidFill>
                  <a:sysClr val="windowText" lastClr="000000">
                    <a:lumMod val="50000"/>
                    <a:lumOff val="50000"/>
                  </a:sysClr>
                </a:solidFill>
                <a:effectLst/>
                <a:uLnTx/>
                <a:uFillTx/>
                <a:latin typeface="GIZ Gravur TT Cond" panose="02010506010101020102" pitchFamily="2" charset="0"/>
                <a:ea typeface="+mj-ea"/>
                <a:cs typeface="+mj-cs"/>
              </a:rPr>
            </a:br>
            <a:r>
              <a:rPr kumimoji="0" lang="es-MX" sz="3400" b="1" i="0" u="none" strike="noStrike" kern="1200" cap="none" spc="0" normalizeH="0" baseline="0" noProof="0" dirty="0">
                <a:ln>
                  <a:noFill/>
                </a:ln>
                <a:solidFill>
                  <a:sysClr val="windowText" lastClr="000000">
                    <a:lumMod val="50000"/>
                    <a:lumOff val="50000"/>
                  </a:sysClr>
                </a:solidFill>
                <a:effectLst/>
                <a:uLnTx/>
                <a:uFillTx/>
                <a:latin typeface="GIZ Gravur TT Cond" panose="02010506010101020102" pitchFamily="2" charset="0"/>
                <a:ea typeface="+mj-ea"/>
                <a:cs typeface="+mj-cs"/>
              </a:rPr>
              <a:t>de nuestro trabajo para que se puedan replicar…</a:t>
            </a:r>
            <a:r>
              <a:rPr kumimoji="0" lang="es-ES" sz="3400" b="1" i="0" u="none" strike="noStrike" kern="1200" cap="none" spc="0" normalizeH="0" baseline="0" noProof="0" dirty="0">
                <a:ln>
                  <a:noFill/>
                </a:ln>
                <a:solidFill>
                  <a:sysClr val="windowText" lastClr="000000">
                    <a:lumMod val="50000"/>
                    <a:lumOff val="50000"/>
                  </a:sysClr>
                </a:solidFill>
                <a:effectLst/>
                <a:uLnTx/>
                <a:uFillTx/>
                <a:latin typeface="GIZ Gravur TT Cond" panose="02010506010101020102" pitchFamily="2" charset="0"/>
                <a:ea typeface="+mj-ea"/>
                <a:cs typeface="+mj-cs"/>
              </a:rPr>
              <a:t> </a:t>
            </a:r>
          </a:p>
        </p:txBody>
      </p:sp>
      <p:pic>
        <p:nvPicPr>
          <p:cNvPr id="12" name="Imagen 11">
            <a:extLst>
              <a:ext uri="{FF2B5EF4-FFF2-40B4-BE49-F238E27FC236}">
                <a16:creationId xmlns:a16="http://schemas.microsoft.com/office/drawing/2014/main" id="{6B35A87E-BE1F-4424-9345-3A1CA3610E4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73531" y="1582472"/>
            <a:ext cx="2386584" cy="599847"/>
          </a:xfrm>
          <a:prstGeom prst="rect">
            <a:avLst/>
          </a:prstGeom>
        </p:spPr>
      </p:pic>
      <p:sp>
        <p:nvSpPr>
          <p:cNvPr id="13" name="2 Marcador de texto">
            <a:extLst>
              <a:ext uri="{FF2B5EF4-FFF2-40B4-BE49-F238E27FC236}">
                <a16:creationId xmlns:a16="http://schemas.microsoft.com/office/drawing/2014/main" id="{27C28EC5-E35A-42EB-A127-DCBC9B1DD688}"/>
              </a:ext>
            </a:extLst>
          </p:cNvPr>
          <p:cNvSpPr txBox="1">
            <a:spLocks/>
          </p:cNvSpPr>
          <p:nvPr/>
        </p:nvSpPr>
        <p:spPr>
          <a:xfrm>
            <a:off x="533401" y="1882396"/>
            <a:ext cx="5214257" cy="4200524"/>
          </a:xfrm>
          <a:prstGeom prst="rect">
            <a:avLst/>
          </a:prstGeom>
        </p:spPr>
        <p:txBody>
          <a:bodyPr vert="horz" lIns="91440" tIns="45720" rIns="91440" bIns="45720" rtlCol="0">
            <a:normAutofit fontScale="92500" lnSpcReduction="10000"/>
          </a:bodyPr>
          <a:lstStyle>
            <a:lvl1pPr marL="0" indent="0" algn="l" defTabSz="914377" rtl="0" eaLnBrk="1" latinLnBrk="0" hangingPunct="1">
              <a:lnSpc>
                <a:spcPct val="90000"/>
              </a:lnSpc>
              <a:spcBef>
                <a:spcPts val="1000"/>
              </a:spcBef>
              <a:buFont typeface="Arial" panose="020B0604020202020204" pitchFamily="34" charset="0"/>
              <a:buNone/>
              <a:defRPr sz="1600" kern="1200">
                <a:solidFill>
                  <a:schemeClr val="tx1">
                    <a:lumMod val="65000"/>
                    <a:lumOff val="35000"/>
                  </a:schemeClr>
                </a:solidFill>
                <a:latin typeface="Helvetica Condensed" panose="020B0606020202030204" pitchFamily="34" charset="0"/>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2600" b="0" i="0" u="none" strike="noStrike" kern="1200" cap="none" spc="0" normalizeH="0" baseline="0" noProof="0" dirty="0">
                <a:ln>
                  <a:noFill/>
                </a:ln>
                <a:solidFill>
                  <a:sysClr val="windowText" lastClr="000000">
                    <a:lumMod val="65000"/>
                    <a:lumOff val="35000"/>
                  </a:sysClr>
                </a:solidFill>
                <a:effectLst/>
                <a:uLnTx/>
                <a:uFillTx/>
                <a:latin typeface="GIZ Gravur Pro Cond"/>
                <a:ea typeface="+mn-ea"/>
                <a:cs typeface="+mn-cs"/>
              </a:rPr>
              <a:t>A través de nuestras plataformas</a:t>
            </a:r>
            <a:r>
              <a:rPr kumimoji="0" lang="es-MX" sz="3000" b="0" i="0" u="none" strike="noStrike" kern="1200" cap="none" spc="0" normalizeH="0" baseline="0" noProof="0" dirty="0">
                <a:ln>
                  <a:noFill/>
                </a:ln>
                <a:solidFill>
                  <a:sysClr val="windowText" lastClr="000000">
                    <a:lumMod val="65000"/>
                    <a:lumOff val="35000"/>
                  </a:sysClr>
                </a:solidFill>
                <a:effectLst/>
                <a:uLnTx/>
                <a:uFillTx/>
                <a:latin typeface="GIZ Gravur Pro Cond"/>
                <a:ea typeface="+mn-ea"/>
                <a:cs typeface="+mn-cs"/>
              </a:rPr>
              <a:t>:</a:t>
            </a:r>
          </a:p>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MX" sz="2600" b="1" i="0" u="none" strike="noStrike" kern="1200" cap="none" spc="0" normalizeH="0" baseline="0" noProof="0" dirty="0">
              <a:ln>
                <a:noFill/>
              </a:ln>
              <a:solidFill>
                <a:sysClr val="windowText" lastClr="000000"/>
              </a:solidFill>
              <a:effectLst/>
              <a:uLnTx/>
              <a:uFillTx/>
              <a:latin typeface="GIZ Gravur Pro Cond"/>
              <a:ea typeface="+mn-ea"/>
              <a:cs typeface="+mn-cs"/>
            </a:endParaRPr>
          </a:p>
          <a:p>
            <a:pPr marL="0" marR="0" lvl="0" indent="0" algn="ctr"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2800" b="1" i="0" u="none" strike="noStrike" kern="1200" cap="none" spc="0" normalizeH="0" baseline="0" noProof="0" dirty="0">
                <a:ln>
                  <a:noFill/>
                </a:ln>
                <a:solidFill>
                  <a:sysClr val="windowText" lastClr="000000">
                    <a:lumMod val="65000"/>
                    <a:lumOff val="35000"/>
                  </a:sysClr>
                </a:solidFill>
                <a:effectLst/>
                <a:uLnTx/>
                <a:uFillTx/>
                <a:latin typeface="GIZ Gravur Pro Cond"/>
                <a:ea typeface="+mn-ea"/>
                <a:cs typeface="+mn-cs"/>
              </a:rPr>
              <a:t>1,600</a:t>
            </a:r>
            <a:r>
              <a:rPr kumimoji="0" lang="es-MX" sz="2600" b="1" i="0" u="none" strike="noStrike" kern="1200" cap="none" spc="0" normalizeH="0" baseline="0" noProof="0" dirty="0">
                <a:ln>
                  <a:noFill/>
                </a:ln>
                <a:solidFill>
                  <a:sysClr val="windowText" lastClr="000000">
                    <a:lumMod val="65000"/>
                    <a:lumOff val="35000"/>
                  </a:sysClr>
                </a:solidFill>
                <a:effectLst/>
                <a:uLnTx/>
                <a:uFillTx/>
                <a:latin typeface="GIZ Gravur Pro Cond"/>
                <a:ea typeface="+mn-ea"/>
                <a:cs typeface="+mn-cs"/>
              </a:rPr>
              <a:t> </a:t>
            </a:r>
            <a:r>
              <a:rPr kumimoji="0" lang="es-MX" sz="2400" b="1" i="0" u="none" strike="noStrike" kern="1200" cap="none" spc="0" normalizeH="0" baseline="0" noProof="0" dirty="0">
                <a:ln>
                  <a:noFill/>
                </a:ln>
                <a:solidFill>
                  <a:sysClr val="windowText" lastClr="000000">
                    <a:lumMod val="65000"/>
                    <a:lumOff val="35000"/>
                  </a:sysClr>
                </a:solidFill>
                <a:effectLst/>
                <a:uLnTx/>
                <a:uFillTx/>
                <a:latin typeface="GIZ Gravur Pro Cond"/>
                <a:ea typeface="+mn-ea"/>
                <a:cs typeface="+mn-cs"/>
              </a:rPr>
              <a:t>usuarios </a:t>
            </a:r>
            <a:r>
              <a:rPr kumimoji="0" lang="es-MX" sz="2400" b="0" i="0" u="none" strike="noStrike" kern="1200" cap="none" spc="0" normalizeH="0" baseline="0" noProof="0" dirty="0">
                <a:ln>
                  <a:noFill/>
                </a:ln>
                <a:solidFill>
                  <a:sysClr val="windowText" lastClr="000000">
                    <a:lumMod val="65000"/>
                    <a:lumOff val="35000"/>
                  </a:sysClr>
                </a:solidFill>
                <a:effectLst/>
                <a:uLnTx/>
                <a:uFillTx/>
                <a:latin typeface="GIZ Gravur Pro Cond"/>
                <a:ea typeface="+mn-ea"/>
                <a:cs typeface="+mn-cs"/>
              </a:rPr>
              <a:t>consultan el Blog IKI Alliance México </a:t>
            </a:r>
            <a:r>
              <a:rPr kumimoji="0" lang="es-MX" sz="2400" b="0" i="0" u="none" strike="noStrike" kern="1200" cap="none" spc="0" normalizeH="0" baseline="0" noProof="0" dirty="0">
                <a:ln>
                  <a:noFill/>
                </a:ln>
                <a:solidFill>
                  <a:sysClr val="windowText" lastClr="000000">
                    <a:lumMod val="65000"/>
                    <a:lumOff val="35000"/>
                  </a:sysClr>
                </a:solidFill>
                <a:effectLst/>
                <a:uLnTx/>
                <a:uFillTx/>
                <a:latin typeface="GIZ Gravur Pro Cond"/>
                <a:ea typeface="+mn-ea"/>
                <a:cs typeface="+mn-cs"/>
                <a:hlinkClick r:id="rId4"/>
              </a:rPr>
              <a:t>www.iki-alliance.mx</a:t>
            </a:r>
            <a:r>
              <a:rPr kumimoji="0" lang="es-MX" sz="2400" b="0" i="0" u="none" strike="noStrike" kern="1200" cap="none" spc="0" normalizeH="0" baseline="0" noProof="0" dirty="0">
                <a:ln>
                  <a:noFill/>
                </a:ln>
                <a:solidFill>
                  <a:sysClr val="windowText" lastClr="000000">
                    <a:lumMod val="65000"/>
                    <a:lumOff val="35000"/>
                  </a:sysClr>
                </a:solidFill>
                <a:effectLst/>
                <a:uLnTx/>
                <a:uFillTx/>
                <a:latin typeface="GIZ Gravur Pro Cond"/>
                <a:ea typeface="+mn-ea"/>
                <a:cs typeface="+mn-cs"/>
              </a:rPr>
              <a:t> al mes</a:t>
            </a:r>
          </a:p>
          <a:p>
            <a:pPr marL="0" marR="0" lvl="0" indent="0" algn="ctr"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MX" sz="2600" b="0" i="0" u="none" strike="noStrike" kern="1200" cap="none" spc="0" normalizeH="0" baseline="0" noProof="0" dirty="0">
              <a:ln>
                <a:noFill/>
              </a:ln>
              <a:solidFill>
                <a:sysClr val="windowText" lastClr="000000">
                  <a:lumMod val="65000"/>
                  <a:lumOff val="35000"/>
                </a:sysClr>
              </a:solidFill>
              <a:effectLst/>
              <a:uLnTx/>
              <a:uFillTx/>
              <a:latin typeface="GIZ Gravur Pro Cond"/>
              <a:ea typeface="+mn-ea"/>
              <a:cs typeface="+mn-cs"/>
            </a:endParaRPr>
          </a:p>
          <a:p>
            <a:pPr marL="0" marR="0" lvl="0" indent="0" algn="ctr"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2400" b="0" i="0" u="none" strike="noStrike" kern="1200" cap="none" spc="0" normalizeH="0" baseline="0" noProof="0" dirty="0">
                <a:ln>
                  <a:noFill/>
                </a:ln>
                <a:solidFill>
                  <a:sysClr val="windowText" lastClr="000000">
                    <a:lumMod val="65000"/>
                    <a:lumOff val="35000"/>
                  </a:sysClr>
                </a:solidFill>
                <a:effectLst/>
                <a:uLnTx/>
                <a:uFillTx/>
                <a:latin typeface="GIZ Gravur Pro Cond"/>
                <a:ea typeface="+mn-ea"/>
                <a:cs typeface="+mn-cs"/>
              </a:rPr>
              <a:t>El boletín IKI Alliance México cuenta con</a:t>
            </a:r>
            <a:r>
              <a:rPr kumimoji="0" lang="es-MX" sz="2800" b="0" i="0" u="none" strike="noStrike" kern="1200" cap="none" spc="0" normalizeH="0" baseline="0" noProof="0" dirty="0">
                <a:ln>
                  <a:noFill/>
                </a:ln>
                <a:solidFill>
                  <a:sysClr val="windowText" lastClr="000000">
                    <a:lumMod val="65000"/>
                    <a:lumOff val="35000"/>
                  </a:sysClr>
                </a:solidFill>
                <a:effectLst/>
                <a:uLnTx/>
                <a:uFillTx/>
                <a:latin typeface="GIZ Gravur Pro Cond"/>
                <a:ea typeface="+mn-ea"/>
                <a:cs typeface="+mn-cs"/>
              </a:rPr>
              <a:t> </a:t>
            </a:r>
            <a:r>
              <a:rPr lang="es-MX" sz="2800" b="1" dirty="0">
                <a:solidFill>
                  <a:sysClr val="windowText" lastClr="000000">
                    <a:lumMod val="65000"/>
                    <a:lumOff val="35000"/>
                  </a:sysClr>
                </a:solidFill>
                <a:latin typeface="GIZ Gravur Pro Cond"/>
              </a:rPr>
              <a:t>1,2</a:t>
            </a:r>
            <a:r>
              <a:rPr kumimoji="0" lang="es-MX" sz="2800" b="1" i="0" u="none" strike="noStrike" kern="1200" cap="none" spc="0" normalizeH="0" baseline="0" noProof="0" dirty="0">
                <a:ln>
                  <a:noFill/>
                </a:ln>
                <a:solidFill>
                  <a:sysClr val="windowText" lastClr="000000">
                    <a:lumMod val="65000"/>
                    <a:lumOff val="35000"/>
                  </a:sysClr>
                </a:solidFill>
                <a:effectLst/>
                <a:uLnTx/>
                <a:uFillTx/>
                <a:latin typeface="GIZ Gravur Pro Cond"/>
                <a:ea typeface="+mn-ea"/>
                <a:cs typeface="+mn-cs"/>
              </a:rPr>
              <a:t>00 </a:t>
            </a:r>
            <a:r>
              <a:rPr kumimoji="0" lang="es-MX" sz="2400" b="1" i="0" u="none" strike="noStrike" kern="1200" cap="none" spc="0" normalizeH="0" baseline="0" noProof="0" dirty="0">
                <a:ln>
                  <a:noFill/>
                </a:ln>
                <a:solidFill>
                  <a:sysClr val="windowText" lastClr="000000">
                    <a:lumMod val="65000"/>
                    <a:lumOff val="35000"/>
                  </a:sysClr>
                </a:solidFill>
                <a:effectLst/>
                <a:uLnTx/>
                <a:uFillTx/>
                <a:latin typeface="GIZ Gravur Pro Cond"/>
                <a:ea typeface="+mn-ea"/>
                <a:cs typeface="+mn-cs"/>
              </a:rPr>
              <a:t>suscriptores</a:t>
            </a:r>
          </a:p>
          <a:p>
            <a:pPr marL="0" marR="0" lvl="0" indent="0" algn="ctr"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MX" sz="2400" b="1" i="0" u="none" strike="noStrike" kern="1200" cap="none" spc="0" normalizeH="0" baseline="0" noProof="0" dirty="0">
              <a:ln>
                <a:noFill/>
              </a:ln>
              <a:solidFill>
                <a:sysClr val="windowText" lastClr="000000">
                  <a:lumMod val="65000"/>
                  <a:lumOff val="35000"/>
                </a:sysClr>
              </a:solidFill>
              <a:effectLst/>
              <a:uLnTx/>
              <a:uFillTx/>
              <a:latin typeface="GIZ Gravur Pro Cond"/>
              <a:ea typeface="+mn-ea"/>
              <a:cs typeface="+mn-cs"/>
            </a:endParaRPr>
          </a:p>
          <a:p>
            <a:pPr marL="0" marR="0" lvl="0" indent="0" algn="ctr"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2800" b="1" i="0" u="none" strike="noStrike" kern="1200" cap="none" spc="0" normalizeH="0" baseline="0" noProof="0" dirty="0">
                <a:ln>
                  <a:noFill/>
                </a:ln>
                <a:solidFill>
                  <a:sysClr val="windowText" lastClr="000000">
                    <a:lumMod val="65000"/>
                    <a:lumOff val="35000"/>
                  </a:sysClr>
                </a:solidFill>
                <a:effectLst/>
                <a:uLnTx/>
                <a:uFillTx/>
                <a:latin typeface="GIZ Gravur Pro Cond"/>
                <a:ea typeface="+mn-ea"/>
                <a:cs typeface="Arial" panose="020B0604020202020204" pitchFamily="34" charset="0"/>
              </a:rPr>
              <a:t>1,400 </a:t>
            </a:r>
            <a:r>
              <a:rPr kumimoji="0" lang="es-MX" sz="2400" b="1" i="0" u="none" strike="noStrike" kern="1200" cap="none" spc="0" normalizeH="0" baseline="0" noProof="0" dirty="0">
                <a:ln>
                  <a:noFill/>
                </a:ln>
                <a:solidFill>
                  <a:sysClr val="windowText" lastClr="000000">
                    <a:lumMod val="65000"/>
                    <a:lumOff val="35000"/>
                  </a:sysClr>
                </a:solidFill>
                <a:effectLst/>
                <a:uLnTx/>
                <a:uFillTx/>
                <a:latin typeface="GIZ Gravur Pro Cond"/>
                <a:ea typeface="+mn-ea"/>
                <a:cs typeface="Arial" panose="020B0604020202020204" pitchFamily="34" charset="0"/>
              </a:rPr>
              <a:t>seguidores </a:t>
            </a:r>
            <a:r>
              <a:rPr kumimoji="0" lang="es-MX" sz="2400" b="0" i="0" u="none" strike="noStrike" kern="1200" cap="none" spc="0" normalizeH="0" baseline="0" noProof="0" dirty="0">
                <a:ln>
                  <a:noFill/>
                </a:ln>
                <a:solidFill>
                  <a:sysClr val="windowText" lastClr="000000">
                    <a:lumMod val="65000"/>
                    <a:lumOff val="35000"/>
                  </a:sysClr>
                </a:solidFill>
                <a:effectLst/>
                <a:uLnTx/>
                <a:uFillTx/>
                <a:latin typeface="GIZ Gravur Pro Cond"/>
                <a:ea typeface="+mn-ea"/>
                <a:cs typeface="Arial" panose="020B0604020202020204" pitchFamily="34" charset="0"/>
              </a:rPr>
              <a:t>en Twitter, y más de </a:t>
            </a:r>
            <a:r>
              <a:rPr kumimoji="0" lang="es-MX" sz="2800" b="1" i="0" u="none" strike="noStrike" kern="1200" cap="none" spc="0" normalizeH="0" baseline="0" noProof="0" dirty="0">
                <a:ln>
                  <a:noFill/>
                </a:ln>
                <a:solidFill>
                  <a:sysClr val="windowText" lastClr="000000">
                    <a:lumMod val="65000"/>
                    <a:lumOff val="35000"/>
                  </a:sysClr>
                </a:solidFill>
                <a:effectLst/>
                <a:uLnTx/>
                <a:uFillTx/>
                <a:latin typeface="GIZ Gravur Pro Cond"/>
                <a:ea typeface="+mn-ea"/>
                <a:cs typeface="Arial" panose="020B0604020202020204" pitchFamily="34" charset="0"/>
              </a:rPr>
              <a:t>3,000</a:t>
            </a:r>
            <a:r>
              <a:rPr kumimoji="0" lang="es-MX" sz="2400" b="0" i="0" u="none" strike="noStrike" kern="1200" cap="none" spc="0" normalizeH="0" baseline="0" noProof="0" dirty="0">
                <a:ln>
                  <a:noFill/>
                </a:ln>
                <a:solidFill>
                  <a:sysClr val="windowText" lastClr="000000">
                    <a:lumMod val="65000"/>
                    <a:lumOff val="35000"/>
                  </a:sysClr>
                </a:solidFill>
                <a:effectLst/>
                <a:uLnTx/>
                <a:uFillTx/>
                <a:latin typeface="GIZ Gravur Pro Cond"/>
                <a:ea typeface="+mn-ea"/>
                <a:cs typeface="Arial" panose="020B0604020202020204" pitchFamily="34" charset="0"/>
              </a:rPr>
              <a:t> tweets </a:t>
            </a:r>
          </a:p>
          <a:p>
            <a:pPr marL="457189" marR="0" lvl="1" indent="0" algn="ctr" defTabSz="914377"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s-MX" sz="2400" b="0" i="0" u="none" strike="noStrike" kern="1200" cap="none" spc="0" normalizeH="0" baseline="0" noProof="0" dirty="0">
              <a:ln>
                <a:noFill/>
              </a:ln>
              <a:solidFill>
                <a:sysClr val="windowText" lastClr="000000"/>
              </a:solidFill>
              <a:effectLst/>
              <a:uLnTx/>
              <a:uFillTx/>
              <a:latin typeface="Helvetica"/>
              <a:ea typeface="+mn-ea"/>
              <a:cs typeface="+mn-cs"/>
            </a:endParaRPr>
          </a:p>
        </p:txBody>
      </p:sp>
      <p:pic>
        <p:nvPicPr>
          <p:cNvPr id="14" name="Picture 2">
            <a:extLst>
              <a:ext uri="{FF2B5EF4-FFF2-40B4-BE49-F238E27FC236}">
                <a16:creationId xmlns:a16="http://schemas.microsoft.com/office/drawing/2014/main" id="{E3AD8DE3-9E95-43F1-B7DE-5D9C4B39AA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87707" y="5264771"/>
            <a:ext cx="1148444" cy="1020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2">
            <a:extLst>
              <a:ext uri="{FF2B5EF4-FFF2-40B4-BE49-F238E27FC236}">
                <a16:creationId xmlns:a16="http://schemas.microsoft.com/office/drawing/2014/main" id="{60B386AF-90A2-41E6-A04A-42D39D13752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02831" y="2529857"/>
            <a:ext cx="5355772" cy="25809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ectángulo 15">
            <a:extLst>
              <a:ext uri="{FF2B5EF4-FFF2-40B4-BE49-F238E27FC236}">
                <a16:creationId xmlns:a16="http://schemas.microsoft.com/office/drawing/2014/main" id="{66B3C3FA-67B8-44AE-A5F1-F4CA603F557D}"/>
              </a:ext>
            </a:extLst>
          </p:cNvPr>
          <p:cNvSpPr/>
          <p:nvPr/>
        </p:nvSpPr>
        <p:spPr>
          <a:xfrm>
            <a:off x="8169073" y="5585902"/>
            <a:ext cx="1833322" cy="461665"/>
          </a:xfrm>
          <a:prstGeom prst="rect">
            <a:avLst/>
          </a:prstGeom>
        </p:spPr>
        <p:txBody>
          <a:bodyPr wrap="none">
            <a:spAutoFit/>
          </a:bodyPr>
          <a:lstStyle/>
          <a:p>
            <a:pPr algn="ctr" defTabSz="914400"/>
            <a:r>
              <a:rPr lang="es-MX" sz="2400" dirty="0">
                <a:solidFill>
                  <a:prstClr val="black">
                    <a:lumMod val="65000"/>
                    <a:lumOff val="35000"/>
                  </a:prstClr>
                </a:solidFill>
                <a:latin typeface="GIZ Gravur Pro Cond"/>
              </a:rPr>
              <a:t>@</a:t>
            </a:r>
            <a:r>
              <a:rPr lang="es-MX" sz="2400" dirty="0" err="1">
                <a:solidFill>
                  <a:prstClr val="black">
                    <a:lumMod val="65000"/>
                    <a:lumOff val="35000"/>
                  </a:prstClr>
                </a:solidFill>
                <a:latin typeface="GIZ Gravur Pro Cond"/>
              </a:rPr>
              <a:t>IKI_Mexico</a:t>
            </a:r>
            <a:endParaRPr lang="es-MX" sz="2400" dirty="0">
              <a:solidFill>
                <a:prstClr val="black">
                  <a:lumMod val="65000"/>
                  <a:lumOff val="35000"/>
                </a:prstClr>
              </a:solidFill>
              <a:latin typeface="GIZ Gravur Pro Cond"/>
            </a:endParaRPr>
          </a:p>
        </p:txBody>
      </p:sp>
    </p:spTree>
    <p:extLst>
      <p:ext uri="{BB962C8B-B14F-4D97-AF65-F5344CB8AC3E}">
        <p14:creationId xmlns:p14="http://schemas.microsoft.com/office/powerpoint/2010/main" val="353820318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3223200" y="5329848"/>
            <a:ext cx="6256800" cy="923330"/>
          </a:xfrm>
        </p:spPr>
        <p:txBody>
          <a:bodyPr/>
          <a:lstStyle/>
          <a:p>
            <a:r>
              <a:rPr lang="es-ES" dirty="0"/>
              <a:t>Cooperaciones de Desarrollo con el Sector Privado</a:t>
            </a:r>
            <a:endParaRPr lang="de-DE" dirty="0"/>
          </a:p>
        </p:txBody>
      </p:sp>
      <p:sp>
        <p:nvSpPr>
          <p:cNvPr id="15" name="Untertitel 14"/>
          <p:cNvSpPr>
            <a:spLocks noGrp="1"/>
          </p:cNvSpPr>
          <p:nvPr>
            <p:ph type="subTitle" idx="1"/>
          </p:nvPr>
        </p:nvSpPr>
        <p:spPr>
          <a:xfrm>
            <a:off x="3223200" y="6381331"/>
            <a:ext cx="6257176" cy="180049"/>
          </a:xfrm>
        </p:spPr>
        <p:txBody>
          <a:bodyPr/>
          <a:lstStyle/>
          <a:p>
            <a:r>
              <a:rPr lang="de-DE" dirty="0"/>
              <a:t>GIZ México</a:t>
            </a:r>
          </a:p>
        </p:txBody>
      </p:sp>
      <p:grpSp>
        <p:nvGrpSpPr>
          <p:cNvPr id="8" name="Gruppieren 3"/>
          <p:cNvGrpSpPr/>
          <p:nvPr/>
        </p:nvGrpSpPr>
        <p:grpSpPr>
          <a:xfrm>
            <a:off x="1820336" y="303557"/>
            <a:ext cx="3806635" cy="727601"/>
            <a:chOff x="636961" y="303554"/>
            <a:chExt cx="3806635" cy="727601"/>
          </a:xfrm>
        </p:grpSpPr>
        <p:pic>
          <p:nvPicPr>
            <p:cNvPr id="10" name="Grafik 9"/>
            <p:cNvPicPr>
              <a:picLocks noChangeAspect="1"/>
            </p:cNvPicPr>
            <p:nvPr/>
          </p:nvPicPr>
          <p:blipFill rotWithShape="1">
            <a:blip r:embed="rId3" cstate="print">
              <a:extLst>
                <a:ext uri="{28A0092B-C50C-407E-A947-70E740481C1C}">
                  <a14:useLocalDpi xmlns:a14="http://schemas.microsoft.com/office/drawing/2010/main" val="0"/>
                </a:ext>
              </a:extLst>
            </a:blip>
            <a:srcRect l="33176" t="13382" r="11145" b="18159"/>
            <a:stretch/>
          </p:blipFill>
          <p:spPr>
            <a:xfrm>
              <a:off x="636961" y="307255"/>
              <a:ext cx="2000692" cy="723900"/>
            </a:xfrm>
            <a:prstGeom prst="rect">
              <a:avLst/>
            </a:prstGeom>
          </p:spPr>
        </p:pic>
        <p:pic>
          <p:nvPicPr>
            <p:cNvPr id="11" name="Grafik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31428" y="303554"/>
              <a:ext cx="1512168" cy="603413"/>
            </a:xfrm>
            <a:prstGeom prst="rect">
              <a:avLst/>
            </a:prstGeom>
          </p:spPr>
        </p:pic>
      </p:grpSp>
      <p:pic>
        <p:nvPicPr>
          <p:cNvPr id="12" name="Bildplatzhalter 1"/>
          <p:cNvPicPr>
            <a:picLocks noGrp="1" noChangeAspect="1"/>
          </p:cNvPicPr>
          <p:nvPr>
            <p:ph type="pic" sz="quarter" idx="10"/>
          </p:nvPr>
        </p:nvPicPr>
        <p:blipFill>
          <a:blip r:embed="rId5">
            <a:extLst>
              <a:ext uri="{28A0092B-C50C-407E-A947-70E740481C1C}">
                <a14:useLocalDpi xmlns:a14="http://schemas.microsoft.com/office/drawing/2010/main" val="0"/>
              </a:ext>
            </a:extLst>
          </a:blip>
          <a:srcRect l="2240" r="2240"/>
          <a:stretch>
            <a:fillRect/>
          </a:stretch>
        </p:blipFill>
        <p:spPr>
          <a:blipFill dpi="0" rotWithShape="1">
            <a:blip r:embed="rId5">
              <a:extLst>
                <a:ext uri="{28A0092B-C50C-407E-A947-70E740481C1C}">
                  <a14:useLocalDpi xmlns:a14="http://schemas.microsoft.com/office/drawing/2010/main" val="0"/>
                </a:ext>
              </a:extLst>
            </a:blip>
            <a:srcRect/>
            <a:stretch>
              <a:fillRect/>
            </a:stretch>
          </a:blipFill>
        </p:spPr>
      </p:pic>
    </p:spTree>
    <p:extLst>
      <p:ext uri="{BB962C8B-B14F-4D97-AF65-F5344CB8AC3E}">
        <p14:creationId xmlns:p14="http://schemas.microsoft.com/office/powerpoint/2010/main" val="2333654610"/>
      </p:ext>
    </p:extLst>
  </p:cSld>
  <p:clrMapOvr>
    <a:masterClrMapping/>
  </p:clrMapOvr>
  <mc:AlternateContent xmlns:mc="http://schemas.openxmlformats.org/markup-compatibility/2006" xmlns:p14="http://schemas.microsoft.com/office/powerpoint/2010/main">
    <mc:Choice Requires="p14">
      <p:transition spd="slow" p14:dur="20000" advClick="0" advTm="10762"/>
    </mc:Choice>
    <mc:Fallback xmlns="">
      <p:transition spd="slow" advClick="0" advTm="10762"/>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4">
            <a:extLst>
              <a:ext uri="{FF2B5EF4-FFF2-40B4-BE49-F238E27FC236}">
                <a16:creationId xmlns:a16="http://schemas.microsoft.com/office/drawing/2014/main" id="{3D506424-A5D5-4B4E-9095-B4213B0F68D1}"/>
              </a:ext>
            </a:extLst>
          </p:cNvPr>
          <p:cNvSpPr txBox="1">
            <a:spLocks/>
          </p:cNvSpPr>
          <p:nvPr/>
        </p:nvSpPr>
        <p:spPr>
          <a:xfrm>
            <a:off x="2243142" y="1184282"/>
            <a:ext cx="7237411" cy="461665"/>
          </a:xfrm>
          <a:prstGeom prst="rect">
            <a:avLst/>
          </a:prstGeom>
        </p:spPr>
        <p:txBody>
          <a:bodyPr/>
          <a:lstStyle>
            <a:lvl1pPr algn="l" defTabSz="914400" rtl="0" eaLnBrk="1" latinLnBrk="0" hangingPunct="1">
              <a:spcBef>
                <a:spcPct val="0"/>
              </a:spcBef>
              <a:buNone/>
              <a:defRPr sz="3000" kern="1200">
                <a:solidFill>
                  <a:schemeClr val="tx1"/>
                </a:solidFill>
                <a:latin typeface="Times" pitchFamily="18" charset="0"/>
                <a:ea typeface="+mj-ea"/>
                <a:cs typeface="Times" pitchFamily="18" charset="0"/>
              </a:defRPr>
            </a:lvl1pPr>
          </a:lstStyle>
          <a:p>
            <a:pPr>
              <a:spcBef>
                <a:spcPct val="20000"/>
              </a:spcBef>
            </a:pPr>
            <a:r>
              <a:rPr lang="de-DE" dirty="0">
                <a:solidFill>
                  <a:srgbClr val="1F497D"/>
                </a:solidFill>
                <a:latin typeface="Times"/>
                <a:cs typeface="Times"/>
              </a:rPr>
              <a:t>¿Qué es la GIZ?</a:t>
            </a:r>
          </a:p>
        </p:txBody>
      </p:sp>
      <p:sp>
        <p:nvSpPr>
          <p:cNvPr id="3" name="Rechteck 3">
            <a:extLst>
              <a:ext uri="{FF2B5EF4-FFF2-40B4-BE49-F238E27FC236}">
                <a16:creationId xmlns:a16="http://schemas.microsoft.com/office/drawing/2014/main" id="{CC60B7A6-CC39-42EC-B515-5F5055A8C51E}"/>
              </a:ext>
            </a:extLst>
          </p:cNvPr>
          <p:cNvSpPr/>
          <p:nvPr/>
        </p:nvSpPr>
        <p:spPr>
          <a:xfrm>
            <a:off x="1596820" y="1762330"/>
            <a:ext cx="8756630" cy="1631216"/>
          </a:xfrm>
          <a:prstGeom prst="rect">
            <a:avLst/>
          </a:prstGeom>
        </p:spPr>
        <p:txBody>
          <a:bodyPr wrap="square">
            <a:spAutoFit/>
          </a:bodyPr>
          <a:lstStyle/>
          <a:p>
            <a:pPr marL="360000" indent="-360000">
              <a:spcBef>
                <a:spcPts val="400"/>
              </a:spcBef>
              <a:spcAft>
                <a:spcPts val="800"/>
              </a:spcAft>
              <a:buClr>
                <a:srgbClr val="C80F0F"/>
              </a:buClr>
              <a:buFont typeface="Arial" panose="020B0604020202020204" pitchFamily="34" charset="0"/>
              <a:buChar char="‒"/>
              <a:tabLst>
                <a:tab pos="2190750" algn="l"/>
              </a:tabLst>
              <a:defRPr/>
            </a:pPr>
            <a:r>
              <a:rPr lang="es-ES" dirty="0">
                <a:solidFill>
                  <a:schemeClr val="accent1"/>
                </a:solidFill>
                <a:latin typeface="Arial" pitchFamily="34" charset="0"/>
                <a:cs typeface="Arial" pitchFamily="34" charset="0"/>
              </a:rPr>
              <a:t>Es una </a:t>
            </a:r>
            <a:r>
              <a:rPr lang="es-ES" b="1" dirty="0">
                <a:solidFill>
                  <a:srgbClr val="0078D2"/>
                </a:solidFill>
                <a:latin typeface="Arial" pitchFamily="34" charset="0"/>
                <a:cs typeface="Arial" pitchFamily="34" charset="0"/>
              </a:rPr>
              <a:t>empresa federal alemana </a:t>
            </a:r>
            <a:r>
              <a:rPr lang="es-ES" dirty="0">
                <a:solidFill>
                  <a:schemeClr val="accent1"/>
                </a:solidFill>
                <a:latin typeface="Arial" pitchFamily="34" charset="0"/>
                <a:cs typeface="Arial" pitchFamily="34" charset="0"/>
              </a:rPr>
              <a:t>que trabaja en el ámbito de la cooperación internacional para el desarrollo sustentable</a:t>
            </a:r>
            <a:endParaRPr lang="es-ES" altLang="de-DE" dirty="0">
              <a:solidFill>
                <a:schemeClr val="accent1"/>
              </a:solidFill>
              <a:latin typeface="Arial" pitchFamily="34" charset="0"/>
              <a:cs typeface="Arial" pitchFamily="34" charset="0"/>
            </a:endParaRPr>
          </a:p>
          <a:p>
            <a:pPr marL="360000" indent="-360000">
              <a:spcBef>
                <a:spcPts val="400"/>
              </a:spcBef>
              <a:spcAft>
                <a:spcPts val="800"/>
              </a:spcAft>
              <a:buClr>
                <a:srgbClr val="C80F0F"/>
              </a:buClr>
              <a:buFont typeface="Arial" panose="020B0604020202020204" pitchFamily="34" charset="0"/>
              <a:buChar char="‒"/>
              <a:tabLst>
                <a:tab pos="2190750" algn="l"/>
              </a:tabLst>
              <a:defRPr/>
            </a:pPr>
            <a:r>
              <a:rPr lang="es-ES" dirty="0">
                <a:solidFill>
                  <a:schemeClr val="accent1"/>
                </a:solidFill>
                <a:latin typeface="Arial" pitchFamily="34" charset="0"/>
                <a:cs typeface="Arial" pitchFamily="34" charset="0"/>
              </a:rPr>
              <a:t>Nuestro enfoque </a:t>
            </a:r>
            <a:r>
              <a:rPr lang="es-MX" dirty="0">
                <a:solidFill>
                  <a:schemeClr val="accent1"/>
                </a:solidFill>
                <a:latin typeface="Arial" pitchFamily="34" charset="0"/>
                <a:cs typeface="Arial" pitchFamily="34" charset="0"/>
              </a:rPr>
              <a:t>es el </a:t>
            </a:r>
            <a:r>
              <a:rPr lang="es-MX" b="1" dirty="0">
                <a:solidFill>
                  <a:srgbClr val="0078D2"/>
                </a:solidFill>
                <a:latin typeface="Arial" pitchFamily="34" charset="0"/>
                <a:cs typeface="Arial" pitchFamily="34" charset="0"/>
              </a:rPr>
              <a:t>fortalecimiento de capacidades</a:t>
            </a:r>
            <a:r>
              <a:rPr lang="es-MX" dirty="0">
                <a:solidFill>
                  <a:schemeClr val="accent1"/>
                </a:solidFill>
                <a:latin typeface="Arial" pitchFamily="34" charset="0"/>
                <a:cs typeface="Arial" pitchFamily="34" charset="0"/>
              </a:rPr>
              <a:t>: el asesoramiento político y técnico, el fortalecimiento de instituciones y de procesos, así como de capacidades de actores</a:t>
            </a:r>
          </a:p>
        </p:txBody>
      </p:sp>
      <p:pic>
        <p:nvPicPr>
          <p:cNvPr id="4" name="Bildplatzhalter 1">
            <a:extLst>
              <a:ext uri="{FF2B5EF4-FFF2-40B4-BE49-F238E27FC236}">
                <a16:creationId xmlns:a16="http://schemas.microsoft.com/office/drawing/2014/main" id="{53568881-5F7B-4E34-AD4A-754669BFF88E}"/>
              </a:ext>
            </a:extLst>
          </p:cNvPr>
          <p:cNvPicPr>
            <a:picLocks noChangeAspect="1"/>
          </p:cNvPicPr>
          <p:nvPr/>
        </p:nvPicPr>
        <p:blipFill>
          <a:blip r:embed="rId2">
            <a:extLst>
              <a:ext uri="{28A0092B-C50C-407E-A947-70E740481C1C}">
                <a14:useLocalDpi xmlns:a14="http://schemas.microsoft.com/office/drawing/2010/main" val="0"/>
              </a:ext>
            </a:extLst>
          </a:blip>
          <a:srcRect l="2240" r="2240"/>
          <a:stretch>
            <a:fillRect/>
          </a:stretch>
        </p:blipFill>
        <p:spPr>
          <a:xfrm>
            <a:off x="8904000" y="44624"/>
            <a:ext cx="1397000" cy="6096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pic>
      <p:pic>
        <p:nvPicPr>
          <p:cNvPr id="18" name="Grafik 1">
            <a:extLst>
              <a:ext uri="{FF2B5EF4-FFF2-40B4-BE49-F238E27FC236}">
                <a16:creationId xmlns:a16="http://schemas.microsoft.com/office/drawing/2014/main" id="{0411F034-2480-45D2-B3A8-7E79C95B02FF}"/>
              </a:ext>
            </a:extLst>
          </p:cNvPr>
          <p:cNvPicPr>
            <a:picLocks noChangeAspect="1"/>
          </p:cNvPicPr>
          <p:nvPr/>
        </p:nvPicPr>
        <p:blipFill>
          <a:blip r:embed="rId3">
            <a:duotone>
              <a:schemeClr val="bg2">
                <a:shade val="45000"/>
                <a:satMod val="135000"/>
              </a:schemeClr>
              <a:prstClr val="white"/>
            </a:duotone>
            <a:extLst>
              <a:ext uri="{96DAC541-7B7A-43D3-8B79-37D633B846F1}">
                <asvg:svgBlip xmlns:asvg="http://schemas.microsoft.com/office/drawing/2016/SVG/main" r:embed="rId4"/>
              </a:ext>
            </a:extLst>
          </a:blip>
          <a:stretch>
            <a:fillRect/>
          </a:stretch>
        </p:blipFill>
        <p:spPr>
          <a:xfrm>
            <a:off x="2407445" y="3351830"/>
            <a:ext cx="7886470" cy="3453176"/>
          </a:xfrm>
          <a:prstGeom prst="rect">
            <a:avLst/>
          </a:prstGeom>
        </p:spPr>
      </p:pic>
      <p:sp>
        <p:nvSpPr>
          <p:cNvPr id="19" name="Ellipse 11">
            <a:extLst>
              <a:ext uri="{FF2B5EF4-FFF2-40B4-BE49-F238E27FC236}">
                <a16:creationId xmlns:a16="http://schemas.microsoft.com/office/drawing/2014/main" id="{96127E3D-7C5E-4A9F-8142-6C71862E09E4}"/>
              </a:ext>
            </a:extLst>
          </p:cNvPr>
          <p:cNvSpPr/>
          <p:nvPr/>
        </p:nvSpPr>
        <p:spPr>
          <a:xfrm>
            <a:off x="5604520" y="3140968"/>
            <a:ext cx="1337517" cy="1229362"/>
          </a:xfrm>
          <a:prstGeom prst="ellipse">
            <a:avLst/>
          </a:prstGeom>
          <a:solidFill>
            <a:srgbClr val="C00000">
              <a:alpha val="89000"/>
            </a:srgbClr>
          </a:solidFill>
          <a:ln w="63500" cap="rnd">
            <a:solidFill>
              <a:srgbClr val="A6A6A6"/>
            </a:solidFill>
            <a:round/>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algn="ctr"/>
            <a:r>
              <a:rPr lang="es-ES" sz="2700" dirty="0">
                <a:solidFill>
                  <a:schemeClr val="bg1"/>
                </a:solidFill>
              </a:rPr>
              <a:t>2600</a:t>
            </a:r>
            <a:r>
              <a:rPr lang="es-ES" sz="1650" dirty="0"/>
              <a:t> </a:t>
            </a:r>
            <a:r>
              <a:rPr lang="es-ES" sz="1200" dirty="0">
                <a:solidFill>
                  <a:srgbClr val="FF7765"/>
                </a:solidFill>
              </a:rPr>
              <a:t>mill. de € de volumen de negocios</a:t>
            </a:r>
          </a:p>
        </p:txBody>
      </p:sp>
      <p:sp>
        <p:nvSpPr>
          <p:cNvPr id="22" name="Ellipse 8">
            <a:extLst>
              <a:ext uri="{FF2B5EF4-FFF2-40B4-BE49-F238E27FC236}">
                <a16:creationId xmlns:a16="http://schemas.microsoft.com/office/drawing/2014/main" id="{7165AE9B-96E2-458A-AFCC-A896142E1A23}"/>
              </a:ext>
            </a:extLst>
          </p:cNvPr>
          <p:cNvSpPr/>
          <p:nvPr/>
        </p:nvSpPr>
        <p:spPr>
          <a:xfrm>
            <a:off x="8822302" y="4587119"/>
            <a:ext cx="1240155" cy="1240155"/>
          </a:xfrm>
          <a:prstGeom prst="ellipse">
            <a:avLst/>
          </a:prstGeom>
          <a:solidFill>
            <a:srgbClr val="C00000">
              <a:alpha val="89000"/>
            </a:srgbClr>
          </a:solidFill>
          <a:ln w="63500" cap="rnd">
            <a:solidFill>
              <a:srgbClr val="A6A6A6"/>
            </a:solidFill>
            <a:round/>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algn="ctr"/>
            <a:r>
              <a:rPr lang="es-ES" sz="825" dirty="0">
                <a:solidFill>
                  <a:srgbClr val="FF7765"/>
                </a:solidFill>
              </a:rPr>
              <a:t>Actividades </a:t>
            </a:r>
            <a:br>
              <a:rPr lang="es-ES" sz="825" dirty="0">
                <a:solidFill>
                  <a:srgbClr val="FF7765"/>
                </a:solidFill>
              </a:rPr>
            </a:br>
            <a:r>
              <a:rPr lang="es-ES" sz="825" dirty="0">
                <a:solidFill>
                  <a:srgbClr val="FF7765"/>
                </a:solidFill>
              </a:rPr>
              <a:t>en Alemania </a:t>
            </a:r>
            <a:br>
              <a:rPr lang="es-ES" sz="825" dirty="0">
                <a:solidFill>
                  <a:srgbClr val="FF7765"/>
                </a:solidFill>
              </a:rPr>
            </a:br>
            <a:r>
              <a:rPr lang="es-ES" sz="825" dirty="0">
                <a:solidFill>
                  <a:srgbClr val="FF7765"/>
                </a:solidFill>
              </a:rPr>
              <a:t>y en unos </a:t>
            </a:r>
          </a:p>
          <a:p>
            <a:pPr algn="ctr"/>
            <a:r>
              <a:rPr lang="es-ES" dirty="0">
                <a:solidFill>
                  <a:schemeClr val="bg1"/>
                </a:solidFill>
              </a:rPr>
              <a:t>120</a:t>
            </a:r>
            <a:r>
              <a:rPr lang="es-ES" sz="1650" dirty="0"/>
              <a:t> </a:t>
            </a:r>
          </a:p>
          <a:p>
            <a:pPr algn="ctr"/>
            <a:r>
              <a:rPr lang="es-ES" sz="825" dirty="0">
                <a:solidFill>
                  <a:srgbClr val="FF7765"/>
                </a:solidFill>
              </a:rPr>
              <a:t>países de todo </a:t>
            </a:r>
            <a:br>
              <a:rPr lang="es-ES" sz="825" dirty="0">
                <a:solidFill>
                  <a:srgbClr val="FF7765"/>
                </a:solidFill>
              </a:rPr>
            </a:br>
            <a:r>
              <a:rPr lang="es-ES" sz="825" dirty="0">
                <a:solidFill>
                  <a:srgbClr val="FF7765"/>
                </a:solidFill>
              </a:rPr>
              <a:t>el mundo</a:t>
            </a:r>
          </a:p>
        </p:txBody>
      </p:sp>
      <p:sp>
        <p:nvSpPr>
          <p:cNvPr id="23" name="Ellipse 9">
            <a:extLst>
              <a:ext uri="{FF2B5EF4-FFF2-40B4-BE49-F238E27FC236}">
                <a16:creationId xmlns:a16="http://schemas.microsoft.com/office/drawing/2014/main" id="{FAF25EB4-D6C7-45F5-AD81-28D4C4C893B9}"/>
              </a:ext>
            </a:extLst>
          </p:cNvPr>
          <p:cNvSpPr/>
          <p:nvPr/>
        </p:nvSpPr>
        <p:spPr>
          <a:xfrm>
            <a:off x="7347350" y="3393546"/>
            <a:ext cx="1415417" cy="1389478"/>
          </a:xfrm>
          <a:prstGeom prst="ellipse">
            <a:avLst/>
          </a:prstGeom>
          <a:solidFill>
            <a:srgbClr val="C00000">
              <a:alpha val="89000"/>
            </a:srgbClr>
          </a:solidFill>
          <a:ln w="63500" cap="rnd">
            <a:solidFill>
              <a:srgbClr val="A6A6A6"/>
            </a:solidFill>
            <a:round/>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algn="ctr"/>
            <a:r>
              <a:rPr lang="es-ES" sz="2400" dirty="0">
                <a:solidFill>
                  <a:schemeClr val="bg1"/>
                </a:solidFill>
              </a:rPr>
              <a:t>19 506</a:t>
            </a:r>
          </a:p>
          <a:p>
            <a:pPr algn="ctr"/>
            <a:r>
              <a:rPr lang="es-ES" sz="1650" dirty="0"/>
              <a:t> </a:t>
            </a:r>
            <a:r>
              <a:rPr lang="es-ES" sz="1050" dirty="0">
                <a:solidFill>
                  <a:srgbClr val="FF7765"/>
                </a:solidFill>
              </a:rPr>
              <a:t>colaboradores y colaboradoras en todo el mundo</a:t>
            </a:r>
          </a:p>
        </p:txBody>
      </p:sp>
      <p:sp>
        <p:nvSpPr>
          <p:cNvPr id="27" name="Ellipse 9">
            <a:extLst>
              <a:ext uri="{FF2B5EF4-FFF2-40B4-BE49-F238E27FC236}">
                <a16:creationId xmlns:a16="http://schemas.microsoft.com/office/drawing/2014/main" id="{9346BBB6-32B8-4E22-8D2A-3126FEFB1A27}"/>
              </a:ext>
            </a:extLst>
          </p:cNvPr>
          <p:cNvSpPr/>
          <p:nvPr/>
        </p:nvSpPr>
        <p:spPr>
          <a:xfrm>
            <a:off x="2682184" y="4005064"/>
            <a:ext cx="1415417" cy="1389478"/>
          </a:xfrm>
          <a:prstGeom prst="ellipse">
            <a:avLst/>
          </a:prstGeom>
          <a:solidFill>
            <a:srgbClr val="C00000">
              <a:alpha val="89000"/>
            </a:srgbClr>
          </a:solidFill>
          <a:ln w="63500" cap="rnd">
            <a:solidFill>
              <a:srgbClr val="A6A6A6"/>
            </a:solidFill>
            <a:round/>
          </a:ln>
        </p:spPr>
        <p:style>
          <a:lnRef idx="2">
            <a:schemeClr val="accent1">
              <a:shade val="50000"/>
            </a:schemeClr>
          </a:lnRef>
          <a:fillRef idx="1">
            <a:schemeClr val="accent1"/>
          </a:fillRef>
          <a:effectRef idx="0">
            <a:schemeClr val="accent1"/>
          </a:effectRef>
          <a:fontRef idx="minor">
            <a:schemeClr val="lt1"/>
          </a:fontRef>
        </p:style>
        <p:txBody>
          <a:bodyPr lIns="0" tIns="27000" rIns="0" bIns="27000" rtlCol="0" anchor="ctr"/>
          <a:lstStyle/>
          <a:p>
            <a:pPr algn="ctr"/>
            <a:r>
              <a:rPr lang="es-ES" sz="2400" dirty="0">
                <a:solidFill>
                  <a:schemeClr val="bg1"/>
                </a:solidFill>
              </a:rPr>
              <a:t>202</a:t>
            </a:r>
          </a:p>
          <a:p>
            <a:pPr algn="ctr"/>
            <a:r>
              <a:rPr lang="es-ES" sz="1650" dirty="0"/>
              <a:t> </a:t>
            </a:r>
            <a:r>
              <a:rPr lang="es-ES" sz="1050" dirty="0">
                <a:solidFill>
                  <a:srgbClr val="FF7765"/>
                </a:solidFill>
              </a:rPr>
              <a:t>Empleados</a:t>
            </a:r>
          </a:p>
          <a:p>
            <a:pPr algn="ctr"/>
            <a:r>
              <a:rPr lang="es-ES" sz="1050" dirty="0">
                <a:solidFill>
                  <a:srgbClr val="FF7765"/>
                </a:solidFill>
              </a:rPr>
              <a:t> </a:t>
            </a:r>
            <a:r>
              <a:rPr lang="es-ES" sz="2400" dirty="0">
                <a:solidFill>
                  <a:schemeClr val="bg1"/>
                </a:solidFill>
              </a:rPr>
              <a:t>90</a:t>
            </a:r>
            <a:r>
              <a:rPr lang="es-ES" sz="1050" dirty="0">
                <a:solidFill>
                  <a:srgbClr val="FF7765"/>
                </a:solidFill>
              </a:rPr>
              <a:t> </a:t>
            </a:r>
            <a:r>
              <a:rPr lang="es-ES" sz="1050" dirty="0" err="1">
                <a:solidFill>
                  <a:srgbClr val="FF7765"/>
                </a:solidFill>
              </a:rPr>
              <a:t>mill</a:t>
            </a:r>
            <a:r>
              <a:rPr lang="es-ES" sz="1050" dirty="0">
                <a:solidFill>
                  <a:srgbClr val="FF7765"/>
                </a:solidFill>
              </a:rPr>
              <a:t>. de € </a:t>
            </a:r>
          </a:p>
        </p:txBody>
      </p:sp>
      <p:sp>
        <p:nvSpPr>
          <p:cNvPr id="28" name="Triángulo isósceles 27">
            <a:extLst>
              <a:ext uri="{FF2B5EF4-FFF2-40B4-BE49-F238E27FC236}">
                <a16:creationId xmlns:a16="http://schemas.microsoft.com/office/drawing/2014/main" id="{40D8D127-E80D-4686-9EB2-AB1B0C0E3052}"/>
              </a:ext>
            </a:extLst>
          </p:cNvPr>
          <p:cNvSpPr/>
          <p:nvPr/>
        </p:nvSpPr>
        <p:spPr>
          <a:xfrm rot="5400000">
            <a:off x="1805188" y="4660095"/>
            <a:ext cx="1437692" cy="212362"/>
          </a:xfrm>
          <a:prstGeom prst="triangle">
            <a:avLst>
              <a:gd name="adj" fmla="val 48249"/>
            </a:avLst>
          </a:prstGeom>
          <a:solidFill>
            <a:srgbClr val="D7D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29" name="CuadroTexto 28">
            <a:extLst>
              <a:ext uri="{FF2B5EF4-FFF2-40B4-BE49-F238E27FC236}">
                <a16:creationId xmlns:a16="http://schemas.microsoft.com/office/drawing/2014/main" id="{71B7E2B1-19EE-4A68-AA10-7C42C1642B8C}"/>
              </a:ext>
            </a:extLst>
          </p:cNvPr>
          <p:cNvSpPr txBox="1"/>
          <p:nvPr/>
        </p:nvSpPr>
        <p:spPr>
          <a:xfrm>
            <a:off x="1504273" y="4259804"/>
            <a:ext cx="1055594" cy="1046440"/>
          </a:xfrm>
          <a:prstGeom prst="rect">
            <a:avLst/>
          </a:prstGeom>
          <a:noFill/>
        </p:spPr>
        <p:txBody>
          <a:bodyPr wrap="square" rtlCol="0">
            <a:spAutoFit/>
          </a:bodyPr>
          <a:lstStyle/>
          <a:p>
            <a:r>
              <a:rPr lang="es-MX" sz="1400" b="1" dirty="0">
                <a:solidFill>
                  <a:srgbClr val="C00000"/>
                </a:solidFill>
              </a:rPr>
              <a:t>México</a:t>
            </a:r>
          </a:p>
          <a:p>
            <a:r>
              <a:rPr lang="es-MX" sz="1200" b="1" dirty="0"/>
              <a:t>Comitentes:</a:t>
            </a:r>
          </a:p>
          <a:p>
            <a:r>
              <a:rPr lang="es-MX" sz="1200" b="1" dirty="0"/>
              <a:t>BMZ</a:t>
            </a:r>
          </a:p>
          <a:p>
            <a:r>
              <a:rPr lang="es-MX" sz="1200" b="1" dirty="0"/>
              <a:t>BMU</a:t>
            </a:r>
          </a:p>
          <a:p>
            <a:r>
              <a:rPr lang="es-MX" sz="1200" b="1" dirty="0" err="1"/>
              <a:t>BMWi</a:t>
            </a:r>
            <a:endParaRPr lang="es-MX" sz="1200" b="1" dirty="0"/>
          </a:p>
        </p:txBody>
      </p:sp>
    </p:spTree>
    <p:extLst>
      <p:ext uri="{BB962C8B-B14F-4D97-AF65-F5344CB8AC3E}">
        <p14:creationId xmlns:p14="http://schemas.microsoft.com/office/powerpoint/2010/main" val="3025037392"/>
      </p:ext>
    </p:extLst>
  </p:cSld>
  <p:clrMapOvr>
    <a:masterClrMapping/>
  </p:clrMapOvr>
  <mc:AlternateContent xmlns:mc="http://schemas.openxmlformats.org/markup-compatibility/2006" xmlns:p14="http://schemas.microsoft.com/office/powerpoint/2010/main">
    <mc:Choice Requires="p14">
      <p:transition spd="slow" p14:dur="20000" advClick="0" advTm="15946"/>
    </mc:Choice>
    <mc:Fallback xmlns="">
      <p:transition spd="slow" advClick="0" advTm="15946"/>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p:cTn id="7" dur="400" fill="hold"/>
                                            <p:tgtEl>
                                              <p:spTgt spid="23"/>
                                            </p:tgtEl>
                                            <p:attrNameLst>
                                              <p:attrName>ppt_w</p:attrName>
                                            </p:attrNameLst>
                                          </p:cBhvr>
                                          <p:tavLst>
                                            <p:tav tm="0">
                                              <p:val>
                                                <p:fltVal val="0"/>
                                              </p:val>
                                            </p:tav>
                                            <p:tav tm="100000">
                                              <p:val>
                                                <p:strVal val="#ppt_w"/>
                                              </p:val>
                                            </p:tav>
                                          </p:tavLst>
                                        </p:anim>
                                        <p:anim calcmode="lin" valueType="num">
                                          <p:cBhvr>
                                            <p:cTn id="8" dur="400" fill="hold"/>
                                            <p:tgtEl>
                                              <p:spTgt spid="23"/>
                                            </p:tgtEl>
                                            <p:attrNameLst>
                                              <p:attrName>ppt_h</p:attrName>
                                            </p:attrNameLst>
                                          </p:cBhvr>
                                          <p:tavLst>
                                            <p:tav tm="0">
                                              <p:val>
                                                <p:fltVal val="0"/>
                                              </p:val>
                                            </p:tav>
                                            <p:tav tm="100000">
                                              <p:val>
                                                <p:strVal val="#ppt_h"/>
                                              </p:val>
                                            </p:tav>
                                          </p:tavLst>
                                        </p:anim>
                                      </p:childTnLst>
                                    </p:cTn>
                                  </p:par>
                                </p:childTnLst>
                              </p:cTn>
                            </p:par>
                            <p:par>
                              <p:cTn id="9" fill="hold">
                                <p:stCondLst>
                                  <p:cond delay="400"/>
                                </p:stCondLst>
                                <p:childTnLst>
                                  <p:par>
                                    <p:cTn id="10" presetID="6" presetClass="emph" presetSubtype="0" fill="hold" grpId="1" nodeType="afterEffect" p14:presetBounceEnd="82500">
                                      <p:stCondLst>
                                        <p:cond delay="0"/>
                                      </p:stCondLst>
                                      <p:childTnLst>
                                        <p:animScale p14:bounceEnd="82500">
                                          <p:cBhvr>
                                            <p:cTn id="11" dur="800" fill="hold"/>
                                            <p:tgtEl>
                                              <p:spTgt spid="23"/>
                                            </p:tgtEl>
                                          </p:cBhvr>
                                          <p:by x="150000" y="150000"/>
                                        </p:animScale>
                                      </p:childTnLst>
                                    </p:cTn>
                                  </p:par>
                                </p:childTnLst>
                              </p:cTn>
                            </p:par>
                            <p:par>
                              <p:cTn id="12" fill="hold">
                                <p:stCondLst>
                                  <p:cond delay="1200"/>
                                </p:stCondLst>
                                <p:childTnLst>
                                  <p:par>
                                    <p:cTn id="13" presetID="6" presetClass="emph" presetSubtype="0" accel="48000" decel="48000" fill="hold" grpId="2" nodeType="afterEffect">
                                      <p:stCondLst>
                                        <p:cond delay="0"/>
                                      </p:stCondLst>
                                      <p:childTnLst>
                                        <p:animScale>
                                          <p:cBhvr>
                                            <p:cTn id="14" dur="500" fill="hold"/>
                                            <p:tgtEl>
                                              <p:spTgt spid="23"/>
                                            </p:tgtEl>
                                          </p:cBhvr>
                                          <p:by x="67000" y="67000"/>
                                        </p:animScale>
                                      </p:childTnLst>
                                    </p:cTn>
                                  </p:par>
                                </p:childTnLst>
                              </p:cTn>
                            </p:par>
                            <p:par>
                              <p:cTn id="15" fill="hold">
                                <p:stCondLst>
                                  <p:cond delay="1700"/>
                                </p:stCondLst>
                                <p:childTnLst>
                                  <p:par>
                                    <p:cTn id="16" presetID="23" presetClass="entr" presetSubtype="16" fill="hold" grpId="0" nodeType="afterEffect">
                                      <p:stCondLst>
                                        <p:cond delay="0"/>
                                      </p:stCondLst>
                                      <p:childTnLst>
                                        <p:set>
                                          <p:cBhvr>
                                            <p:cTn id="17" dur="1" fill="hold">
                                              <p:stCondLst>
                                                <p:cond delay="0"/>
                                              </p:stCondLst>
                                            </p:cTn>
                                            <p:tgtEl>
                                              <p:spTgt spid="22"/>
                                            </p:tgtEl>
                                            <p:attrNameLst>
                                              <p:attrName>style.visibility</p:attrName>
                                            </p:attrNameLst>
                                          </p:cBhvr>
                                          <p:to>
                                            <p:strVal val="visible"/>
                                          </p:to>
                                        </p:set>
                                        <p:anim calcmode="lin" valueType="num">
                                          <p:cBhvr>
                                            <p:cTn id="18" dur="400" fill="hold"/>
                                            <p:tgtEl>
                                              <p:spTgt spid="22"/>
                                            </p:tgtEl>
                                            <p:attrNameLst>
                                              <p:attrName>ppt_w</p:attrName>
                                            </p:attrNameLst>
                                          </p:cBhvr>
                                          <p:tavLst>
                                            <p:tav tm="0">
                                              <p:val>
                                                <p:fltVal val="0"/>
                                              </p:val>
                                            </p:tav>
                                            <p:tav tm="100000">
                                              <p:val>
                                                <p:strVal val="#ppt_w"/>
                                              </p:val>
                                            </p:tav>
                                          </p:tavLst>
                                        </p:anim>
                                        <p:anim calcmode="lin" valueType="num">
                                          <p:cBhvr>
                                            <p:cTn id="19" dur="400" fill="hold"/>
                                            <p:tgtEl>
                                              <p:spTgt spid="22"/>
                                            </p:tgtEl>
                                            <p:attrNameLst>
                                              <p:attrName>ppt_h</p:attrName>
                                            </p:attrNameLst>
                                          </p:cBhvr>
                                          <p:tavLst>
                                            <p:tav tm="0">
                                              <p:val>
                                                <p:fltVal val="0"/>
                                              </p:val>
                                            </p:tav>
                                            <p:tav tm="100000">
                                              <p:val>
                                                <p:strVal val="#ppt_h"/>
                                              </p:val>
                                            </p:tav>
                                          </p:tavLst>
                                        </p:anim>
                                      </p:childTnLst>
                                    </p:cTn>
                                  </p:par>
                                </p:childTnLst>
                              </p:cTn>
                            </p:par>
                            <p:par>
                              <p:cTn id="20" fill="hold">
                                <p:stCondLst>
                                  <p:cond delay="2100"/>
                                </p:stCondLst>
                                <p:childTnLst>
                                  <p:par>
                                    <p:cTn id="21" presetID="6" presetClass="emph" presetSubtype="0" fill="hold" grpId="1" nodeType="afterEffect" p14:presetBounceEnd="82500">
                                      <p:stCondLst>
                                        <p:cond delay="0"/>
                                      </p:stCondLst>
                                      <p:childTnLst>
                                        <p:animScale p14:bounceEnd="82500">
                                          <p:cBhvr>
                                            <p:cTn id="22" dur="800" fill="hold"/>
                                            <p:tgtEl>
                                              <p:spTgt spid="22"/>
                                            </p:tgtEl>
                                          </p:cBhvr>
                                          <p:by x="150000" y="150000"/>
                                        </p:animScale>
                                      </p:childTnLst>
                                    </p:cTn>
                                  </p:par>
                                </p:childTnLst>
                              </p:cTn>
                            </p:par>
                            <p:par>
                              <p:cTn id="23" fill="hold">
                                <p:stCondLst>
                                  <p:cond delay="2900"/>
                                </p:stCondLst>
                                <p:childTnLst>
                                  <p:par>
                                    <p:cTn id="24" presetID="6" presetClass="emph" presetSubtype="0" accel="48000" decel="48000" fill="hold" grpId="2" nodeType="afterEffect">
                                      <p:stCondLst>
                                        <p:cond delay="0"/>
                                      </p:stCondLst>
                                      <p:childTnLst>
                                        <p:animScale>
                                          <p:cBhvr>
                                            <p:cTn id="25" dur="500" fill="hold"/>
                                            <p:tgtEl>
                                              <p:spTgt spid="22"/>
                                            </p:tgtEl>
                                          </p:cBhvr>
                                          <p:by x="67000" y="67000"/>
                                        </p:animScale>
                                      </p:childTnLst>
                                    </p:cTn>
                                  </p:par>
                                </p:childTnLst>
                              </p:cTn>
                            </p:par>
                            <p:par>
                              <p:cTn id="26" fill="hold">
                                <p:stCondLst>
                                  <p:cond delay="3400"/>
                                </p:stCondLst>
                                <p:childTnLst>
                                  <p:par>
                                    <p:cTn id="27" presetID="23" presetClass="entr" presetSubtype="16" fill="hold" grpId="0" nodeType="afterEffect">
                                      <p:stCondLst>
                                        <p:cond delay="0"/>
                                      </p:stCondLst>
                                      <p:childTnLst>
                                        <p:set>
                                          <p:cBhvr>
                                            <p:cTn id="28" dur="1" fill="hold">
                                              <p:stCondLst>
                                                <p:cond delay="0"/>
                                              </p:stCondLst>
                                            </p:cTn>
                                            <p:tgtEl>
                                              <p:spTgt spid="19"/>
                                            </p:tgtEl>
                                            <p:attrNameLst>
                                              <p:attrName>style.visibility</p:attrName>
                                            </p:attrNameLst>
                                          </p:cBhvr>
                                          <p:to>
                                            <p:strVal val="visible"/>
                                          </p:to>
                                        </p:set>
                                        <p:anim calcmode="lin" valueType="num">
                                          <p:cBhvr>
                                            <p:cTn id="29" dur="400" fill="hold"/>
                                            <p:tgtEl>
                                              <p:spTgt spid="19"/>
                                            </p:tgtEl>
                                            <p:attrNameLst>
                                              <p:attrName>ppt_w</p:attrName>
                                            </p:attrNameLst>
                                          </p:cBhvr>
                                          <p:tavLst>
                                            <p:tav tm="0">
                                              <p:val>
                                                <p:fltVal val="0"/>
                                              </p:val>
                                            </p:tav>
                                            <p:tav tm="100000">
                                              <p:val>
                                                <p:strVal val="#ppt_w"/>
                                              </p:val>
                                            </p:tav>
                                          </p:tavLst>
                                        </p:anim>
                                        <p:anim calcmode="lin" valueType="num">
                                          <p:cBhvr>
                                            <p:cTn id="30" dur="400" fill="hold"/>
                                            <p:tgtEl>
                                              <p:spTgt spid="19"/>
                                            </p:tgtEl>
                                            <p:attrNameLst>
                                              <p:attrName>ppt_h</p:attrName>
                                            </p:attrNameLst>
                                          </p:cBhvr>
                                          <p:tavLst>
                                            <p:tav tm="0">
                                              <p:val>
                                                <p:fltVal val="0"/>
                                              </p:val>
                                            </p:tav>
                                            <p:tav tm="100000">
                                              <p:val>
                                                <p:strVal val="#ppt_h"/>
                                              </p:val>
                                            </p:tav>
                                          </p:tavLst>
                                        </p:anim>
                                      </p:childTnLst>
                                    </p:cTn>
                                  </p:par>
                                </p:childTnLst>
                              </p:cTn>
                            </p:par>
                            <p:par>
                              <p:cTn id="31" fill="hold">
                                <p:stCondLst>
                                  <p:cond delay="3800"/>
                                </p:stCondLst>
                                <p:childTnLst>
                                  <p:par>
                                    <p:cTn id="32" presetID="6" presetClass="emph" presetSubtype="0" fill="hold" grpId="1" nodeType="afterEffect" p14:presetBounceEnd="82500">
                                      <p:stCondLst>
                                        <p:cond delay="0"/>
                                      </p:stCondLst>
                                      <p:childTnLst>
                                        <p:animScale p14:bounceEnd="82500">
                                          <p:cBhvr>
                                            <p:cTn id="33" dur="800" fill="hold"/>
                                            <p:tgtEl>
                                              <p:spTgt spid="19"/>
                                            </p:tgtEl>
                                          </p:cBhvr>
                                          <p:by x="150000" y="150000"/>
                                        </p:animScale>
                                      </p:childTnLst>
                                    </p:cTn>
                                  </p:par>
                                </p:childTnLst>
                              </p:cTn>
                            </p:par>
                            <p:par>
                              <p:cTn id="34" fill="hold">
                                <p:stCondLst>
                                  <p:cond delay="4600"/>
                                </p:stCondLst>
                                <p:childTnLst>
                                  <p:par>
                                    <p:cTn id="35" presetID="23" presetClass="entr" presetSubtype="16" fill="hold" grpId="0" nodeType="afterEffect">
                                      <p:stCondLst>
                                        <p:cond delay="0"/>
                                      </p:stCondLst>
                                      <p:childTnLst>
                                        <p:set>
                                          <p:cBhvr>
                                            <p:cTn id="36" dur="1" fill="hold">
                                              <p:stCondLst>
                                                <p:cond delay="0"/>
                                              </p:stCondLst>
                                            </p:cTn>
                                            <p:tgtEl>
                                              <p:spTgt spid="27"/>
                                            </p:tgtEl>
                                            <p:attrNameLst>
                                              <p:attrName>style.visibility</p:attrName>
                                            </p:attrNameLst>
                                          </p:cBhvr>
                                          <p:to>
                                            <p:strVal val="visible"/>
                                          </p:to>
                                        </p:set>
                                        <p:anim calcmode="lin" valueType="num">
                                          <p:cBhvr>
                                            <p:cTn id="37" dur="400" fill="hold"/>
                                            <p:tgtEl>
                                              <p:spTgt spid="27"/>
                                            </p:tgtEl>
                                            <p:attrNameLst>
                                              <p:attrName>ppt_w</p:attrName>
                                            </p:attrNameLst>
                                          </p:cBhvr>
                                          <p:tavLst>
                                            <p:tav tm="0">
                                              <p:val>
                                                <p:fltVal val="0"/>
                                              </p:val>
                                            </p:tav>
                                            <p:tav tm="100000">
                                              <p:val>
                                                <p:strVal val="#ppt_w"/>
                                              </p:val>
                                            </p:tav>
                                          </p:tavLst>
                                        </p:anim>
                                        <p:anim calcmode="lin" valueType="num">
                                          <p:cBhvr>
                                            <p:cTn id="38" dur="400" fill="hold"/>
                                            <p:tgtEl>
                                              <p:spTgt spid="27"/>
                                            </p:tgtEl>
                                            <p:attrNameLst>
                                              <p:attrName>ppt_h</p:attrName>
                                            </p:attrNameLst>
                                          </p:cBhvr>
                                          <p:tavLst>
                                            <p:tav tm="0">
                                              <p:val>
                                                <p:fltVal val="0"/>
                                              </p:val>
                                            </p:tav>
                                            <p:tav tm="100000">
                                              <p:val>
                                                <p:strVal val="#ppt_h"/>
                                              </p:val>
                                            </p:tav>
                                          </p:tavLst>
                                        </p:anim>
                                      </p:childTnLst>
                                    </p:cTn>
                                  </p:par>
                                </p:childTnLst>
                              </p:cTn>
                            </p:par>
                            <p:par>
                              <p:cTn id="39" fill="hold">
                                <p:stCondLst>
                                  <p:cond delay="5000"/>
                                </p:stCondLst>
                                <p:childTnLst>
                                  <p:par>
                                    <p:cTn id="40" presetID="6" presetClass="emph" presetSubtype="0" fill="hold" grpId="1" nodeType="afterEffect" p14:presetBounceEnd="82500">
                                      <p:stCondLst>
                                        <p:cond delay="0"/>
                                      </p:stCondLst>
                                      <p:childTnLst>
                                        <p:animScale p14:bounceEnd="82500">
                                          <p:cBhvr>
                                            <p:cTn id="41" dur="800" fill="hold"/>
                                            <p:tgtEl>
                                              <p:spTgt spid="27"/>
                                            </p:tgtEl>
                                          </p:cBhvr>
                                          <p:by x="150000" y="150000"/>
                                        </p:animScale>
                                      </p:childTnLst>
                                    </p:cTn>
                                  </p:par>
                                </p:childTnLst>
                              </p:cTn>
                            </p:par>
                            <p:par>
                              <p:cTn id="42" fill="hold">
                                <p:stCondLst>
                                  <p:cond delay="5800"/>
                                </p:stCondLst>
                                <p:childTnLst>
                                  <p:par>
                                    <p:cTn id="43" presetID="6" presetClass="emph" presetSubtype="0" accel="48000" decel="48000" fill="hold" grpId="2" nodeType="afterEffect">
                                      <p:stCondLst>
                                        <p:cond delay="0"/>
                                      </p:stCondLst>
                                      <p:childTnLst>
                                        <p:animScale>
                                          <p:cBhvr>
                                            <p:cTn id="44" dur="500" fill="hold"/>
                                            <p:tgtEl>
                                              <p:spTgt spid="19"/>
                                            </p:tgtEl>
                                          </p:cBhvr>
                                          <p:by x="67000" y="67000"/>
                                        </p:animScale>
                                      </p:childTnLst>
                                    </p:cTn>
                                  </p:par>
                                </p:childTnLst>
                              </p:cTn>
                            </p:par>
                            <p:par>
                              <p:cTn id="45" fill="hold">
                                <p:stCondLst>
                                  <p:cond delay="6300"/>
                                </p:stCondLst>
                                <p:childTnLst>
                                  <p:par>
                                    <p:cTn id="46" presetID="6" presetClass="emph" presetSubtype="0" accel="48000" decel="48000" fill="hold" grpId="2" nodeType="afterEffect">
                                      <p:stCondLst>
                                        <p:cond delay="0"/>
                                      </p:stCondLst>
                                      <p:childTnLst>
                                        <p:animScale>
                                          <p:cBhvr>
                                            <p:cTn id="47" dur="500" fill="hold"/>
                                            <p:tgtEl>
                                              <p:spTgt spid="27"/>
                                            </p:tgtEl>
                                          </p:cBhvr>
                                          <p:by x="67000" y="67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P spid="19" grpId="2" animBg="1"/>
          <p:bldP spid="22" grpId="0" animBg="1"/>
          <p:bldP spid="22" grpId="1" animBg="1"/>
          <p:bldP spid="22" grpId="2" animBg="1"/>
          <p:bldP spid="23" grpId="0" animBg="1"/>
          <p:bldP spid="23" grpId="1" animBg="1"/>
          <p:bldP spid="23" grpId="2" animBg="1"/>
          <p:bldP spid="27" grpId="0" animBg="1"/>
          <p:bldP spid="27" grpId="1" animBg="1"/>
          <p:bldP spid="27" grpId="2"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p:cTn id="7" dur="400" fill="hold"/>
                                            <p:tgtEl>
                                              <p:spTgt spid="23"/>
                                            </p:tgtEl>
                                            <p:attrNameLst>
                                              <p:attrName>ppt_w</p:attrName>
                                            </p:attrNameLst>
                                          </p:cBhvr>
                                          <p:tavLst>
                                            <p:tav tm="0">
                                              <p:val>
                                                <p:fltVal val="0"/>
                                              </p:val>
                                            </p:tav>
                                            <p:tav tm="100000">
                                              <p:val>
                                                <p:strVal val="#ppt_w"/>
                                              </p:val>
                                            </p:tav>
                                          </p:tavLst>
                                        </p:anim>
                                        <p:anim calcmode="lin" valueType="num">
                                          <p:cBhvr>
                                            <p:cTn id="8" dur="400" fill="hold"/>
                                            <p:tgtEl>
                                              <p:spTgt spid="23"/>
                                            </p:tgtEl>
                                            <p:attrNameLst>
                                              <p:attrName>ppt_h</p:attrName>
                                            </p:attrNameLst>
                                          </p:cBhvr>
                                          <p:tavLst>
                                            <p:tav tm="0">
                                              <p:val>
                                                <p:fltVal val="0"/>
                                              </p:val>
                                            </p:tav>
                                            <p:tav tm="100000">
                                              <p:val>
                                                <p:strVal val="#ppt_h"/>
                                              </p:val>
                                            </p:tav>
                                          </p:tavLst>
                                        </p:anim>
                                      </p:childTnLst>
                                    </p:cTn>
                                  </p:par>
                                </p:childTnLst>
                              </p:cTn>
                            </p:par>
                            <p:par>
                              <p:cTn id="9" fill="hold">
                                <p:stCondLst>
                                  <p:cond delay="400"/>
                                </p:stCondLst>
                                <p:childTnLst>
                                  <p:par>
                                    <p:cTn id="10" presetID="6" presetClass="emph" presetSubtype="0" fill="hold" grpId="1" nodeType="afterEffect">
                                      <p:stCondLst>
                                        <p:cond delay="0"/>
                                      </p:stCondLst>
                                      <p:childTnLst>
                                        <p:animScale>
                                          <p:cBhvr>
                                            <p:cTn id="11" dur="800" fill="hold"/>
                                            <p:tgtEl>
                                              <p:spTgt spid="23"/>
                                            </p:tgtEl>
                                          </p:cBhvr>
                                          <p:by x="150000" y="150000"/>
                                        </p:animScale>
                                      </p:childTnLst>
                                    </p:cTn>
                                  </p:par>
                                </p:childTnLst>
                              </p:cTn>
                            </p:par>
                            <p:par>
                              <p:cTn id="12" fill="hold">
                                <p:stCondLst>
                                  <p:cond delay="1200"/>
                                </p:stCondLst>
                                <p:childTnLst>
                                  <p:par>
                                    <p:cTn id="13" presetID="6" presetClass="emph" presetSubtype="0" accel="48000" decel="48000" fill="hold" grpId="2" nodeType="afterEffect">
                                      <p:stCondLst>
                                        <p:cond delay="0"/>
                                      </p:stCondLst>
                                      <p:childTnLst>
                                        <p:animScale>
                                          <p:cBhvr>
                                            <p:cTn id="14" dur="500" fill="hold"/>
                                            <p:tgtEl>
                                              <p:spTgt spid="23"/>
                                            </p:tgtEl>
                                          </p:cBhvr>
                                          <p:by x="67000" y="67000"/>
                                        </p:animScale>
                                      </p:childTnLst>
                                    </p:cTn>
                                  </p:par>
                                </p:childTnLst>
                              </p:cTn>
                            </p:par>
                            <p:par>
                              <p:cTn id="15" fill="hold">
                                <p:stCondLst>
                                  <p:cond delay="1700"/>
                                </p:stCondLst>
                                <p:childTnLst>
                                  <p:par>
                                    <p:cTn id="16" presetID="23" presetClass="entr" presetSubtype="16" fill="hold" grpId="0" nodeType="afterEffect">
                                      <p:stCondLst>
                                        <p:cond delay="0"/>
                                      </p:stCondLst>
                                      <p:childTnLst>
                                        <p:set>
                                          <p:cBhvr>
                                            <p:cTn id="17" dur="1" fill="hold">
                                              <p:stCondLst>
                                                <p:cond delay="0"/>
                                              </p:stCondLst>
                                            </p:cTn>
                                            <p:tgtEl>
                                              <p:spTgt spid="22"/>
                                            </p:tgtEl>
                                            <p:attrNameLst>
                                              <p:attrName>style.visibility</p:attrName>
                                            </p:attrNameLst>
                                          </p:cBhvr>
                                          <p:to>
                                            <p:strVal val="visible"/>
                                          </p:to>
                                        </p:set>
                                        <p:anim calcmode="lin" valueType="num">
                                          <p:cBhvr>
                                            <p:cTn id="18" dur="400" fill="hold"/>
                                            <p:tgtEl>
                                              <p:spTgt spid="22"/>
                                            </p:tgtEl>
                                            <p:attrNameLst>
                                              <p:attrName>ppt_w</p:attrName>
                                            </p:attrNameLst>
                                          </p:cBhvr>
                                          <p:tavLst>
                                            <p:tav tm="0">
                                              <p:val>
                                                <p:fltVal val="0"/>
                                              </p:val>
                                            </p:tav>
                                            <p:tav tm="100000">
                                              <p:val>
                                                <p:strVal val="#ppt_w"/>
                                              </p:val>
                                            </p:tav>
                                          </p:tavLst>
                                        </p:anim>
                                        <p:anim calcmode="lin" valueType="num">
                                          <p:cBhvr>
                                            <p:cTn id="19" dur="400" fill="hold"/>
                                            <p:tgtEl>
                                              <p:spTgt spid="22"/>
                                            </p:tgtEl>
                                            <p:attrNameLst>
                                              <p:attrName>ppt_h</p:attrName>
                                            </p:attrNameLst>
                                          </p:cBhvr>
                                          <p:tavLst>
                                            <p:tav tm="0">
                                              <p:val>
                                                <p:fltVal val="0"/>
                                              </p:val>
                                            </p:tav>
                                            <p:tav tm="100000">
                                              <p:val>
                                                <p:strVal val="#ppt_h"/>
                                              </p:val>
                                            </p:tav>
                                          </p:tavLst>
                                        </p:anim>
                                      </p:childTnLst>
                                    </p:cTn>
                                  </p:par>
                                </p:childTnLst>
                              </p:cTn>
                            </p:par>
                            <p:par>
                              <p:cTn id="20" fill="hold">
                                <p:stCondLst>
                                  <p:cond delay="2100"/>
                                </p:stCondLst>
                                <p:childTnLst>
                                  <p:par>
                                    <p:cTn id="21" presetID="6" presetClass="emph" presetSubtype="0" fill="hold" grpId="1" nodeType="afterEffect">
                                      <p:stCondLst>
                                        <p:cond delay="0"/>
                                      </p:stCondLst>
                                      <p:childTnLst>
                                        <p:animScale>
                                          <p:cBhvr>
                                            <p:cTn id="22" dur="800" fill="hold"/>
                                            <p:tgtEl>
                                              <p:spTgt spid="22"/>
                                            </p:tgtEl>
                                          </p:cBhvr>
                                          <p:by x="150000" y="150000"/>
                                        </p:animScale>
                                      </p:childTnLst>
                                    </p:cTn>
                                  </p:par>
                                </p:childTnLst>
                              </p:cTn>
                            </p:par>
                            <p:par>
                              <p:cTn id="23" fill="hold">
                                <p:stCondLst>
                                  <p:cond delay="2900"/>
                                </p:stCondLst>
                                <p:childTnLst>
                                  <p:par>
                                    <p:cTn id="24" presetID="6" presetClass="emph" presetSubtype="0" accel="48000" decel="48000" fill="hold" grpId="2" nodeType="afterEffect">
                                      <p:stCondLst>
                                        <p:cond delay="0"/>
                                      </p:stCondLst>
                                      <p:childTnLst>
                                        <p:animScale>
                                          <p:cBhvr>
                                            <p:cTn id="25" dur="500" fill="hold"/>
                                            <p:tgtEl>
                                              <p:spTgt spid="22"/>
                                            </p:tgtEl>
                                          </p:cBhvr>
                                          <p:by x="67000" y="67000"/>
                                        </p:animScale>
                                      </p:childTnLst>
                                    </p:cTn>
                                  </p:par>
                                </p:childTnLst>
                              </p:cTn>
                            </p:par>
                            <p:par>
                              <p:cTn id="26" fill="hold">
                                <p:stCondLst>
                                  <p:cond delay="3400"/>
                                </p:stCondLst>
                                <p:childTnLst>
                                  <p:par>
                                    <p:cTn id="27" presetID="23" presetClass="entr" presetSubtype="16" fill="hold" grpId="0" nodeType="afterEffect">
                                      <p:stCondLst>
                                        <p:cond delay="0"/>
                                      </p:stCondLst>
                                      <p:childTnLst>
                                        <p:set>
                                          <p:cBhvr>
                                            <p:cTn id="28" dur="1" fill="hold">
                                              <p:stCondLst>
                                                <p:cond delay="0"/>
                                              </p:stCondLst>
                                            </p:cTn>
                                            <p:tgtEl>
                                              <p:spTgt spid="19"/>
                                            </p:tgtEl>
                                            <p:attrNameLst>
                                              <p:attrName>style.visibility</p:attrName>
                                            </p:attrNameLst>
                                          </p:cBhvr>
                                          <p:to>
                                            <p:strVal val="visible"/>
                                          </p:to>
                                        </p:set>
                                        <p:anim calcmode="lin" valueType="num">
                                          <p:cBhvr>
                                            <p:cTn id="29" dur="400" fill="hold"/>
                                            <p:tgtEl>
                                              <p:spTgt spid="19"/>
                                            </p:tgtEl>
                                            <p:attrNameLst>
                                              <p:attrName>ppt_w</p:attrName>
                                            </p:attrNameLst>
                                          </p:cBhvr>
                                          <p:tavLst>
                                            <p:tav tm="0">
                                              <p:val>
                                                <p:fltVal val="0"/>
                                              </p:val>
                                            </p:tav>
                                            <p:tav tm="100000">
                                              <p:val>
                                                <p:strVal val="#ppt_w"/>
                                              </p:val>
                                            </p:tav>
                                          </p:tavLst>
                                        </p:anim>
                                        <p:anim calcmode="lin" valueType="num">
                                          <p:cBhvr>
                                            <p:cTn id="30" dur="400" fill="hold"/>
                                            <p:tgtEl>
                                              <p:spTgt spid="19"/>
                                            </p:tgtEl>
                                            <p:attrNameLst>
                                              <p:attrName>ppt_h</p:attrName>
                                            </p:attrNameLst>
                                          </p:cBhvr>
                                          <p:tavLst>
                                            <p:tav tm="0">
                                              <p:val>
                                                <p:fltVal val="0"/>
                                              </p:val>
                                            </p:tav>
                                            <p:tav tm="100000">
                                              <p:val>
                                                <p:strVal val="#ppt_h"/>
                                              </p:val>
                                            </p:tav>
                                          </p:tavLst>
                                        </p:anim>
                                      </p:childTnLst>
                                    </p:cTn>
                                  </p:par>
                                </p:childTnLst>
                              </p:cTn>
                            </p:par>
                            <p:par>
                              <p:cTn id="31" fill="hold">
                                <p:stCondLst>
                                  <p:cond delay="3800"/>
                                </p:stCondLst>
                                <p:childTnLst>
                                  <p:par>
                                    <p:cTn id="32" presetID="6" presetClass="emph" presetSubtype="0" fill="hold" grpId="1" nodeType="afterEffect">
                                      <p:stCondLst>
                                        <p:cond delay="0"/>
                                      </p:stCondLst>
                                      <p:childTnLst>
                                        <p:animScale>
                                          <p:cBhvr>
                                            <p:cTn id="33" dur="800" fill="hold"/>
                                            <p:tgtEl>
                                              <p:spTgt spid="19"/>
                                            </p:tgtEl>
                                          </p:cBhvr>
                                          <p:by x="150000" y="150000"/>
                                        </p:animScale>
                                      </p:childTnLst>
                                    </p:cTn>
                                  </p:par>
                                </p:childTnLst>
                              </p:cTn>
                            </p:par>
                            <p:par>
                              <p:cTn id="34" fill="hold">
                                <p:stCondLst>
                                  <p:cond delay="4600"/>
                                </p:stCondLst>
                                <p:childTnLst>
                                  <p:par>
                                    <p:cTn id="35" presetID="23" presetClass="entr" presetSubtype="16" fill="hold" grpId="0" nodeType="afterEffect">
                                      <p:stCondLst>
                                        <p:cond delay="0"/>
                                      </p:stCondLst>
                                      <p:childTnLst>
                                        <p:set>
                                          <p:cBhvr>
                                            <p:cTn id="36" dur="1" fill="hold">
                                              <p:stCondLst>
                                                <p:cond delay="0"/>
                                              </p:stCondLst>
                                            </p:cTn>
                                            <p:tgtEl>
                                              <p:spTgt spid="27"/>
                                            </p:tgtEl>
                                            <p:attrNameLst>
                                              <p:attrName>style.visibility</p:attrName>
                                            </p:attrNameLst>
                                          </p:cBhvr>
                                          <p:to>
                                            <p:strVal val="visible"/>
                                          </p:to>
                                        </p:set>
                                        <p:anim calcmode="lin" valueType="num">
                                          <p:cBhvr>
                                            <p:cTn id="37" dur="400" fill="hold"/>
                                            <p:tgtEl>
                                              <p:spTgt spid="27"/>
                                            </p:tgtEl>
                                            <p:attrNameLst>
                                              <p:attrName>ppt_w</p:attrName>
                                            </p:attrNameLst>
                                          </p:cBhvr>
                                          <p:tavLst>
                                            <p:tav tm="0">
                                              <p:val>
                                                <p:fltVal val="0"/>
                                              </p:val>
                                            </p:tav>
                                            <p:tav tm="100000">
                                              <p:val>
                                                <p:strVal val="#ppt_w"/>
                                              </p:val>
                                            </p:tav>
                                          </p:tavLst>
                                        </p:anim>
                                        <p:anim calcmode="lin" valueType="num">
                                          <p:cBhvr>
                                            <p:cTn id="38" dur="400" fill="hold"/>
                                            <p:tgtEl>
                                              <p:spTgt spid="27"/>
                                            </p:tgtEl>
                                            <p:attrNameLst>
                                              <p:attrName>ppt_h</p:attrName>
                                            </p:attrNameLst>
                                          </p:cBhvr>
                                          <p:tavLst>
                                            <p:tav tm="0">
                                              <p:val>
                                                <p:fltVal val="0"/>
                                              </p:val>
                                            </p:tav>
                                            <p:tav tm="100000">
                                              <p:val>
                                                <p:strVal val="#ppt_h"/>
                                              </p:val>
                                            </p:tav>
                                          </p:tavLst>
                                        </p:anim>
                                      </p:childTnLst>
                                    </p:cTn>
                                  </p:par>
                                </p:childTnLst>
                              </p:cTn>
                            </p:par>
                            <p:par>
                              <p:cTn id="39" fill="hold">
                                <p:stCondLst>
                                  <p:cond delay="5000"/>
                                </p:stCondLst>
                                <p:childTnLst>
                                  <p:par>
                                    <p:cTn id="40" presetID="6" presetClass="emph" presetSubtype="0" fill="hold" grpId="1" nodeType="afterEffect">
                                      <p:stCondLst>
                                        <p:cond delay="0"/>
                                      </p:stCondLst>
                                      <p:childTnLst>
                                        <p:animScale>
                                          <p:cBhvr>
                                            <p:cTn id="41" dur="800" fill="hold"/>
                                            <p:tgtEl>
                                              <p:spTgt spid="27"/>
                                            </p:tgtEl>
                                          </p:cBhvr>
                                          <p:by x="150000" y="150000"/>
                                        </p:animScale>
                                      </p:childTnLst>
                                    </p:cTn>
                                  </p:par>
                                </p:childTnLst>
                              </p:cTn>
                            </p:par>
                            <p:par>
                              <p:cTn id="42" fill="hold">
                                <p:stCondLst>
                                  <p:cond delay="5800"/>
                                </p:stCondLst>
                                <p:childTnLst>
                                  <p:par>
                                    <p:cTn id="43" presetID="6" presetClass="emph" presetSubtype="0" accel="48000" decel="48000" fill="hold" grpId="2" nodeType="afterEffect">
                                      <p:stCondLst>
                                        <p:cond delay="0"/>
                                      </p:stCondLst>
                                      <p:childTnLst>
                                        <p:animScale>
                                          <p:cBhvr>
                                            <p:cTn id="44" dur="500" fill="hold"/>
                                            <p:tgtEl>
                                              <p:spTgt spid="19"/>
                                            </p:tgtEl>
                                          </p:cBhvr>
                                          <p:by x="67000" y="67000"/>
                                        </p:animScale>
                                      </p:childTnLst>
                                    </p:cTn>
                                  </p:par>
                                </p:childTnLst>
                              </p:cTn>
                            </p:par>
                            <p:par>
                              <p:cTn id="45" fill="hold">
                                <p:stCondLst>
                                  <p:cond delay="6300"/>
                                </p:stCondLst>
                                <p:childTnLst>
                                  <p:par>
                                    <p:cTn id="46" presetID="6" presetClass="emph" presetSubtype="0" accel="48000" decel="48000" fill="hold" grpId="2" nodeType="afterEffect">
                                      <p:stCondLst>
                                        <p:cond delay="0"/>
                                      </p:stCondLst>
                                      <p:childTnLst>
                                        <p:animScale>
                                          <p:cBhvr>
                                            <p:cTn id="47" dur="500" fill="hold"/>
                                            <p:tgtEl>
                                              <p:spTgt spid="27"/>
                                            </p:tgtEl>
                                          </p:cBhvr>
                                          <p:by x="67000" y="67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P spid="19" grpId="2" animBg="1"/>
          <p:bldP spid="22" grpId="0" animBg="1"/>
          <p:bldP spid="22" grpId="1" animBg="1"/>
          <p:bldP spid="22" grpId="2" animBg="1"/>
          <p:bldP spid="23" grpId="0" animBg="1"/>
          <p:bldP spid="23" grpId="1" animBg="1"/>
          <p:bldP spid="23" grpId="2" animBg="1"/>
          <p:bldP spid="27" grpId="0" animBg="1"/>
          <p:bldP spid="27" grpId="1" animBg="1"/>
          <p:bldP spid="27" grpId="2" animBg="1"/>
        </p:bldLst>
      </p:timing>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2243142" y="1184282"/>
            <a:ext cx="7237411" cy="461665"/>
          </a:xfrm>
        </p:spPr>
        <p:txBody>
          <a:bodyPr/>
          <a:lstStyle/>
          <a:p>
            <a:pPr lvl="0">
              <a:lnSpc>
                <a:spcPct val="100000"/>
              </a:lnSpc>
              <a:spcBef>
                <a:spcPct val="20000"/>
              </a:spcBef>
            </a:pPr>
            <a:r>
              <a:rPr lang="de-DE" dirty="0">
                <a:solidFill>
                  <a:srgbClr val="1F497D"/>
                </a:solidFill>
                <a:latin typeface="Times"/>
                <a:cs typeface="Times"/>
              </a:rPr>
              <a:t>¿Qué es develoPPP.de?</a:t>
            </a:r>
          </a:p>
        </p:txBody>
      </p:sp>
      <p:sp>
        <p:nvSpPr>
          <p:cNvPr id="6" name="Textplatzhalter 5"/>
          <p:cNvSpPr>
            <a:spLocks noGrp="1"/>
          </p:cNvSpPr>
          <p:nvPr>
            <p:ph type="body" sz="quarter" idx="10"/>
          </p:nvPr>
        </p:nvSpPr>
        <p:spPr>
          <a:noFill/>
        </p:spPr>
        <p:txBody>
          <a:bodyPr vert="horz" lIns="0" tIns="0" rIns="0" bIns="0" rtlCol="0">
            <a:noAutofit/>
          </a:bodyPr>
          <a:lstStyle/>
          <a:p>
            <a:pPr>
              <a:lnSpc>
                <a:spcPts val="2400"/>
              </a:lnSpc>
              <a:spcAft>
                <a:spcPts val="1600"/>
              </a:spcAft>
              <a:buSzPct val="130000"/>
            </a:pPr>
            <a:r>
              <a:rPr lang="es-ES" b="1" dirty="0" err="1">
                <a:solidFill>
                  <a:srgbClr val="0078D2"/>
                </a:solidFill>
                <a:latin typeface="Arial" panose="020B0604020202020204" pitchFamily="34" charset="0"/>
                <a:cs typeface="Arial" panose="020B0604020202020204" pitchFamily="34" charset="0"/>
              </a:rPr>
              <a:t>develoPPP.de</a:t>
            </a:r>
            <a:r>
              <a:rPr lang="es-ES" b="1" dirty="0">
                <a:solidFill>
                  <a:srgbClr val="0078D2"/>
                </a:solidFill>
              </a:rPr>
              <a:t> </a:t>
            </a:r>
            <a:r>
              <a:rPr lang="es-ES" dirty="0">
                <a:solidFill>
                  <a:schemeClr val="accent1"/>
                </a:solidFill>
              </a:rPr>
              <a:t>es un programa a través del cual, </a:t>
            </a:r>
            <a:r>
              <a:rPr lang="es-ES" dirty="0">
                <a:solidFill>
                  <a:schemeClr val="accent1"/>
                </a:solidFill>
                <a:latin typeface="Arial" panose="020B0604020202020204" pitchFamily="34" charset="0"/>
                <a:cs typeface="Arial" panose="020B0604020202020204" pitchFamily="34" charset="0"/>
              </a:rPr>
              <a:t>el Ministerio Federal de Cooperación Económica y Desarrollo (BMZ) de Alemania fomenta la </a:t>
            </a:r>
            <a:r>
              <a:rPr lang="es-ES" b="1" dirty="0">
                <a:solidFill>
                  <a:srgbClr val="0078D2"/>
                </a:solidFill>
                <a:latin typeface="Arial" panose="020B0604020202020204" pitchFamily="34" charset="0"/>
                <a:cs typeface="Arial" panose="020B0604020202020204" pitchFamily="34" charset="0"/>
              </a:rPr>
              <a:t>cooperación entre el sector privado y GIZ</a:t>
            </a:r>
            <a:r>
              <a:rPr lang="es-ES" dirty="0">
                <a:solidFill>
                  <a:srgbClr val="0078D2"/>
                </a:solidFill>
                <a:latin typeface="Arial" panose="020B0604020202020204" pitchFamily="34" charset="0"/>
                <a:cs typeface="Arial" panose="020B0604020202020204" pitchFamily="34" charset="0"/>
              </a:rPr>
              <a:t> </a:t>
            </a:r>
            <a:r>
              <a:rPr lang="es-ES" dirty="0">
                <a:solidFill>
                  <a:schemeClr val="accent1"/>
                </a:solidFill>
                <a:latin typeface="Arial" panose="020B0604020202020204" pitchFamily="34" charset="0"/>
                <a:cs typeface="Arial" panose="020B0604020202020204" pitchFamily="34" charset="0"/>
              </a:rPr>
              <a:t>en beneficio de ambas partes. </a:t>
            </a:r>
          </a:p>
          <a:p>
            <a:pPr>
              <a:lnSpc>
                <a:spcPts val="2400"/>
              </a:lnSpc>
              <a:spcAft>
                <a:spcPts val="1600"/>
              </a:spcAft>
              <a:buSzPct val="130000"/>
            </a:pPr>
            <a:r>
              <a:rPr lang="es-ES" dirty="0">
                <a:solidFill>
                  <a:schemeClr val="accent1"/>
                </a:solidFill>
              </a:rPr>
              <a:t>En las Cooperaciones de Desarrollo, el BMZ ofrece </a:t>
            </a:r>
            <a:r>
              <a:rPr lang="es-ES" b="1" dirty="0">
                <a:solidFill>
                  <a:srgbClr val="0078D2"/>
                </a:solidFill>
              </a:rPr>
              <a:t>apoyo técnico</a:t>
            </a:r>
            <a:r>
              <a:rPr lang="es-ES" dirty="0">
                <a:solidFill>
                  <a:srgbClr val="0078D2"/>
                </a:solidFill>
              </a:rPr>
              <a:t> </a:t>
            </a:r>
            <a:r>
              <a:rPr lang="es-ES" dirty="0">
                <a:solidFill>
                  <a:schemeClr val="accent1"/>
                </a:solidFill>
              </a:rPr>
              <a:t>y aporta </a:t>
            </a:r>
            <a:r>
              <a:rPr lang="es-ES" b="1" dirty="0">
                <a:solidFill>
                  <a:srgbClr val="0078D2"/>
                </a:solidFill>
              </a:rPr>
              <a:t>hasta el 50 % de los costos del proyecto</a:t>
            </a:r>
            <a:r>
              <a:rPr lang="es-ES" b="1" dirty="0">
                <a:solidFill>
                  <a:srgbClr val="0078D2"/>
                </a:solidFill>
                <a:latin typeface="Arial" panose="020B0604020202020204" pitchFamily="34" charset="0"/>
                <a:cs typeface="Arial" panose="020B0604020202020204" pitchFamily="34" charset="0"/>
              </a:rPr>
              <a:t>.</a:t>
            </a:r>
            <a:endParaRPr lang="es-ES" dirty="0">
              <a:solidFill>
                <a:srgbClr val="0078D2"/>
              </a:solidFill>
              <a:latin typeface="Arial" panose="020B0604020202020204" pitchFamily="34" charset="0"/>
              <a:cs typeface="Arial" panose="020B0604020202020204" pitchFamily="34" charset="0"/>
            </a:endParaRPr>
          </a:p>
        </p:txBody>
      </p:sp>
      <p:pic>
        <p:nvPicPr>
          <p:cNvPr id="13" name="Bildplatzhalter 12" descr="giz-Ostermeier-Nepal-44.jpg"/>
          <p:cNvPicPr>
            <a:picLocks noGrp="1" noChangeAspect="1"/>
          </p:cNvPicPr>
          <p:nvPr>
            <p:ph type="pic" sz="quarter" idx="11"/>
          </p:nvPr>
        </p:nvPicPr>
        <p:blipFill rotWithShape="1">
          <a:blip r:embed="rId3"/>
          <a:srcRect l="-1" t="13860" r="3830" b="10030"/>
          <a:stretch/>
        </p:blipFill>
        <p:spPr>
          <a:prstGeom prst="rect">
            <a:avLst/>
          </a:prstGeom>
          <a:ln w="228600" cap="sq" cmpd="thickThin">
            <a:solidFill>
              <a:srgbClr val="FFFFFF"/>
            </a:solidFill>
            <a:prstDash val="solid"/>
            <a:miter lim="800000"/>
          </a:ln>
          <a:effectLst/>
        </p:spPr>
      </p:pic>
      <p:pic>
        <p:nvPicPr>
          <p:cNvPr id="14" name="Bildplatzhalter 13" descr="control-panel2.jpg"/>
          <p:cNvPicPr>
            <a:picLocks noGrp="1" noChangeAspect="1"/>
          </p:cNvPicPr>
          <p:nvPr>
            <p:ph type="pic" sz="quarter" idx="12"/>
          </p:nvPr>
        </p:nvPicPr>
        <p:blipFill rotWithShape="1">
          <a:blip r:embed="rId4"/>
          <a:srcRect l="2264" t="18117" r="6459" b="17542"/>
          <a:stretch/>
        </p:blipFill>
        <p:spPr>
          <a:prstGeom prst="rect">
            <a:avLst/>
          </a:prstGeom>
          <a:ln>
            <a:noFill/>
          </a:ln>
        </p:spPr>
      </p:pic>
      <p:pic>
        <p:nvPicPr>
          <p:cNvPr id="15" name="Bildplatzhalter 14" descr="DSC_8308x.jpg"/>
          <p:cNvPicPr>
            <a:picLocks noGrp="1" noChangeAspect="1"/>
          </p:cNvPicPr>
          <p:nvPr>
            <p:ph type="pic" sz="quarter" idx="13"/>
          </p:nvPr>
        </p:nvPicPr>
        <p:blipFill rotWithShape="1">
          <a:blip r:embed="rId5"/>
          <a:srcRect l="2526" t="11388" r="9868" b="18730"/>
          <a:stretch/>
        </p:blipFill>
        <p:spPr>
          <a:prstGeom prst="rect">
            <a:avLst/>
          </a:prstGeom>
          <a:ln>
            <a:noFill/>
          </a:ln>
        </p:spPr>
      </p:pic>
      <p:pic>
        <p:nvPicPr>
          <p:cNvPr id="7" name="Bildplatzhalter 1"/>
          <p:cNvPicPr>
            <a:picLocks noChangeAspect="1"/>
          </p:cNvPicPr>
          <p:nvPr/>
        </p:nvPicPr>
        <p:blipFill>
          <a:blip r:embed="rId6">
            <a:extLst>
              <a:ext uri="{28A0092B-C50C-407E-A947-70E740481C1C}">
                <a14:useLocalDpi xmlns:a14="http://schemas.microsoft.com/office/drawing/2010/main" val="0"/>
              </a:ext>
            </a:extLst>
          </a:blip>
          <a:srcRect l="2240" r="2240"/>
          <a:stretch>
            <a:fillRect/>
          </a:stretch>
        </p:blipFill>
        <p:spPr>
          <a:xfrm>
            <a:off x="8904000" y="44624"/>
            <a:ext cx="1397000" cy="609600"/>
          </a:xfrm>
          <a:prstGeom prst="rect">
            <a:avLst/>
          </a:prstGeom>
          <a:blipFill dpi="0" rotWithShape="1">
            <a:blip r:embed="rId6">
              <a:extLst>
                <a:ext uri="{28A0092B-C50C-407E-A947-70E740481C1C}">
                  <a14:useLocalDpi xmlns:a14="http://schemas.microsoft.com/office/drawing/2010/main" val="0"/>
                </a:ext>
              </a:extLst>
            </a:blip>
            <a:srcRect/>
            <a:stretch>
              <a:fillRect/>
            </a:stretch>
          </a:blipFill>
        </p:spPr>
      </p:pic>
    </p:spTree>
    <p:extLst>
      <p:ext uri="{BB962C8B-B14F-4D97-AF65-F5344CB8AC3E}">
        <p14:creationId xmlns:p14="http://schemas.microsoft.com/office/powerpoint/2010/main" val="3349445148"/>
      </p:ext>
    </p:extLst>
  </p:cSld>
  <p:clrMapOvr>
    <a:masterClrMapping/>
  </p:clrMapOvr>
  <mc:AlternateContent xmlns:mc="http://schemas.openxmlformats.org/markup-compatibility/2006" xmlns:p14="http://schemas.microsoft.com/office/powerpoint/2010/main">
    <mc:Choice Requires="p14">
      <p:transition spd="slow" p14:dur="20000" advClick="0" advTm="16730"/>
    </mc:Choice>
    <mc:Fallback xmlns="">
      <p:transition spd="slow" advClick="0" advTm="1673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IMING" val="|4.1|1|1.2|1.4"/>
</p:tagLst>
</file>

<file path=ppt/theme/theme1.xml><?xml version="1.0" encoding="utf-8"?>
<a:theme xmlns:a="http://schemas.openxmlformats.org/drawingml/2006/main" name="Master Español">
  <a:themeElements>
    <a:clrScheme name="Benutzerdefiniert 47">
      <a:dk1>
        <a:sysClr val="windowText" lastClr="000000"/>
      </a:dk1>
      <a:lt1>
        <a:sysClr val="window" lastClr="FFFFFF"/>
      </a:lt1>
      <a:dk2>
        <a:srgbClr val="6F6F6F"/>
      </a:dk2>
      <a:lt2>
        <a:srgbClr val="E6E6E6"/>
      </a:lt2>
      <a:accent1>
        <a:srgbClr val="C80F0F"/>
      </a:accent1>
      <a:accent2>
        <a:srgbClr val="89AE10"/>
      </a:accent2>
      <a:accent3>
        <a:srgbClr val="FDC400"/>
      </a:accent3>
      <a:accent4>
        <a:srgbClr val="F8E946"/>
      </a:accent4>
      <a:accent5>
        <a:srgbClr val="0077B2"/>
      </a:accent5>
      <a:accent6>
        <a:srgbClr val="AAAAAA"/>
      </a:accent6>
      <a:hlink>
        <a:srgbClr val="C80F0F"/>
      </a:hlink>
      <a:folHlink>
        <a:srgbClr val="C80F0F"/>
      </a:folHlink>
    </a:clrScheme>
    <a:fontScheme name="Benutzerdefiniert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2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aster Español">
  <a:themeElements>
    <a:clrScheme name="Tema d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a d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A427543E5F6D354C87CCDF210E85B4EE" ma:contentTypeVersion="9" ma:contentTypeDescription="Crear nuevo documento." ma:contentTypeScope="" ma:versionID="9efa339e23df7e7232131ffa414cd720">
  <xsd:schema xmlns:xsd="http://www.w3.org/2001/XMLSchema" xmlns:xs="http://www.w3.org/2001/XMLSchema" xmlns:p="http://schemas.microsoft.com/office/2006/metadata/properties" xmlns:ns2="cdb6b511-4193-4e79-bcb6-945512a660ed" targetNamespace="http://schemas.microsoft.com/office/2006/metadata/properties" ma:root="true" ma:fieldsID="9c0309d8bb4eb4b1a4fa2088d167d753" ns2:_="">
    <xsd:import namespace="cdb6b511-4193-4e79-bcb6-945512a660e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db6b511-4193-4e79-bcb6-945512a660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B89B61F-954D-46F6-B7A6-DE70DDF19D5E}"/>
</file>

<file path=customXml/itemProps2.xml><?xml version="1.0" encoding="utf-8"?>
<ds:datastoreItem xmlns:ds="http://schemas.openxmlformats.org/officeDocument/2006/customXml" ds:itemID="{854723F5-D31E-4987-B052-3631A5A35881}"/>
</file>

<file path=customXml/itemProps3.xml><?xml version="1.0" encoding="utf-8"?>
<ds:datastoreItem xmlns:ds="http://schemas.openxmlformats.org/officeDocument/2006/customXml" ds:itemID="{9DCEFAC1-8587-4A45-8459-F46604DC066A}"/>
</file>

<file path=docProps/app.xml><?xml version="1.0" encoding="utf-8"?>
<Properties xmlns="http://schemas.openxmlformats.org/officeDocument/2006/extended-properties" xmlns:vt="http://schemas.openxmlformats.org/officeDocument/2006/docPropsVTypes">
  <Template/>
  <TotalTime>870</TotalTime>
  <Words>2658</Words>
  <Application>Microsoft Office PowerPoint</Application>
  <PresentationFormat>Panorámica</PresentationFormat>
  <Paragraphs>340</Paragraphs>
  <Slides>27</Slides>
  <Notes>19</Notes>
  <HiddenSlides>0</HiddenSlides>
  <MMClips>0</MMClips>
  <ScaleCrop>false</ScaleCrop>
  <HeadingPairs>
    <vt:vector size="8" baseType="variant">
      <vt:variant>
        <vt:lpstr>Fuentes usadas</vt:lpstr>
      </vt:variant>
      <vt:variant>
        <vt:i4>13</vt:i4>
      </vt:variant>
      <vt:variant>
        <vt:lpstr>Tema</vt:lpstr>
      </vt:variant>
      <vt:variant>
        <vt:i4>2</vt:i4>
      </vt:variant>
      <vt:variant>
        <vt:lpstr>Servidores OLE incrustados</vt:lpstr>
      </vt:variant>
      <vt:variant>
        <vt:i4>1</vt:i4>
      </vt:variant>
      <vt:variant>
        <vt:lpstr>Títulos de diapositiva</vt:lpstr>
      </vt:variant>
      <vt:variant>
        <vt:i4>27</vt:i4>
      </vt:variant>
    </vt:vector>
  </HeadingPairs>
  <TitlesOfParts>
    <vt:vector size="43" baseType="lpstr">
      <vt:lpstr>AGaramondPro-Regular</vt:lpstr>
      <vt:lpstr>Arial</vt:lpstr>
      <vt:lpstr>BundesSans Office</vt:lpstr>
      <vt:lpstr>Calibri</vt:lpstr>
      <vt:lpstr>Calibri Light</vt:lpstr>
      <vt:lpstr>GIZ Gravur Pro Cond</vt:lpstr>
      <vt:lpstr>GIZ Gravur TT Cond</vt:lpstr>
      <vt:lpstr>Helvetica</vt:lpstr>
      <vt:lpstr>Symbol</vt:lpstr>
      <vt:lpstr>Times</vt:lpstr>
      <vt:lpstr>Univers 45 Light</vt:lpstr>
      <vt:lpstr>Wingdings</vt:lpstr>
      <vt:lpstr>Wingdings 3</vt:lpstr>
      <vt:lpstr>Master Español</vt:lpstr>
      <vt:lpstr>1_Master Español</vt:lpstr>
      <vt:lpstr>think-cell Folie</vt:lpstr>
      <vt:lpstr>Clúster de Cambio Climático y la Alianza Mexicana-Alemana de Cambio Climático  GIZ México</vt:lpstr>
      <vt:lpstr>Presentación de PowerPoint</vt:lpstr>
      <vt:lpstr>Presentación de PowerPoint</vt:lpstr>
      <vt:lpstr>Presentación de PowerPoint</vt:lpstr>
      <vt:lpstr>Presentación de PowerPoint</vt:lpstr>
      <vt:lpstr>Presentación de PowerPoint</vt:lpstr>
      <vt:lpstr>Cooperaciones de Desarrollo con el Sector Privado</vt:lpstr>
      <vt:lpstr>Presentación de PowerPoint</vt:lpstr>
      <vt:lpstr>¿Qué es develoPPP.de?</vt:lpstr>
      <vt:lpstr>Presentación de PowerPoint</vt:lpstr>
      <vt:lpstr>Líneas de acción para contribuir al desarrollo sostenible</vt:lpstr>
      <vt:lpstr>Factor de éxito: El interés común </vt:lpstr>
      <vt:lpstr>Casos de éxito más ejemplos en: https://www.developpp.de/en/projects-and-success-stories-developppde-success-stories/</vt:lpstr>
      <vt:lpstr>Beneficios de develoPPP.de para su empresa</vt:lpstr>
      <vt:lpstr>Apoyo del programa al logro de sus objetivos</vt:lpstr>
      <vt:lpstr>Actores relevantes en los proyectos y su contribución</vt:lpstr>
      <vt:lpstr>Criterios para participar en develoPPP.de</vt:lpstr>
      <vt:lpstr>Con develoPPP.de no (co-)financiamos.... </vt:lpstr>
      <vt:lpstr>Financiación: Diferencias entre los contratos de implementación y cooperación: </vt:lpstr>
      <vt:lpstr>Pasos generales en las convocatorias de develoPPP.de</vt:lpstr>
      <vt:lpstr>DeveloPPP Classic</vt:lpstr>
      <vt:lpstr>¡Contáctenos!</vt:lpstr>
      <vt:lpstr>Muchas gracias por su atención.</vt:lpstr>
      <vt:lpstr>Alianza Mexicana Alemana de Cambio Climático</vt:lpstr>
      <vt:lpstr>Presentación de PowerPoint</vt:lpstr>
      <vt:lpstr> OUTPUTII. Mecanismos de Implementación de la NDC</vt:lpstr>
      <vt:lpstr>Presentación de PowerPoint</vt:lpstr>
    </vt:vector>
  </TitlesOfParts>
  <Company>GIZ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IZ Master</dc:title>
  <dc:creator>Bauer, Vanessa GIZ</dc:creator>
  <cp:lastModifiedBy>Nino1, Gabriela Herandy GIZ MX</cp:lastModifiedBy>
  <cp:revision>980</cp:revision>
  <dcterms:created xsi:type="dcterms:W3CDTF">2017-09-14T11:33:37Z</dcterms:created>
  <dcterms:modified xsi:type="dcterms:W3CDTF">2020-11-19T18:54: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27543E5F6D354C87CCDF210E85B4EE</vt:lpwstr>
  </property>
</Properties>
</file>